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34"/>
  </p:notesMasterIdLst>
  <p:handoutMasterIdLst>
    <p:handoutMasterId r:id="rId35"/>
  </p:handoutMasterIdLst>
  <p:sldIdLst>
    <p:sldId id="696" r:id="rId5"/>
    <p:sldId id="738" r:id="rId6"/>
    <p:sldId id="737" r:id="rId7"/>
    <p:sldId id="734" r:id="rId8"/>
    <p:sldId id="739" r:id="rId9"/>
    <p:sldId id="736" r:id="rId10"/>
    <p:sldId id="701" r:id="rId11"/>
    <p:sldId id="740" r:id="rId12"/>
    <p:sldId id="702" r:id="rId13"/>
    <p:sldId id="728" r:id="rId14"/>
    <p:sldId id="703" r:id="rId15"/>
    <p:sldId id="741" r:id="rId16"/>
    <p:sldId id="730" r:id="rId17"/>
    <p:sldId id="706" r:id="rId18"/>
    <p:sldId id="698" r:id="rId19"/>
    <p:sldId id="707" r:id="rId20"/>
    <p:sldId id="708" r:id="rId21"/>
    <p:sldId id="742" r:id="rId22"/>
    <p:sldId id="726" r:id="rId23"/>
    <p:sldId id="725" r:id="rId24"/>
    <p:sldId id="743" r:id="rId25"/>
    <p:sldId id="635" r:id="rId26"/>
    <p:sldId id="631" r:id="rId27"/>
    <p:sldId id="634" r:id="rId28"/>
    <p:sldId id="630" r:id="rId29"/>
    <p:sldId id="288" r:id="rId30"/>
    <p:sldId id="633" r:id="rId31"/>
    <p:sldId id="311" r:id="rId32"/>
    <p:sldId id="300" r:id="rId33"/>
  </p:sldIdLst>
  <p:sldSz cx="12192000" cy="6858000"/>
  <p:notesSz cx="6858000" cy="9144000"/>
  <p:embeddedFontLst>
    <p:embeddedFont>
      <p:font typeface="Aptos Black" panose="020B0004020202020204" pitchFamily="34" charset="0"/>
      <p:bold r:id="rId36"/>
      <p:boldItalic r:id="rId37"/>
    </p:embeddedFont>
    <p:embeddedFont>
      <p:font typeface="Aptos ExtraBold" panose="020B0004020202020204" pitchFamily="34" charset="0"/>
      <p:bold r:id="rId38"/>
      <p:italic r:id="rId39"/>
      <p:boldItalic r:id="rId40"/>
    </p:embeddedFont>
    <p:embeddedFont>
      <p:font typeface="Aptos Light" panose="020B0004020202020204" pitchFamily="34" charset="0"/>
      <p:regular r:id="rId41"/>
      <p:italic r:id="rId42"/>
    </p:embeddedFont>
    <p:embeddedFont>
      <p:font typeface="Aptos SemiBold" panose="020B0004020202020204" pitchFamily="34" charset="0"/>
      <p:bold r:id="rId43"/>
      <p:boldItalic r:id="rId44"/>
    </p:embeddedFont>
    <p:embeddedFont>
      <p:font typeface="Century Gothic" panose="020B0502020202020204" pitchFamily="34" charset="0"/>
      <p:regular r:id="rId45"/>
      <p:bold r:id="rId46"/>
      <p:italic r:id="rId47"/>
      <p:boldItalic r:id="rId48"/>
    </p:embeddedFont>
    <p:embeddedFont>
      <p:font typeface="JetBrains Mono" panose="020B0604020202020204" charset="0"/>
      <p:regular r:id="rId49"/>
      <p:bold r:id="rId50"/>
      <p:italic r:id="rId51"/>
      <p:boldItalic r:id="rId52"/>
    </p:embeddedFont>
    <p:embeddedFont>
      <p:font typeface="Poppins Light" panose="00000400000000000000" pitchFamily="2" charset="0"/>
      <p:regular r:id="rId53"/>
      <p:italic r:id="rId54"/>
    </p:embeddedFont>
    <p:embeddedFont>
      <p:font typeface="Red Hat Display Black" panose="020B0604020202020204" charset="0"/>
      <p:bold r:id="rId55"/>
      <p:italic r:id="rId56"/>
      <p:boldItalic r:id="rId57"/>
    </p:embeddedFont>
    <p:embeddedFont>
      <p:font typeface="Red Hat Text" panose="020B0604020202020204" charset="0"/>
      <p:regular r:id="rId58"/>
      <p:bold r:id="rId59"/>
      <p:italic r:id="rId60"/>
      <p:boldItalic r:id="rId61"/>
    </p:embeddedFont>
  </p:embeddedFontLst>
  <p:defaultTextStyle>
    <a:defPPr>
      <a:defRPr lang="en-US"/>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RS" id="{5D3A8BEE-0760-CE4E-BF8C-6E446AAE2040}">
          <p14:sldIdLst>
            <p14:sldId id="696"/>
            <p14:sldId id="738"/>
            <p14:sldId id="737"/>
            <p14:sldId id="734"/>
            <p14:sldId id="739"/>
            <p14:sldId id="736"/>
            <p14:sldId id="701"/>
            <p14:sldId id="740"/>
            <p14:sldId id="702"/>
            <p14:sldId id="728"/>
            <p14:sldId id="703"/>
          </p14:sldIdLst>
        </p14:section>
        <p14:section name="JPL" id="{285B5073-E16C-4066-81BF-F9BD9BBBD6DE}">
          <p14:sldIdLst>
            <p14:sldId id="741"/>
            <p14:sldId id="730"/>
            <p14:sldId id="706"/>
            <p14:sldId id="698"/>
            <p14:sldId id="707"/>
            <p14:sldId id="708"/>
            <p14:sldId id="742"/>
            <p14:sldId id="726"/>
            <p14:sldId id="725"/>
            <p14:sldId id="743"/>
          </p14:sldIdLst>
        </p14:section>
        <p14:section name="FF - Foundational Models" id="{380DBA63-5A24-4A77-9C65-B0F23B83593D}">
          <p14:sldIdLst>
            <p14:sldId id="635"/>
            <p14:sldId id="631"/>
            <p14:sldId id="634"/>
            <p14:sldId id="630"/>
            <p14:sldId id="288"/>
            <p14:sldId id="633"/>
            <p14:sldId id="311"/>
            <p14:sldId id="30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Sousa Fernandes" initials="FSF" lastIdx="1" clrIdx="0">
    <p:extLst>
      <p:ext uri="{19B8F6BF-5375-455C-9EA6-DF929625EA0E}">
        <p15:presenceInfo xmlns:p15="http://schemas.microsoft.com/office/powerpoint/2012/main" userId="S::francisco.s.fernandes@office365.inesctec.pt::77dfa05a-03a9-48f1-b6e6-b74d27d146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6599"/>
    <a:srgbClr val="C00000"/>
    <a:srgbClr val="FF4747"/>
    <a:srgbClr val="DDF7FF"/>
    <a:srgbClr val="002540"/>
    <a:srgbClr val="000000"/>
    <a:srgbClr val="404040"/>
    <a:srgbClr val="64C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C7999D-1F80-4AD5-8BC1-25EAF27B4B56}" v="456" dt="2025-12-16T11:55:51.0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1" autoAdjust="0"/>
    <p:restoredTop sz="95807"/>
  </p:normalViewPr>
  <p:slideViewPr>
    <p:cSldViewPr snapToGrid="0" snapToObjects="1">
      <p:cViewPr varScale="1">
        <p:scale>
          <a:sx n="107" d="100"/>
          <a:sy n="107" d="100"/>
        </p:scale>
        <p:origin x="666" y="102"/>
      </p:cViewPr>
      <p:guideLst/>
    </p:cSldViewPr>
  </p:slideViewPr>
  <p:notesTextViewPr>
    <p:cViewPr>
      <p:scale>
        <a:sx n="3" d="2"/>
        <a:sy n="3" d="2"/>
      </p:scale>
      <p:origin x="0" y="0"/>
    </p:cViewPr>
  </p:notesTextViewPr>
  <p:notesViewPr>
    <p:cSldViewPr snapToGrid="0" snapToObjects="1">
      <p:cViewPr varScale="1">
        <p:scale>
          <a:sx n="193" d="100"/>
          <a:sy n="193" d="100"/>
        </p:scale>
        <p:origin x="7384"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26.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font" Target="fonts/font24.fntdata"/><Relationship Id="rId67"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font" Target="fonts/font25.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font" Target="fonts/font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i Sousa" userId="285bb50d-01dc-4ac6-9db4-995d4d48557e" providerId="ADAL" clId="{46849BC3-4ED1-4F23-BBD8-44E2840BBA72}"/>
    <pc:docChg chg="undo redo custSel addSld delSld modSld sldOrd addSection modSection">
      <pc:chgData name="Rui Sousa" userId="285bb50d-01dc-4ac6-9db4-995d4d48557e" providerId="ADAL" clId="{46849BC3-4ED1-4F23-BBD8-44E2840BBA72}" dt="2025-12-16T14:33:02.896" v="5639" actId="17846"/>
      <pc:docMkLst>
        <pc:docMk/>
      </pc:docMkLst>
      <pc:sldChg chg="modSp add mod">
        <pc:chgData name="Rui Sousa" userId="285bb50d-01dc-4ac6-9db4-995d4d48557e" providerId="ADAL" clId="{46849BC3-4ED1-4F23-BBD8-44E2840BBA72}" dt="2025-12-15T20:30:53.062" v="5123" actId="790"/>
        <pc:sldMkLst>
          <pc:docMk/>
          <pc:sldMk cId="2085261241" sldId="288"/>
        </pc:sldMkLst>
        <pc:spChg chg="mod">
          <ac:chgData name="Rui Sousa" userId="285bb50d-01dc-4ac6-9db4-995d4d48557e" providerId="ADAL" clId="{46849BC3-4ED1-4F23-BBD8-44E2840BBA72}" dt="2025-12-15T20:30:53.062" v="5123" actId="790"/>
          <ac:spMkLst>
            <pc:docMk/>
            <pc:sldMk cId="2085261241" sldId="288"/>
            <ac:spMk id="2" creationId="{00BED2BF-2010-9DBA-6547-EB74DA219D52}"/>
          </ac:spMkLst>
        </pc:spChg>
        <pc:spChg chg="mod">
          <ac:chgData name="Rui Sousa" userId="285bb50d-01dc-4ac6-9db4-995d4d48557e" providerId="ADAL" clId="{46849BC3-4ED1-4F23-BBD8-44E2840BBA72}" dt="2025-12-15T20:30:53.062" v="5123" actId="790"/>
          <ac:spMkLst>
            <pc:docMk/>
            <pc:sldMk cId="2085261241" sldId="288"/>
            <ac:spMk id="3" creationId="{BD861981-F957-1BC2-D87A-528A5850BEDE}"/>
          </ac:spMkLst>
        </pc:spChg>
        <pc:spChg chg="mod">
          <ac:chgData name="Rui Sousa" userId="285bb50d-01dc-4ac6-9db4-995d4d48557e" providerId="ADAL" clId="{46849BC3-4ED1-4F23-BBD8-44E2840BBA72}" dt="2025-12-15T20:30:53.062" v="5123" actId="790"/>
          <ac:spMkLst>
            <pc:docMk/>
            <pc:sldMk cId="2085261241" sldId="288"/>
            <ac:spMk id="4" creationId="{2DA56726-7C0A-234F-D1B7-1353B5BEEBF2}"/>
          </ac:spMkLst>
        </pc:spChg>
        <pc:spChg chg="mod">
          <ac:chgData name="Rui Sousa" userId="285bb50d-01dc-4ac6-9db4-995d4d48557e" providerId="ADAL" clId="{46849BC3-4ED1-4F23-BBD8-44E2840BBA72}" dt="2025-12-15T20:30:53.062" v="5123" actId="790"/>
          <ac:spMkLst>
            <pc:docMk/>
            <pc:sldMk cId="2085261241" sldId="288"/>
            <ac:spMk id="5" creationId="{8412C53B-500D-7DA9-9768-D8F18BDEBCD0}"/>
          </ac:spMkLst>
        </pc:spChg>
        <pc:spChg chg="mod">
          <ac:chgData name="Rui Sousa" userId="285bb50d-01dc-4ac6-9db4-995d4d48557e" providerId="ADAL" clId="{46849BC3-4ED1-4F23-BBD8-44E2840BBA72}" dt="2025-12-15T20:30:53.062" v="5123" actId="790"/>
          <ac:spMkLst>
            <pc:docMk/>
            <pc:sldMk cId="2085261241" sldId="288"/>
            <ac:spMk id="6" creationId="{99F9A945-6213-67B0-4D00-224E9D6A7A56}"/>
          </ac:spMkLst>
        </pc:spChg>
        <pc:spChg chg="mod">
          <ac:chgData name="Rui Sousa" userId="285bb50d-01dc-4ac6-9db4-995d4d48557e" providerId="ADAL" clId="{46849BC3-4ED1-4F23-BBD8-44E2840BBA72}" dt="2025-12-15T20:30:53.062" v="5123" actId="790"/>
          <ac:spMkLst>
            <pc:docMk/>
            <pc:sldMk cId="2085261241" sldId="288"/>
            <ac:spMk id="7" creationId="{FA5B10ED-2209-2F16-BE18-14D244849606}"/>
          </ac:spMkLst>
        </pc:spChg>
        <pc:spChg chg="mod">
          <ac:chgData name="Rui Sousa" userId="285bb50d-01dc-4ac6-9db4-995d4d48557e" providerId="ADAL" clId="{46849BC3-4ED1-4F23-BBD8-44E2840BBA72}" dt="2025-12-15T20:30:53.062" v="5123" actId="790"/>
          <ac:spMkLst>
            <pc:docMk/>
            <pc:sldMk cId="2085261241" sldId="288"/>
            <ac:spMk id="9" creationId="{FD24956F-86F6-6995-FBAA-BA09409B6912}"/>
          </ac:spMkLst>
        </pc:spChg>
        <pc:spChg chg="mod">
          <ac:chgData name="Rui Sousa" userId="285bb50d-01dc-4ac6-9db4-995d4d48557e" providerId="ADAL" clId="{46849BC3-4ED1-4F23-BBD8-44E2840BBA72}" dt="2025-12-15T20:30:53.062" v="5123" actId="790"/>
          <ac:spMkLst>
            <pc:docMk/>
            <pc:sldMk cId="2085261241" sldId="288"/>
            <ac:spMk id="14" creationId="{F5D9EBD9-9077-4A6F-53DE-C757A0CB6E27}"/>
          </ac:spMkLst>
        </pc:spChg>
        <pc:spChg chg="mod">
          <ac:chgData name="Rui Sousa" userId="285bb50d-01dc-4ac6-9db4-995d4d48557e" providerId="ADAL" clId="{46849BC3-4ED1-4F23-BBD8-44E2840BBA72}" dt="2025-12-15T20:30:53.062" v="5123" actId="790"/>
          <ac:spMkLst>
            <pc:docMk/>
            <pc:sldMk cId="2085261241" sldId="288"/>
            <ac:spMk id="20" creationId="{79C47FA8-B9ED-37AA-FAAB-3679BA2E7D31}"/>
          </ac:spMkLst>
        </pc:spChg>
      </pc:sldChg>
      <pc:sldChg chg="modSp add mod">
        <pc:chgData name="Rui Sousa" userId="285bb50d-01dc-4ac6-9db4-995d4d48557e" providerId="ADAL" clId="{46849BC3-4ED1-4F23-BBD8-44E2840BBA72}" dt="2025-12-15T20:30:53.062" v="5123" actId="790"/>
        <pc:sldMkLst>
          <pc:docMk/>
          <pc:sldMk cId="3121863226" sldId="630"/>
        </pc:sldMkLst>
        <pc:spChg chg="mod">
          <ac:chgData name="Rui Sousa" userId="285bb50d-01dc-4ac6-9db4-995d4d48557e" providerId="ADAL" clId="{46849BC3-4ED1-4F23-BBD8-44E2840BBA72}" dt="2025-12-15T20:30:53.062" v="5123" actId="790"/>
          <ac:spMkLst>
            <pc:docMk/>
            <pc:sldMk cId="3121863226" sldId="630"/>
            <ac:spMk id="2" creationId="{43295A67-38D4-6227-B4BA-7D1EF6B8127C}"/>
          </ac:spMkLst>
        </pc:spChg>
        <pc:spChg chg="mod">
          <ac:chgData name="Rui Sousa" userId="285bb50d-01dc-4ac6-9db4-995d4d48557e" providerId="ADAL" clId="{46849BC3-4ED1-4F23-BBD8-44E2840BBA72}" dt="2025-12-15T20:30:53.062" v="5123" actId="790"/>
          <ac:spMkLst>
            <pc:docMk/>
            <pc:sldMk cId="3121863226" sldId="630"/>
            <ac:spMk id="3" creationId="{1B915F19-DCA1-922A-5B4E-A7D75E2D54C1}"/>
          </ac:spMkLst>
        </pc:spChg>
        <pc:spChg chg="mod">
          <ac:chgData name="Rui Sousa" userId="285bb50d-01dc-4ac6-9db4-995d4d48557e" providerId="ADAL" clId="{46849BC3-4ED1-4F23-BBD8-44E2840BBA72}" dt="2025-12-15T20:30:53.062" v="5123" actId="790"/>
          <ac:spMkLst>
            <pc:docMk/>
            <pc:sldMk cId="3121863226" sldId="630"/>
            <ac:spMk id="4" creationId="{523CBA1D-FCD5-7AC5-CE13-AA469D145DBE}"/>
          </ac:spMkLst>
        </pc:spChg>
        <pc:spChg chg="mod">
          <ac:chgData name="Rui Sousa" userId="285bb50d-01dc-4ac6-9db4-995d4d48557e" providerId="ADAL" clId="{46849BC3-4ED1-4F23-BBD8-44E2840BBA72}" dt="2025-12-15T20:30:53.062" v="5123" actId="790"/>
          <ac:spMkLst>
            <pc:docMk/>
            <pc:sldMk cId="3121863226" sldId="630"/>
            <ac:spMk id="7" creationId="{35702B54-ACAC-49AC-FC74-1CC10287A1A8}"/>
          </ac:spMkLst>
        </pc:spChg>
        <pc:spChg chg="mod">
          <ac:chgData name="Rui Sousa" userId="285bb50d-01dc-4ac6-9db4-995d4d48557e" providerId="ADAL" clId="{46849BC3-4ED1-4F23-BBD8-44E2840BBA72}" dt="2025-12-15T20:30:53.062" v="5123" actId="790"/>
          <ac:spMkLst>
            <pc:docMk/>
            <pc:sldMk cId="3121863226" sldId="630"/>
            <ac:spMk id="8" creationId="{F1837282-CE8B-AB02-156D-1F1142A8FF7B}"/>
          </ac:spMkLst>
        </pc:spChg>
        <pc:spChg chg="mod">
          <ac:chgData name="Rui Sousa" userId="285bb50d-01dc-4ac6-9db4-995d4d48557e" providerId="ADAL" clId="{46849BC3-4ED1-4F23-BBD8-44E2840BBA72}" dt="2025-12-15T20:30:53.062" v="5123" actId="790"/>
          <ac:spMkLst>
            <pc:docMk/>
            <pc:sldMk cId="3121863226" sldId="630"/>
            <ac:spMk id="9" creationId="{D4194D6F-7AD6-23CB-7EA8-EEB57865D422}"/>
          </ac:spMkLst>
        </pc:spChg>
        <pc:spChg chg="mod">
          <ac:chgData name="Rui Sousa" userId="285bb50d-01dc-4ac6-9db4-995d4d48557e" providerId="ADAL" clId="{46849BC3-4ED1-4F23-BBD8-44E2840BBA72}" dt="2025-12-15T20:30:53.062" v="5123" actId="790"/>
          <ac:spMkLst>
            <pc:docMk/>
            <pc:sldMk cId="3121863226" sldId="630"/>
            <ac:spMk id="10" creationId="{54054EF5-E82A-6AD7-7D15-3CECE1856E95}"/>
          </ac:spMkLst>
        </pc:spChg>
        <pc:spChg chg="mod">
          <ac:chgData name="Rui Sousa" userId="285bb50d-01dc-4ac6-9db4-995d4d48557e" providerId="ADAL" clId="{46849BC3-4ED1-4F23-BBD8-44E2840BBA72}" dt="2025-12-15T20:30:53.062" v="5123" actId="790"/>
          <ac:spMkLst>
            <pc:docMk/>
            <pc:sldMk cId="3121863226" sldId="630"/>
            <ac:spMk id="20" creationId="{26B0C241-E7AA-6F78-DC41-F70F4025EC6C}"/>
          </ac:spMkLst>
        </pc:spChg>
        <pc:spChg chg="mod">
          <ac:chgData name="Rui Sousa" userId="285bb50d-01dc-4ac6-9db4-995d4d48557e" providerId="ADAL" clId="{46849BC3-4ED1-4F23-BBD8-44E2840BBA72}" dt="2025-12-15T20:30:53.062" v="5123" actId="790"/>
          <ac:spMkLst>
            <pc:docMk/>
            <pc:sldMk cId="3121863226" sldId="630"/>
            <ac:spMk id="23" creationId="{299EF638-E5EC-C07C-D089-750868D27E8D}"/>
          </ac:spMkLst>
        </pc:spChg>
      </pc:sldChg>
      <pc:sldChg chg="modSp add mod">
        <pc:chgData name="Rui Sousa" userId="285bb50d-01dc-4ac6-9db4-995d4d48557e" providerId="ADAL" clId="{46849BC3-4ED1-4F23-BBD8-44E2840BBA72}" dt="2025-12-15T20:30:53.062" v="5123" actId="790"/>
        <pc:sldMkLst>
          <pc:docMk/>
          <pc:sldMk cId="2517587944" sldId="631"/>
        </pc:sldMkLst>
        <pc:spChg chg="mod">
          <ac:chgData name="Rui Sousa" userId="285bb50d-01dc-4ac6-9db4-995d4d48557e" providerId="ADAL" clId="{46849BC3-4ED1-4F23-BBD8-44E2840BBA72}" dt="2025-12-15T20:30:53.062" v="5123" actId="790"/>
          <ac:spMkLst>
            <pc:docMk/>
            <pc:sldMk cId="2517587944" sldId="631"/>
            <ac:spMk id="2" creationId="{B9A786D8-444C-C9A5-78BD-D98CF81A2779}"/>
          </ac:spMkLst>
        </pc:spChg>
        <pc:spChg chg="mod">
          <ac:chgData name="Rui Sousa" userId="285bb50d-01dc-4ac6-9db4-995d4d48557e" providerId="ADAL" clId="{46849BC3-4ED1-4F23-BBD8-44E2840BBA72}" dt="2025-12-15T20:30:53.062" v="5123" actId="790"/>
          <ac:spMkLst>
            <pc:docMk/>
            <pc:sldMk cId="2517587944" sldId="631"/>
            <ac:spMk id="3" creationId="{B338507D-BE05-A36D-76BD-AB23D18E1689}"/>
          </ac:spMkLst>
        </pc:spChg>
        <pc:spChg chg="mod">
          <ac:chgData name="Rui Sousa" userId="285bb50d-01dc-4ac6-9db4-995d4d48557e" providerId="ADAL" clId="{46849BC3-4ED1-4F23-BBD8-44E2840BBA72}" dt="2025-12-15T20:30:53.062" v="5123" actId="790"/>
          <ac:spMkLst>
            <pc:docMk/>
            <pc:sldMk cId="2517587944" sldId="631"/>
            <ac:spMk id="4" creationId="{CF9E87CC-18EE-E1D9-8251-B8BFD397CE0D}"/>
          </ac:spMkLst>
        </pc:spChg>
        <pc:spChg chg="mod">
          <ac:chgData name="Rui Sousa" userId="285bb50d-01dc-4ac6-9db4-995d4d48557e" providerId="ADAL" clId="{46849BC3-4ED1-4F23-BBD8-44E2840BBA72}" dt="2025-12-15T20:30:53.062" v="5123" actId="790"/>
          <ac:spMkLst>
            <pc:docMk/>
            <pc:sldMk cId="2517587944" sldId="631"/>
            <ac:spMk id="6" creationId="{0F6636B6-9F51-20C1-8721-4A4747A3366F}"/>
          </ac:spMkLst>
        </pc:spChg>
        <pc:spChg chg="mod">
          <ac:chgData name="Rui Sousa" userId="285bb50d-01dc-4ac6-9db4-995d4d48557e" providerId="ADAL" clId="{46849BC3-4ED1-4F23-BBD8-44E2840BBA72}" dt="2025-12-15T20:30:53.062" v="5123" actId="790"/>
          <ac:spMkLst>
            <pc:docMk/>
            <pc:sldMk cId="2517587944" sldId="631"/>
            <ac:spMk id="10" creationId="{75948E2F-FD6A-CD85-1B8D-961F826EAC3A}"/>
          </ac:spMkLst>
        </pc:spChg>
        <pc:spChg chg="mod">
          <ac:chgData name="Rui Sousa" userId="285bb50d-01dc-4ac6-9db4-995d4d48557e" providerId="ADAL" clId="{46849BC3-4ED1-4F23-BBD8-44E2840BBA72}" dt="2025-12-15T20:30:53.062" v="5123" actId="790"/>
          <ac:spMkLst>
            <pc:docMk/>
            <pc:sldMk cId="2517587944" sldId="631"/>
            <ac:spMk id="13" creationId="{807CD552-B313-57B5-BAA4-DF5107790B24}"/>
          </ac:spMkLst>
        </pc:spChg>
      </pc:sldChg>
      <pc:sldChg chg="modSp add mod">
        <pc:chgData name="Rui Sousa" userId="285bb50d-01dc-4ac6-9db4-995d4d48557e" providerId="ADAL" clId="{46849BC3-4ED1-4F23-BBD8-44E2840BBA72}" dt="2025-12-15T20:30:53.062" v="5123" actId="790"/>
        <pc:sldMkLst>
          <pc:docMk/>
          <pc:sldMk cId="2641813364" sldId="633"/>
        </pc:sldMkLst>
        <pc:spChg chg="mod">
          <ac:chgData name="Rui Sousa" userId="285bb50d-01dc-4ac6-9db4-995d4d48557e" providerId="ADAL" clId="{46849BC3-4ED1-4F23-BBD8-44E2840BBA72}" dt="2025-12-15T20:30:53.062" v="5123" actId="790"/>
          <ac:spMkLst>
            <pc:docMk/>
            <pc:sldMk cId="2641813364" sldId="633"/>
            <ac:spMk id="2" creationId="{CF7401D7-8AB5-6554-A902-C82711F89ADC}"/>
          </ac:spMkLst>
        </pc:spChg>
        <pc:spChg chg="mod">
          <ac:chgData name="Rui Sousa" userId="285bb50d-01dc-4ac6-9db4-995d4d48557e" providerId="ADAL" clId="{46849BC3-4ED1-4F23-BBD8-44E2840BBA72}" dt="2025-12-15T20:30:53.062" v="5123" actId="790"/>
          <ac:spMkLst>
            <pc:docMk/>
            <pc:sldMk cId="2641813364" sldId="633"/>
            <ac:spMk id="3" creationId="{1173B540-7929-7690-659C-611BB68F84A5}"/>
          </ac:spMkLst>
        </pc:spChg>
        <pc:spChg chg="mod">
          <ac:chgData name="Rui Sousa" userId="285bb50d-01dc-4ac6-9db4-995d4d48557e" providerId="ADAL" clId="{46849BC3-4ED1-4F23-BBD8-44E2840BBA72}" dt="2025-12-15T20:30:53.062" v="5123" actId="790"/>
          <ac:spMkLst>
            <pc:docMk/>
            <pc:sldMk cId="2641813364" sldId="633"/>
            <ac:spMk id="4" creationId="{609F74B7-41FE-C738-B022-65EB58D7F4B3}"/>
          </ac:spMkLst>
        </pc:spChg>
        <pc:spChg chg="mod">
          <ac:chgData name="Rui Sousa" userId="285bb50d-01dc-4ac6-9db4-995d4d48557e" providerId="ADAL" clId="{46849BC3-4ED1-4F23-BBD8-44E2840BBA72}" dt="2025-12-15T20:30:53.062" v="5123" actId="790"/>
          <ac:spMkLst>
            <pc:docMk/>
            <pc:sldMk cId="2641813364" sldId="633"/>
            <ac:spMk id="6" creationId="{612E14BC-BB27-5F28-A582-F37447FAB076}"/>
          </ac:spMkLst>
        </pc:spChg>
        <pc:spChg chg="mod">
          <ac:chgData name="Rui Sousa" userId="285bb50d-01dc-4ac6-9db4-995d4d48557e" providerId="ADAL" clId="{46849BC3-4ED1-4F23-BBD8-44E2840BBA72}" dt="2025-12-15T20:30:53.062" v="5123" actId="790"/>
          <ac:spMkLst>
            <pc:docMk/>
            <pc:sldMk cId="2641813364" sldId="633"/>
            <ac:spMk id="7" creationId="{3616BA3B-DFC7-DADC-08F5-73FA76F8193C}"/>
          </ac:spMkLst>
        </pc:spChg>
        <pc:spChg chg="mod">
          <ac:chgData name="Rui Sousa" userId="285bb50d-01dc-4ac6-9db4-995d4d48557e" providerId="ADAL" clId="{46849BC3-4ED1-4F23-BBD8-44E2840BBA72}" dt="2025-12-15T20:30:53.062" v="5123" actId="790"/>
          <ac:spMkLst>
            <pc:docMk/>
            <pc:sldMk cId="2641813364" sldId="633"/>
            <ac:spMk id="9" creationId="{885A7E52-1F3A-92A5-91A8-6FDEB93E2BC4}"/>
          </ac:spMkLst>
        </pc:spChg>
        <pc:spChg chg="mod">
          <ac:chgData name="Rui Sousa" userId="285bb50d-01dc-4ac6-9db4-995d4d48557e" providerId="ADAL" clId="{46849BC3-4ED1-4F23-BBD8-44E2840BBA72}" dt="2025-12-15T20:30:53.062" v="5123" actId="790"/>
          <ac:spMkLst>
            <pc:docMk/>
            <pc:sldMk cId="2641813364" sldId="633"/>
            <ac:spMk id="15" creationId="{FB94E9D3-4BC8-45B2-C7D0-AC8336E1493D}"/>
          </ac:spMkLst>
        </pc:spChg>
        <pc:spChg chg="mod">
          <ac:chgData name="Rui Sousa" userId="285bb50d-01dc-4ac6-9db4-995d4d48557e" providerId="ADAL" clId="{46849BC3-4ED1-4F23-BBD8-44E2840BBA72}" dt="2025-12-15T20:30:53.062" v="5123" actId="790"/>
          <ac:spMkLst>
            <pc:docMk/>
            <pc:sldMk cId="2641813364" sldId="633"/>
            <ac:spMk id="16" creationId="{9D2C8AFA-BF59-25DA-AD29-163BA84D293B}"/>
          </ac:spMkLst>
        </pc:spChg>
        <pc:spChg chg="mod">
          <ac:chgData name="Rui Sousa" userId="285bb50d-01dc-4ac6-9db4-995d4d48557e" providerId="ADAL" clId="{46849BC3-4ED1-4F23-BBD8-44E2840BBA72}" dt="2025-12-15T20:30:53.062" v="5123" actId="790"/>
          <ac:spMkLst>
            <pc:docMk/>
            <pc:sldMk cId="2641813364" sldId="633"/>
            <ac:spMk id="17" creationId="{06B87D4E-BA2B-9BAA-B5CD-A2F42D1C2575}"/>
          </ac:spMkLst>
        </pc:spChg>
        <pc:spChg chg="mod">
          <ac:chgData name="Rui Sousa" userId="285bb50d-01dc-4ac6-9db4-995d4d48557e" providerId="ADAL" clId="{46849BC3-4ED1-4F23-BBD8-44E2840BBA72}" dt="2025-12-15T20:30:53.062" v="5123" actId="790"/>
          <ac:spMkLst>
            <pc:docMk/>
            <pc:sldMk cId="2641813364" sldId="633"/>
            <ac:spMk id="18" creationId="{4A4C90CD-99AC-A82F-B245-F28F38FDF302}"/>
          </ac:spMkLst>
        </pc:spChg>
      </pc:sldChg>
      <pc:sldChg chg="modSp add mod">
        <pc:chgData name="Rui Sousa" userId="285bb50d-01dc-4ac6-9db4-995d4d48557e" providerId="ADAL" clId="{46849BC3-4ED1-4F23-BBD8-44E2840BBA72}" dt="2025-12-15T20:30:53.062" v="5123" actId="790"/>
        <pc:sldMkLst>
          <pc:docMk/>
          <pc:sldMk cId="4289278175" sldId="634"/>
        </pc:sldMkLst>
        <pc:spChg chg="mod">
          <ac:chgData name="Rui Sousa" userId="285bb50d-01dc-4ac6-9db4-995d4d48557e" providerId="ADAL" clId="{46849BC3-4ED1-4F23-BBD8-44E2840BBA72}" dt="2025-12-15T20:30:53.062" v="5123" actId="790"/>
          <ac:spMkLst>
            <pc:docMk/>
            <pc:sldMk cId="4289278175" sldId="634"/>
            <ac:spMk id="3" creationId="{DEB32104-A308-C8DC-0561-C451C9A9112E}"/>
          </ac:spMkLst>
        </pc:spChg>
        <pc:spChg chg="mod">
          <ac:chgData name="Rui Sousa" userId="285bb50d-01dc-4ac6-9db4-995d4d48557e" providerId="ADAL" clId="{46849BC3-4ED1-4F23-BBD8-44E2840BBA72}" dt="2025-12-15T20:30:53.062" v="5123" actId="790"/>
          <ac:spMkLst>
            <pc:docMk/>
            <pc:sldMk cId="4289278175" sldId="634"/>
            <ac:spMk id="4" creationId="{4036074F-96D2-0816-755E-336FBA14FA89}"/>
          </ac:spMkLst>
        </pc:spChg>
        <pc:spChg chg="mod">
          <ac:chgData name="Rui Sousa" userId="285bb50d-01dc-4ac6-9db4-995d4d48557e" providerId="ADAL" clId="{46849BC3-4ED1-4F23-BBD8-44E2840BBA72}" dt="2025-12-15T20:30:53.062" v="5123" actId="790"/>
          <ac:spMkLst>
            <pc:docMk/>
            <pc:sldMk cId="4289278175" sldId="634"/>
            <ac:spMk id="7" creationId="{54C0614E-B87B-1E3C-588B-BEAB78FAC14B}"/>
          </ac:spMkLst>
        </pc:spChg>
      </pc:sldChg>
      <pc:sldChg chg="addSp delSp modSp add mod modClrScheme chgLayout">
        <pc:chgData name="Rui Sousa" userId="285bb50d-01dc-4ac6-9db4-995d4d48557e" providerId="ADAL" clId="{46849BC3-4ED1-4F23-BBD8-44E2840BBA72}" dt="2025-12-15T20:30:53.062" v="5123" actId="790"/>
        <pc:sldMkLst>
          <pc:docMk/>
          <pc:sldMk cId="2365154774" sldId="635"/>
        </pc:sldMkLst>
        <pc:spChg chg="mod ord">
          <ac:chgData name="Rui Sousa" userId="285bb50d-01dc-4ac6-9db4-995d4d48557e" providerId="ADAL" clId="{46849BC3-4ED1-4F23-BBD8-44E2840BBA72}" dt="2025-12-15T20:30:53.062" v="5123" actId="790"/>
          <ac:spMkLst>
            <pc:docMk/>
            <pc:sldMk cId="2365154774" sldId="635"/>
            <ac:spMk id="2" creationId="{E856C5C1-44BB-572C-7E72-588F444613D2}"/>
          </ac:spMkLst>
        </pc:spChg>
        <pc:spChg chg="add mod ord">
          <ac:chgData name="Rui Sousa" userId="285bb50d-01dc-4ac6-9db4-995d4d48557e" providerId="ADAL" clId="{46849BC3-4ED1-4F23-BBD8-44E2840BBA72}" dt="2025-12-15T20:30:53.062" v="5123" actId="790"/>
          <ac:spMkLst>
            <pc:docMk/>
            <pc:sldMk cId="2365154774" sldId="635"/>
            <ac:spMk id="4" creationId="{CE5226D8-8524-BFDC-965C-FE631DBFD9C1}"/>
          </ac:spMkLst>
        </pc:spChg>
        <pc:spChg chg="add mod ord">
          <ac:chgData name="Rui Sousa" userId="285bb50d-01dc-4ac6-9db4-995d4d48557e" providerId="ADAL" clId="{46849BC3-4ED1-4F23-BBD8-44E2840BBA72}" dt="2025-12-15T20:30:53.062" v="5123" actId="790"/>
          <ac:spMkLst>
            <pc:docMk/>
            <pc:sldMk cId="2365154774" sldId="635"/>
            <ac:spMk id="5" creationId="{0061EB7C-0055-039D-4BCA-E783A3718DB1}"/>
          </ac:spMkLst>
        </pc:spChg>
      </pc:sldChg>
      <pc:sldChg chg="modSp del mod">
        <pc:chgData name="Rui Sousa" userId="285bb50d-01dc-4ac6-9db4-995d4d48557e" providerId="ADAL" clId="{46849BC3-4ED1-4F23-BBD8-44E2840BBA72}" dt="2025-12-15T11:26:03.447" v="2456" actId="47"/>
        <pc:sldMkLst>
          <pc:docMk/>
          <pc:sldMk cId="2244418757" sldId="652"/>
        </pc:sldMkLst>
        <pc:spChg chg="mod">
          <ac:chgData name="Rui Sousa" userId="285bb50d-01dc-4ac6-9db4-995d4d48557e" providerId="ADAL" clId="{46849BC3-4ED1-4F23-BBD8-44E2840BBA72}" dt="2025-12-15T09:26:42.476" v="1009" actId="790"/>
          <ac:spMkLst>
            <pc:docMk/>
            <pc:sldMk cId="2244418757" sldId="652"/>
            <ac:spMk id="10" creationId="{D5D06919-5E0D-481F-B93B-AE7302F04AB0}"/>
          </ac:spMkLst>
        </pc:spChg>
        <pc:spChg chg="mod">
          <ac:chgData name="Rui Sousa" userId="285bb50d-01dc-4ac6-9db4-995d4d48557e" providerId="ADAL" clId="{46849BC3-4ED1-4F23-BBD8-44E2840BBA72}" dt="2025-12-15T09:26:42.476" v="1009" actId="790"/>
          <ac:spMkLst>
            <pc:docMk/>
            <pc:sldMk cId="2244418757" sldId="652"/>
            <ac:spMk id="12" creationId="{4636614B-4EC7-4CA2-8FA8-947AD03203A0}"/>
          </ac:spMkLst>
        </pc:spChg>
        <pc:spChg chg="mod">
          <ac:chgData name="Rui Sousa" userId="285bb50d-01dc-4ac6-9db4-995d4d48557e" providerId="ADAL" clId="{46849BC3-4ED1-4F23-BBD8-44E2840BBA72}" dt="2025-12-15T09:26:42.476" v="1009" actId="790"/>
          <ac:spMkLst>
            <pc:docMk/>
            <pc:sldMk cId="2244418757" sldId="652"/>
            <ac:spMk id="13" creationId="{401EA889-5E6B-4704-9EBB-A5943F651FA4}"/>
          </ac:spMkLst>
        </pc:spChg>
      </pc:sldChg>
      <pc:sldChg chg="modSp del mod">
        <pc:chgData name="Rui Sousa" userId="285bb50d-01dc-4ac6-9db4-995d4d48557e" providerId="ADAL" clId="{46849BC3-4ED1-4F23-BBD8-44E2840BBA72}" dt="2025-12-15T17:38:08.532" v="4959" actId="47"/>
        <pc:sldMkLst>
          <pc:docMk/>
          <pc:sldMk cId="3738116488" sldId="653"/>
        </pc:sldMkLst>
        <pc:spChg chg="mod">
          <ac:chgData name="Rui Sousa" userId="285bb50d-01dc-4ac6-9db4-995d4d48557e" providerId="ADAL" clId="{46849BC3-4ED1-4F23-BBD8-44E2840BBA72}" dt="2025-12-15T17:15:22.365" v="4570" actId="790"/>
          <ac:spMkLst>
            <pc:docMk/>
            <pc:sldMk cId="3738116488" sldId="653"/>
            <ac:spMk id="2" creationId="{2981BC58-F55D-4DD4-9849-86C7C3CC7F55}"/>
          </ac:spMkLst>
        </pc:spChg>
        <pc:spChg chg="mod">
          <ac:chgData name="Rui Sousa" userId="285bb50d-01dc-4ac6-9db4-995d4d48557e" providerId="ADAL" clId="{46849BC3-4ED1-4F23-BBD8-44E2840BBA72}" dt="2025-12-15T17:15:22.365" v="4570" actId="790"/>
          <ac:spMkLst>
            <pc:docMk/>
            <pc:sldMk cId="3738116488" sldId="653"/>
            <ac:spMk id="61" creationId="{1F22187A-D9B7-48D2-9A25-1C45E5BED993}"/>
          </ac:spMkLst>
        </pc:spChg>
        <pc:spChg chg="mod">
          <ac:chgData name="Rui Sousa" userId="285bb50d-01dc-4ac6-9db4-995d4d48557e" providerId="ADAL" clId="{46849BC3-4ED1-4F23-BBD8-44E2840BBA72}" dt="2025-12-15T17:15:22.365" v="4570" actId="790"/>
          <ac:spMkLst>
            <pc:docMk/>
            <pc:sldMk cId="3738116488" sldId="653"/>
            <ac:spMk id="62" creationId="{9480A73A-E546-40A7-91F8-9097DC514623}"/>
          </ac:spMkLst>
        </pc:spChg>
        <pc:spChg chg="mod">
          <ac:chgData name="Rui Sousa" userId="285bb50d-01dc-4ac6-9db4-995d4d48557e" providerId="ADAL" clId="{46849BC3-4ED1-4F23-BBD8-44E2840BBA72}" dt="2025-12-15T17:15:22.365" v="4570" actId="790"/>
          <ac:spMkLst>
            <pc:docMk/>
            <pc:sldMk cId="3738116488" sldId="653"/>
            <ac:spMk id="64" creationId="{2AE32883-8820-4149-B1CA-707FC2DE14F7}"/>
          </ac:spMkLst>
        </pc:spChg>
        <pc:spChg chg="mod">
          <ac:chgData name="Rui Sousa" userId="285bb50d-01dc-4ac6-9db4-995d4d48557e" providerId="ADAL" clId="{46849BC3-4ED1-4F23-BBD8-44E2840BBA72}" dt="2025-12-15T17:15:22.365" v="4570" actId="790"/>
          <ac:spMkLst>
            <pc:docMk/>
            <pc:sldMk cId="3738116488" sldId="653"/>
            <ac:spMk id="68" creationId="{7BFE0009-7C97-4647-A01F-F6BCD0885C26}"/>
          </ac:spMkLst>
        </pc:spChg>
        <pc:spChg chg="mod">
          <ac:chgData name="Rui Sousa" userId="285bb50d-01dc-4ac6-9db4-995d4d48557e" providerId="ADAL" clId="{46849BC3-4ED1-4F23-BBD8-44E2840BBA72}" dt="2025-12-15T17:15:22.365" v="4570" actId="790"/>
          <ac:spMkLst>
            <pc:docMk/>
            <pc:sldMk cId="3738116488" sldId="653"/>
            <ac:spMk id="70" creationId="{37AC7EA6-B716-4826-9289-C017447AB9A1}"/>
          </ac:spMkLst>
        </pc:spChg>
        <pc:spChg chg="mod">
          <ac:chgData name="Rui Sousa" userId="285bb50d-01dc-4ac6-9db4-995d4d48557e" providerId="ADAL" clId="{46849BC3-4ED1-4F23-BBD8-44E2840BBA72}" dt="2025-12-15T17:15:22.365" v="4570" actId="790"/>
          <ac:spMkLst>
            <pc:docMk/>
            <pc:sldMk cId="3738116488" sldId="653"/>
            <ac:spMk id="71" creationId="{EE5E24DB-93A5-4751-A2E1-43BFBCE2018D}"/>
          </ac:spMkLst>
        </pc:spChg>
        <pc:spChg chg="mod">
          <ac:chgData name="Rui Sousa" userId="285bb50d-01dc-4ac6-9db4-995d4d48557e" providerId="ADAL" clId="{46849BC3-4ED1-4F23-BBD8-44E2840BBA72}" dt="2025-12-15T17:15:22.365" v="4570" actId="790"/>
          <ac:spMkLst>
            <pc:docMk/>
            <pc:sldMk cId="3738116488" sldId="653"/>
            <ac:spMk id="77" creationId="{E8186307-5D17-438D-9363-B67C76E02A31}"/>
          </ac:spMkLst>
        </pc:spChg>
        <pc:spChg chg="mod">
          <ac:chgData name="Rui Sousa" userId="285bb50d-01dc-4ac6-9db4-995d4d48557e" providerId="ADAL" clId="{46849BC3-4ED1-4F23-BBD8-44E2840BBA72}" dt="2025-12-15T17:15:22.365" v="4570" actId="790"/>
          <ac:spMkLst>
            <pc:docMk/>
            <pc:sldMk cId="3738116488" sldId="653"/>
            <ac:spMk id="79" creationId="{266C4EE2-B9BD-4D14-BE08-4C9CA4111CF5}"/>
          </ac:spMkLst>
        </pc:spChg>
        <pc:spChg chg="mod">
          <ac:chgData name="Rui Sousa" userId="285bb50d-01dc-4ac6-9db4-995d4d48557e" providerId="ADAL" clId="{46849BC3-4ED1-4F23-BBD8-44E2840BBA72}" dt="2025-12-15T17:15:22.365" v="4570" actId="790"/>
          <ac:spMkLst>
            <pc:docMk/>
            <pc:sldMk cId="3738116488" sldId="653"/>
            <ac:spMk id="80" creationId="{C10CF4C2-4CF3-463F-A74D-FAC7DDBF6ED4}"/>
          </ac:spMkLst>
        </pc:spChg>
      </pc:sldChg>
      <pc:sldChg chg="modSp mod">
        <pc:chgData name="Rui Sousa" userId="285bb50d-01dc-4ac6-9db4-995d4d48557e" providerId="ADAL" clId="{46849BC3-4ED1-4F23-BBD8-44E2840BBA72}" dt="2025-12-15T20:30:53.062" v="5123" actId="790"/>
        <pc:sldMkLst>
          <pc:docMk/>
          <pc:sldMk cId="2789790863" sldId="696"/>
        </pc:sldMkLst>
        <pc:spChg chg="mod">
          <ac:chgData name="Rui Sousa" userId="285bb50d-01dc-4ac6-9db4-995d4d48557e" providerId="ADAL" clId="{46849BC3-4ED1-4F23-BBD8-44E2840BBA72}" dt="2025-12-15T20:30:53.062" v="5123" actId="790"/>
          <ac:spMkLst>
            <pc:docMk/>
            <pc:sldMk cId="2789790863" sldId="696"/>
            <ac:spMk id="2" creationId="{B1D6B674-B975-49E4-A505-79F6D1B3D2CF}"/>
          </ac:spMkLst>
        </pc:spChg>
        <pc:spChg chg="mod">
          <ac:chgData name="Rui Sousa" userId="285bb50d-01dc-4ac6-9db4-995d4d48557e" providerId="ADAL" clId="{46849BC3-4ED1-4F23-BBD8-44E2840BBA72}" dt="2025-12-15T20:30:53.062" v="5123" actId="790"/>
          <ac:spMkLst>
            <pc:docMk/>
            <pc:sldMk cId="2789790863" sldId="696"/>
            <ac:spMk id="3" creationId="{9C14F73C-0984-479B-A524-4B3EFF2700B5}"/>
          </ac:spMkLst>
        </pc:spChg>
      </pc:sldChg>
      <pc:sldChg chg="addSp delSp modSp mod ord modClrScheme chgLayout">
        <pc:chgData name="Rui Sousa" userId="285bb50d-01dc-4ac6-9db4-995d4d48557e" providerId="ADAL" clId="{46849BC3-4ED1-4F23-BBD8-44E2840BBA72}" dt="2025-12-16T10:55:40.131" v="5493" actId="13822"/>
        <pc:sldMkLst>
          <pc:docMk/>
          <pc:sldMk cId="2837728017" sldId="698"/>
        </pc:sldMkLst>
        <pc:spChg chg="mod">
          <ac:chgData name="Rui Sousa" userId="285bb50d-01dc-4ac6-9db4-995d4d48557e" providerId="ADAL" clId="{46849BC3-4ED1-4F23-BBD8-44E2840BBA72}" dt="2025-12-15T20:44:28.152" v="5318" actId="2711"/>
          <ac:spMkLst>
            <pc:docMk/>
            <pc:sldMk cId="2837728017" sldId="698"/>
            <ac:spMk id="2" creationId="{2981BC58-F55D-4DD4-9849-86C7C3CC7F55}"/>
          </ac:spMkLst>
        </pc:spChg>
        <pc:spChg chg="del mod">
          <ac:chgData name="Rui Sousa" userId="285bb50d-01dc-4ac6-9db4-995d4d48557e" providerId="ADAL" clId="{46849BC3-4ED1-4F23-BBD8-44E2840BBA72}" dt="2025-12-15T20:44:00.740" v="5313"/>
          <ac:spMkLst>
            <pc:docMk/>
            <pc:sldMk cId="2837728017" sldId="698"/>
            <ac:spMk id="4" creationId="{BBD8E416-A0B2-4B4F-B752-316F5F3CAC11}"/>
          </ac:spMkLst>
        </pc:spChg>
        <pc:spChg chg="mod">
          <ac:chgData name="Rui Sousa" userId="285bb50d-01dc-4ac6-9db4-995d4d48557e" providerId="ADAL" clId="{46849BC3-4ED1-4F23-BBD8-44E2840BBA72}" dt="2025-12-16T10:55:40.131" v="5493" actId="13822"/>
          <ac:spMkLst>
            <pc:docMk/>
            <pc:sldMk cId="2837728017" sldId="698"/>
            <ac:spMk id="5" creationId="{D33055EF-57B7-7B47-9FCF-45B9DC141917}"/>
          </ac:spMkLst>
        </pc:spChg>
        <pc:spChg chg="add del mod ord">
          <ac:chgData name="Rui Sousa" userId="285bb50d-01dc-4ac6-9db4-995d4d48557e" providerId="ADAL" clId="{46849BC3-4ED1-4F23-BBD8-44E2840BBA72}" dt="2025-12-15T20:43:40.869" v="5305" actId="700"/>
          <ac:spMkLst>
            <pc:docMk/>
            <pc:sldMk cId="2837728017" sldId="698"/>
            <ac:spMk id="6" creationId="{3FDF8CA8-91DD-7760-C2B1-9CB5E5301E2E}"/>
          </ac:spMkLst>
        </pc:spChg>
        <pc:spChg chg="add del mod ord">
          <ac:chgData name="Rui Sousa" userId="285bb50d-01dc-4ac6-9db4-995d4d48557e" providerId="ADAL" clId="{46849BC3-4ED1-4F23-BBD8-44E2840BBA72}" dt="2025-12-15T20:43:40.869" v="5305" actId="700"/>
          <ac:spMkLst>
            <pc:docMk/>
            <pc:sldMk cId="2837728017" sldId="698"/>
            <ac:spMk id="7" creationId="{3536FC57-A817-E596-CD0D-97B35125DBD5}"/>
          </ac:spMkLst>
        </pc:spChg>
        <pc:spChg chg="add mod ord">
          <ac:chgData name="Rui Sousa" userId="285bb50d-01dc-4ac6-9db4-995d4d48557e" providerId="ADAL" clId="{46849BC3-4ED1-4F23-BBD8-44E2840BBA72}" dt="2025-12-15T20:43:57.514" v="5310" actId="27636"/>
          <ac:spMkLst>
            <pc:docMk/>
            <pc:sldMk cId="2837728017" sldId="698"/>
            <ac:spMk id="8" creationId="{19F40D58-F83F-B867-B34B-F1F18408CF06}"/>
          </ac:spMkLst>
        </pc:spChg>
        <pc:spChg chg="add del mod ord">
          <ac:chgData name="Rui Sousa" userId="285bb50d-01dc-4ac6-9db4-995d4d48557e" providerId="ADAL" clId="{46849BC3-4ED1-4F23-BBD8-44E2840BBA72}" dt="2025-12-15T20:44:00.740" v="5311" actId="478"/>
          <ac:spMkLst>
            <pc:docMk/>
            <pc:sldMk cId="2837728017" sldId="698"/>
            <ac:spMk id="9" creationId="{EA3CD80F-78BC-EF40-32CC-63A1A9CEEA4C}"/>
          </ac:spMkLst>
        </pc:spChg>
        <pc:spChg chg="del mod">
          <ac:chgData name="Rui Sousa" userId="285bb50d-01dc-4ac6-9db4-995d4d48557e" providerId="ADAL" clId="{46849BC3-4ED1-4F23-BBD8-44E2840BBA72}" dt="2025-12-15T20:19:14.881" v="5029" actId="478"/>
          <ac:spMkLst>
            <pc:docMk/>
            <pc:sldMk cId="2837728017" sldId="698"/>
            <ac:spMk id="19" creationId="{933BB2D9-9C59-4AA6-823A-BE884B228BF5}"/>
          </ac:spMkLst>
        </pc:spChg>
        <pc:spChg chg="mod">
          <ac:chgData name="Rui Sousa" userId="285bb50d-01dc-4ac6-9db4-995d4d48557e" providerId="ADAL" clId="{46849BC3-4ED1-4F23-BBD8-44E2840BBA72}" dt="2025-12-15T20:30:53.062" v="5123" actId="790"/>
          <ac:spMkLst>
            <pc:docMk/>
            <pc:sldMk cId="2837728017" sldId="698"/>
            <ac:spMk id="55" creationId="{92E45637-DA5D-41B1-9E4A-EC26E26D2282}"/>
          </ac:spMkLst>
        </pc:spChg>
      </pc:sldChg>
      <pc:sldChg chg="modSp mod ord">
        <pc:chgData name="Rui Sousa" userId="285bb50d-01dc-4ac6-9db4-995d4d48557e" providerId="ADAL" clId="{46849BC3-4ED1-4F23-BBD8-44E2840BBA72}" dt="2025-12-15T20:30:53.062" v="5123" actId="790"/>
        <pc:sldMkLst>
          <pc:docMk/>
          <pc:sldMk cId="2760188016" sldId="701"/>
        </pc:sldMkLst>
        <pc:spChg chg="mod">
          <ac:chgData name="Rui Sousa" userId="285bb50d-01dc-4ac6-9db4-995d4d48557e" providerId="ADAL" clId="{46849BC3-4ED1-4F23-BBD8-44E2840BBA72}" dt="2025-12-15T20:30:53.062" v="5123" actId="790"/>
          <ac:spMkLst>
            <pc:docMk/>
            <pc:sldMk cId="2760188016" sldId="701"/>
            <ac:spMk id="4" creationId="{EA439948-F0B9-1AFC-1C2E-F1E2627F03FE}"/>
          </ac:spMkLst>
        </pc:spChg>
        <pc:spChg chg="mod">
          <ac:chgData name="Rui Sousa" userId="285bb50d-01dc-4ac6-9db4-995d4d48557e" providerId="ADAL" clId="{46849BC3-4ED1-4F23-BBD8-44E2840BBA72}" dt="2025-12-15T20:30:53.062" v="5123" actId="790"/>
          <ac:spMkLst>
            <pc:docMk/>
            <pc:sldMk cId="2760188016" sldId="701"/>
            <ac:spMk id="5" creationId="{3DE3F485-B298-2198-6EF7-9DCEC8FC4275}"/>
          </ac:spMkLst>
        </pc:spChg>
        <pc:spChg chg="mod">
          <ac:chgData name="Rui Sousa" userId="285bb50d-01dc-4ac6-9db4-995d4d48557e" providerId="ADAL" clId="{46849BC3-4ED1-4F23-BBD8-44E2840BBA72}" dt="2025-12-15T12:27:43.340" v="2878" actId="2711"/>
          <ac:spMkLst>
            <pc:docMk/>
            <pc:sldMk cId="2760188016" sldId="701"/>
            <ac:spMk id="7" creationId="{47697FAF-EFB9-2A9F-F8B8-0DE78B5762D8}"/>
          </ac:spMkLst>
        </pc:spChg>
        <pc:spChg chg="mod">
          <ac:chgData name="Rui Sousa" userId="285bb50d-01dc-4ac6-9db4-995d4d48557e" providerId="ADAL" clId="{46849BC3-4ED1-4F23-BBD8-44E2840BBA72}" dt="2025-12-15T20:30:53.062" v="5123" actId="790"/>
          <ac:spMkLst>
            <pc:docMk/>
            <pc:sldMk cId="2760188016" sldId="701"/>
            <ac:spMk id="9" creationId="{6AC49DD1-43E0-45CA-97F9-A3EA9A3B5F2C}"/>
          </ac:spMkLst>
        </pc:spChg>
        <pc:spChg chg="mod">
          <ac:chgData name="Rui Sousa" userId="285bb50d-01dc-4ac6-9db4-995d4d48557e" providerId="ADAL" clId="{46849BC3-4ED1-4F23-BBD8-44E2840BBA72}" dt="2025-12-15T20:30:53.062" v="5123" actId="790"/>
          <ac:spMkLst>
            <pc:docMk/>
            <pc:sldMk cId="2760188016" sldId="701"/>
            <ac:spMk id="10" creationId="{DE35472F-ECE7-26EA-A0B2-CDD6E7E7C5D5}"/>
          </ac:spMkLst>
        </pc:spChg>
        <pc:spChg chg="mod">
          <ac:chgData name="Rui Sousa" userId="285bb50d-01dc-4ac6-9db4-995d4d48557e" providerId="ADAL" clId="{46849BC3-4ED1-4F23-BBD8-44E2840BBA72}" dt="2025-12-15T20:30:53.062" v="5123" actId="790"/>
          <ac:spMkLst>
            <pc:docMk/>
            <pc:sldMk cId="2760188016" sldId="701"/>
            <ac:spMk id="11" creationId="{5C842635-756A-8883-7308-443DB075F92B}"/>
          </ac:spMkLst>
        </pc:spChg>
        <pc:spChg chg="mod">
          <ac:chgData name="Rui Sousa" userId="285bb50d-01dc-4ac6-9db4-995d4d48557e" providerId="ADAL" clId="{46849BC3-4ED1-4F23-BBD8-44E2840BBA72}" dt="2025-12-15T20:30:53.062" v="5123" actId="790"/>
          <ac:spMkLst>
            <pc:docMk/>
            <pc:sldMk cId="2760188016" sldId="701"/>
            <ac:spMk id="20" creationId="{44C87E6F-872C-467C-1F35-15BC7095CCEE}"/>
          </ac:spMkLst>
        </pc:spChg>
        <pc:spChg chg="mod">
          <ac:chgData name="Rui Sousa" userId="285bb50d-01dc-4ac6-9db4-995d4d48557e" providerId="ADAL" clId="{46849BC3-4ED1-4F23-BBD8-44E2840BBA72}" dt="2025-12-15T20:30:53.062" v="5123" actId="790"/>
          <ac:spMkLst>
            <pc:docMk/>
            <pc:sldMk cId="2760188016" sldId="701"/>
            <ac:spMk id="21" creationId="{7DB2AD56-116A-D4D5-E07F-3A1131619AE2}"/>
          </ac:spMkLst>
        </pc:spChg>
        <pc:spChg chg="mod">
          <ac:chgData name="Rui Sousa" userId="285bb50d-01dc-4ac6-9db4-995d4d48557e" providerId="ADAL" clId="{46849BC3-4ED1-4F23-BBD8-44E2840BBA72}" dt="2025-12-15T20:30:53.062" v="5123" actId="790"/>
          <ac:spMkLst>
            <pc:docMk/>
            <pc:sldMk cId="2760188016" sldId="701"/>
            <ac:spMk id="22" creationId="{77AECD96-5377-514C-8FD2-3BC4089A06CA}"/>
          </ac:spMkLst>
        </pc:spChg>
        <pc:spChg chg="mod">
          <ac:chgData name="Rui Sousa" userId="285bb50d-01dc-4ac6-9db4-995d4d48557e" providerId="ADAL" clId="{46849BC3-4ED1-4F23-BBD8-44E2840BBA72}" dt="2025-12-15T12:27:33.873" v="2877" actId="2711"/>
          <ac:spMkLst>
            <pc:docMk/>
            <pc:sldMk cId="2760188016" sldId="701"/>
            <ac:spMk id="23" creationId="{AEBC7342-36D0-30FC-9E17-379802F0936F}"/>
          </ac:spMkLst>
        </pc:spChg>
        <pc:spChg chg="mod">
          <ac:chgData name="Rui Sousa" userId="285bb50d-01dc-4ac6-9db4-995d4d48557e" providerId="ADAL" clId="{46849BC3-4ED1-4F23-BBD8-44E2840BBA72}" dt="2025-12-15T20:30:53.062" v="5123" actId="790"/>
          <ac:spMkLst>
            <pc:docMk/>
            <pc:sldMk cId="2760188016" sldId="701"/>
            <ac:spMk id="27" creationId="{13E78603-587D-1352-C5F5-01FCA683ECC2}"/>
          </ac:spMkLst>
        </pc:spChg>
        <pc:spChg chg="mod">
          <ac:chgData name="Rui Sousa" userId="285bb50d-01dc-4ac6-9db4-995d4d48557e" providerId="ADAL" clId="{46849BC3-4ED1-4F23-BBD8-44E2840BBA72}" dt="2025-12-15T20:30:53.062" v="5123" actId="790"/>
          <ac:spMkLst>
            <pc:docMk/>
            <pc:sldMk cId="2760188016" sldId="701"/>
            <ac:spMk id="29" creationId="{133F9811-E8D3-3E39-2DF1-20A6BA15E1EF}"/>
          </ac:spMkLst>
        </pc:spChg>
      </pc:sldChg>
      <pc:sldChg chg="addSp delSp modSp mod modClrScheme chgLayout">
        <pc:chgData name="Rui Sousa" userId="285bb50d-01dc-4ac6-9db4-995d4d48557e" providerId="ADAL" clId="{46849BC3-4ED1-4F23-BBD8-44E2840BBA72}" dt="2025-12-15T20:30:53.062" v="5123" actId="790"/>
        <pc:sldMkLst>
          <pc:docMk/>
          <pc:sldMk cId="3460610629" sldId="702"/>
        </pc:sldMkLst>
        <pc:spChg chg="mod ord">
          <ac:chgData name="Rui Sousa" userId="285bb50d-01dc-4ac6-9db4-995d4d48557e" providerId="ADAL" clId="{46849BC3-4ED1-4F23-BBD8-44E2840BBA72}" dt="2025-12-15T20:30:53.062" v="5123" actId="790"/>
          <ac:spMkLst>
            <pc:docMk/>
            <pc:sldMk cId="3460610629" sldId="702"/>
            <ac:spMk id="2" creationId="{E5DA482E-9E97-D76A-2566-0A12D857B22F}"/>
          </ac:spMkLst>
        </pc:spChg>
        <pc:spChg chg="add mod">
          <ac:chgData name="Rui Sousa" userId="285bb50d-01dc-4ac6-9db4-995d4d48557e" providerId="ADAL" clId="{46849BC3-4ED1-4F23-BBD8-44E2840BBA72}" dt="2025-12-15T12:29:26.617" v="2892"/>
          <ac:spMkLst>
            <pc:docMk/>
            <pc:sldMk cId="3460610629" sldId="702"/>
            <ac:spMk id="3" creationId="{48693C50-F41D-C061-F653-D02DE9FA3D00}"/>
          </ac:spMkLst>
        </pc:spChg>
        <pc:spChg chg="mod">
          <ac:chgData name="Rui Sousa" userId="285bb50d-01dc-4ac6-9db4-995d4d48557e" providerId="ADAL" clId="{46849BC3-4ED1-4F23-BBD8-44E2840BBA72}" dt="2025-12-15T20:30:53.062" v="5123" actId="790"/>
          <ac:spMkLst>
            <pc:docMk/>
            <pc:sldMk cId="3460610629" sldId="702"/>
            <ac:spMk id="5" creationId="{90C5FE25-9CA9-BBAC-C287-3CFA5BAB9520}"/>
          </ac:spMkLst>
        </pc:spChg>
        <pc:spChg chg="mod">
          <ac:chgData name="Rui Sousa" userId="285bb50d-01dc-4ac6-9db4-995d4d48557e" providerId="ADAL" clId="{46849BC3-4ED1-4F23-BBD8-44E2840BBA72}" dt="2025-12-15T20:30:53.062" v="5123" actId="790"/>
          <ac:spMkLst>
            <pc:docMk/>
            <pc:sldMk cId="3460610629" sldId="702"/>
            <ac:spMk id="6" creationId="{1AE0385A-F8E7-75FC-30B1-5CB912287FFD}"/>
          </ac:spMkLst>
        </pc:spChg>
        <pc:spChg chg="mod">
          <ac:chgData name="Rui Sousa" userId="285bb50d-01dc-4ac6-9db4-995d4d48557e" providerId="ADAL" clId="{46849BC3-4ED1-4F23-BBD8-44E2840BBA72}" dt="2025-12-15T13:49:36.526" v="2928" actId="1076"/>
          <ac:spMkLst>
            <pc:docMk/>
            <pc:sldMk cId="3460610629" sldId="702"/>
            <ac:spMk id="7" creationId="{D1AF4288-76F9-9B2C-9EF9-6F5300C11DE0}"/>
          </ac:spMkLst>
        </pc:spChg>
        <pc:spChg chg="mod">
          <ac:chgData name="Rui Sousa" userId="285bb50d-01dc-4ac6-9db4-995d4d48557e" providerId="ADAL" clId="{46849BC3-4ED1-4F23-BBD8-44E2840BBA72}" dt="2025-12-15T20:30:53.062" v="5123" actId="790"/>
          <ac:spMkLst>
            <pc:docMk/>
            <pc:sldMk cId="3460610629" sldId="702"/>
            <ac:spMk id="8" creationId="{C245EE8B-B7B4-0422-EE5E-85585617F567}"/>
          </ac:spMkLst>
        </pc:spChg>
        <pc:spChg chg="mod">
          <ac:chgData name="Rui Sousa" userId="285bb50d-01dc-4ac6-9db4-995d4d48557e" providerId="ADAL" clId="{46849BC3-4ED1-4F23-BBD8-44E2840BBA72}" dt="2025-12-15T20:30:53.062" v="5123" actId="790"/>
          <ac:spMkLst>
            <pc:docMk/>
            <pc:sldMk cId="3460610629" sldId="702"/>
            <ac:spMk id="9" creationId="{12B17531-8320-10BA-6105-9FB821FABBDE}"/>
          </ac:spMkLst>
        </pc:spChg>
        <pc:spChg chg="mod">
          <ac:chgData name="Rui Sousa" userId="285bb50d-01dc-4ac6-9db4-995d4d48557e" providerId="ADAL" clId="{46849BC3-4ED1-4F23-BBD8-44E2840BBA72}" dt="2025-12-15T20:30:53.062" v="5123" actId="790"/>
          <ac:spMkLst>
            <pc:docMk/>
            <pc:sldMk cId="3460610629" sldId="702"/>
            <ac:spMk id="10" creationId="{167ACE4B-4E6C-5B79-1760-464F5B3732F4}"/>
          </ac:spMkLst>
        </pc:spChg>
        <pc:spChg chg="mod">
          <ac:chgData name="Rui Sousa" userId="285bb50d-01dc-4ac6-9db4-995d4d48557e" providerId="ADAL" clId="{46849BC3-4ED1-4F23-BBD8-44E2840BBA72}" dt="2025-12-15T20:30:53.062" v="5123" actId="790"/>
          <ac:spMkLst>
            <pc:docMk/>
            <pc:sldMk cId="3460610629" sldId="702"/>
            <ac:spMk id="11" creationId="{C02B09F6-7C35-59DA-44DF-356CF547FC0E}"/>
          </ac:spMkLst>
        </pc:spChg>
        <pc:spChg chg="mod">
          <ac:chgData name="Rui Sousa" userId="285bb50d-01dc-4ac6-9db4-995d4d48557e" providerId="ADAL" clId="{46849BC3-4ED1-4F23-BBD8-44E2840BBA72}" dt="2025-12-15T20:30:53.062" v="5123" actId="790"/>
          <ac:spMkLst>
            <pc:docMk/>
            <pc:sldMk cId="3460610629" sldId="702"/>
            <ac:spMk id="12" creationId="{0ADF184B-1994-7FB1-7B58-C6F29EC1716D}"/>
          </ac:spMkLst>
        </pc:spChg>
        <pc:spChg chg="mod">
          <ac:chgData name="Rui Sousa" userId="285bb50d-01dc-4ac6-9db4-995d4d48557e" providerId="ADAL" clId="{46849BC3-4ED1-4F23-BBD8-44E2840BBA72}" dt="2025-12-15T20:30:53.062" v="5123" actId="790"/>
          <ac:spMkLst>
            <pc:docMk/>
            <pc:sldMk cId="3460610629" sldId="702"/>
            <ac:spMk id="13" creationId="{A18D9E18-13BA-4453-D5F2-35ECC4044715}"/>
          </ac:spMkLst>
        </pc:spChg>
        <pc:spChg chg="add del mod ord">
          <ac:chgData name="Rui Sousa" userId="285bb50d-01dc-4ac6-9db4-995d4d48557e" providerId="ADAL" clId="{46849BC3-4ED1-4F23-BBD8-44E2840BBA72}" dt="2025-12-15T13:48:01.796" v="2906" actId="478"/>
          <ac:spMkLst>
            <pc:docMk/>
            <pc:sldMk cId="3460610629" sldId="702"/>
            <ac:spMk id="14" creationId="{A985CB5D-DC16-79E6-8D83-3EB3BADF35AD}"/>
          </ac:spMkLst>
        </pc:spChg>
        <pc:spChg chg="del mod">
          <ac:chgData name="Rui Sousa" userId="285bb50d-01dc-4ac6-9db4-995d4d48557e" providerId="ADAL" clId="{46849BC3-4ED1-4F23-BBD8-44E2840BBA72}" dt="2025-12-15T12:29:25.444" v="2891" actId="478"/>
          <ac:spMkLst>
            <pc:docMk/>
            <pc:sldMk cId="3460610629" sldId="702"/>
            <ac:spMk id="15" creationId="{A9787951-D2E9-0949-7719-D6B7108B5358}"/>
          </ac:spMkLst>
        </pc:spChg>
        <pc:spChg chg="mod">
          <ac:chgData name="Rui Sousa" userId="285bb50d-01dc-4ac6-9db4-995d4d48557e" providerId="ADAL" clId="{46849BC3-4ED1-4F23-BBD8-44E2840BBA72}" dt="2025-12-15T20:30:53.062" v="5123" actId="790"/>
          <ac:spMkLst>
            <pc:docMk/>
            <pc:sldMk cId="3460610629" sldId="702"/>
            <ac:spMk id="16" creationId="{918D4545-C44C-898D-2ECD-4F9293B98683}"/>
          </ac:spMkLst>
        </pc:spChg>
        <pc:grpChg chg="add mod">
          <ac:chgData name="Rui Sousa" userId="285bb50d-01dc-4ac6-9db4-995d4d48557e" providerId="ADAL" clId="{46849BC3-4ED1-4F23-BBD8-44E2840BBA72}" dt="2025-12-15T13:49:32.506" v="2927" actId="1076"/>
          <ac:grpSpMkLst>
            <pc:docMk/>
            <pc:sldMk cId="3460610629" sldId="702"/>
            <ac:grpSpMk id="17" creationId="{13A97481-E80F-D0D2-54BC-56FD1AFB29E1}"/>
          </ac:grpSpMkLst>
        </pc:grpChg>
        <pc:picChg chg="mod">
          <ac:chgData name="Rui Sousa" userId="285bb50d-01dc-4ac6-9db4-995d4d48557e" providerId="ADAL" clId="{46849BC3-4ED1-4F23-BBD8-44E2840BBA72}" dt="2025-12-15T13:49:52.322" v="2937" actId="1076"/>
          <ac:picMkLst>
            <pc:docMk/>
            <pc:sldMk cId="3460610629" sldId="702"/>
            <ac:picMk id="4" creationId="{107990F9-8125-4A49-AF12-8F053F1FEB3F}"/>
          </ac:picMkLst>
        </pc:picChg>
      </pc:sldChg>
      <pc:sldChg chg="addSp delSp modSp mod modClrScheme chgLayout">
        <pc:chgData name="Rui Sousa" userId="285bb50d-01dc-4ac6-9db4-995d4d48557e" providerId="ADAL" clId="{46849BC3-4ED1-4F23-BBD8-44E2840BBA72}" dt="2025-12-15T20:30:53.062" v="5123" actId="790"/>
        <pc:sldMkLst>
          <pc:docMk/>
          <pc:sldMk cId="2518112797" sldId="703"/>
        </pc:sldMkLst>
        <pc:spChg chg="mod ord">
          <ac:chgData name="Rui Sousa" userId="285bb50d-01dc-4ac6-9db4-995d4d48557e" providerId="ADAL" clId="{46849BC3-4ED1-4F23-BBD8-44E2840BBA72}" dt="2025-12-15T16:46:07.646" v="3841" actId="700"/>
          <ac:spMkLst>
            <pc:docMk/>
            <pc:sldMk cId="2518112797" sldId="703"/>
            <ac:spMk id="2" creationId="{7B8D7BA8-31CF-1596-B0C0-0E49FE648A07}"/>
          </ac:spMkLst>
        </pc:spChg>
        <pc:spChg chg="add del mod ord">
          <ac:chgData name="Rui Sousa" userId="285bb50d-01dc-4ac6-9db4-995d4d48557e" providerId="ADAL" clId="{46849BC3-4ED1-4F23-BBD8-44E2840BBA72}" dt="2025-12-15T16:45:37.941" v="3834" actId="700"/>
          <ac:spMkLst>
            <pc:docMk/>
            <pc:sldMk cId="2518112797" sldId="703"/>
            <ac:spMk id="3" creationId="{77023924-4371-C77A-E0E6-AA3C769A52E4}"/>
          </ac:spMkLst>
        </pc:spChg>
        <pc:spChg chg="mod">
          <ac:chgData name="Rui Sousa" userId="285bb50d-01dc-4ac6-9db4-995d4d48557e" providerId="ADAL" clId="{46849BC3-4ED1-4F23-BBD8-44E2840BBA72}" dt="2025-12-15T16:47:25.036" v="3849" actId="1076"/>
          <ac:spMkLst>
            <pc:docMk/>
            <pc:sldMk cId="2518112797" sldId="703"/>
            <ac:spMk id="5" creationId="{95346C8F-CC62-1A54-C16D-E3ADD08611D3}"/>
          </ac:spMkLst>
        </pc:spChg>
        <pc:spChg chg="del mod">
          <ac:chgData name="Rui Sousa" userId="285bb50d-01dc-4ac6-9db4-995d4d48557e" providerId="ADAL" clId="{46849BC3-4ED1-4F23-BBD8-44E2840BBA72}" dt="2025-12-15T16:46:22.990" v="3845" actId="478"/>
          <ac:spMkLst>
            <pc:docMk/>
            <pc:sldMk cId="2518112797" sldId="703"/>
            <ac:spMk id="9" creationId="{526B8F13-F3F6-CE2F-9F67-F0B6876FC17A}"/>
          </ac:spMkLst>
        </pc:spChg>
        <pc:spChg chg="del">
          <ac:chgData name="Rui Sousa" userId="285bb50d-01dc-4ac6-9db4-995d4d48557e" providerId="ADAL" clId="{46849BC3-4ED1-4F23-BBD8-44E2840BBA72}" dt="2025-12-15T16:46:18.214" v="3843" actId="478"/>
          <ac:spMkLst>
            <pc:docMk/>
            <pc:sldMk cId="2518112797" sldId="703"/>
            <ac:spMk id="10" creationId="{476B9559-458F-A9D3-9048-1C2CAB638E4C}"/>
          </ac:spMkLst>
        </pc:spChg>
        <pc:spChg chg="add del mod ord">
          <ac:chgData name="Rui Sousa" userId="285bb50d-01dc-4ac6-9db4-995d4d48557e" providerId="ADAL" clId="{46849BC3-4ED1-4F23-BBD8-44E2840BBA72}" dt="2025-12-15T16:46:11.255" v="3842" actId="478"/>
          <ac:spMkLst>
            <pc:docMk/>
            <pc:sldMk cId="2518112797" sldId="703"/>
            <ac:spMk id="11" creationId="{1979A325-7B94-D45F-ED03-ABBCE5FF1CB6}"/>
          </ac:spMkLst>
        </pc:spChg>
        <pc:spChg chg="add mod">
          <ac:chgData name="Rui Sousa" userId="285bb50d-01dc-4ac6-9db4-995d4d48557e" providerId="ADAL" clId="{46849BC3-4ED1-4F23-BBD8-44E2840BBA72}" dt="2025-12-15T16:46:35.207" v="3846"/>
          <ac:spMkLst>
            <pc:docMk/>
            <pc:sldMk cId="2518112797" sldId="703"/>
            <ac:spMk id="12" creationId="{4C05848D-0F9D-B8F7-94F3-4D1FBA6C22BC}"/>
          </ac:spMkLst>
        </pc:spChg>
        <pc:spChg chg="mod">
          <ac:chgData name="Rui Sousa" userId="285bb50d-01dc-4ac6-9db4-995d4d48557e" providerId="ADAL" clId="{46849BC3-4ED1-4F23-BBD8-44E2840BBA72}" dt="2025-12-15T20:30:53.062" v="5123" actId="790"/>
          <ac:spMkLst>
            <pc:docMk/>
            <pc:sldMk cId="2518112797" sldId="703"/>
            <ac:spMk id="26" creationId="{ACEE1285-27E7-9515-3428-720C42F9CC57}"/>
          </ac:spMkLst>
        </pc:spChg>
        <pc:spChg chg="mod">
          <ac:chgData name="Rui Sousa" userId="285bb50d-01dc-4ac6-9db4-995d4d48557e" providerId="ADAL" clId="{46849BC3-4ED1-4F23-BBD8-44E2840BBA72}" dt="2025-12-15T20:30:53.062" v="5123" actId="790"/>
          <ac:spMkLst>
            <pc:docMk/>
            <pc:sldMk cId="2518112797" sldId="703"/>
            <ac:spMk id="30" creationId="{C4D68CA0-A355-6795-F2A7-E70208D9DEE4}"/>
          </ac:spMkLst>
        </pc:spChg>
        <pc:spChg chg="mod">
          <ac:chgData name="Rui Sousa" userId="285bb50d-01dc-4ac6-9db4-995d4d48557e" providerId="ADAL" clId="{46849BC3-4ED1-4F23-BBD8-44E2840BBA72}" dt="2025-12-15T20:30:53.062" v="5123" actId="790"/>
          <ac:spMkLst>
            <pc:docMk/>
            <pc:sldMk cId="2518112797" sldId="703"/>
            <ac:spMk id="53" creationId="{6859DFE6-6DEC-8C23-F226-8F8242B06776}"/>
          </ac:spMkLst>
        </pc:spChg>
        <pc:spChg chg="mod">
          <ac:chgData name="Rui Sousa" userId="285bb50d-01dc-4ac6-9db4-995d4d48557e" providerId="ADAL" clId="{46849BC3-4ED1-4F23-BBD8-44E2840BBA72}" dt="2025-12-15T20:30:53.062" v="5123" actId="790"/>
          <ac:spMkLst>
            <pc:docMk/>
            <pc:sldMk cId="2518112797" sldId="703"/>
            <ac:spMk id="54" creationId="{31732DC9-20C8-5069-DF9D-8B1BE9C9B891}"/>
          </ac:spMkLst>
        </pc:spChg>
        <pc:spChg chg="mod">
          <ac:chgData name="Rui Sousa" userId="285bb50d-01dc-4ac6-9db4-995d4d48557e" providerId="ADAL" clId="{46849BC3-4ED1-4F23-BBD8-44E2840BBA72}" dt="2025-12-15T20:30:53.062" v="5123" actId="790"/>
          <ac:spMkLst>
            <pc:docMk/>
            <pc:sldMk cId="2518112797" sldId="703"/>
            <ac:spMk id="83" creationId="{83A79702-BEC2-4CC5-8748-0B831570ED48}"/>
          </ac:spMkLst>
        </pc:spChg>
        <pc:spChg chg="mod">
          <ac:chgData name="Rui Sousa" userId="285bb50d-01dc-4ac6-9db4-995d4d48557e" providerId="ADAL" clId="{46849BC3-4ED1-4F23-BBD8-44E2840BBA72}" dt="2025-12-15T20:30:53.062" v="5123" actId="790"/>
          <ac:spMkLst>
            <pc:docMk/>
            <pc:sldMk cId="2518112797" sldId="703"/>
            <ac:spMk id="98" creationId="{3C892CA0-0413-6E33-9CB1-8802F21CAA8A}"/>
          </ac:spMkLst>
        </pc:spChg>
        <pc:spChg chg="mod">
          <ac:chgData name="Rui Sousa" userId="285bb50d-01dc-4ac6-9db4-995d4d48557e" providerId="ADAL" clId="{46849BC3-4ED1-4F23-BBD8-44E2840BBA72}" dt="2025-12-15T20:30:53.062" v="5123" actId="790"/>
          <ac:spMkLst>
            <pc:docMk/>
            <pc:sldMk cId="2518112797" sldId="703"/>
            <ac:spMk id="110" creationId="{5946D6AA-29F3-7C18-6677-6F88EF10E081}"/>
          </ac:spMkLst>
        </pc:spChg>
        <pc:spChg chg="mod">
          <ac:chgData name="Rui Sousa" userId="285bb50d-01dc-4ac6-9db4-995d4d48557e" providerId="ADAL" clId="{46849BC3-4ED1-4F23-BBD8-44E2840BBA72}" dt="2025-12-15T20:30:53.062" v="5123" actId="790"/>
          <ac:spMkLst>
            <pc:docMk/>
            <pc:sldMk cId="2518112797" sldId="703"/>
            <ac:spMk id="115" creationId="{3FF5F6D9-D0F7-D4A0-D925-F10EC47D4692}"/>
          </ac:spMkLst>
        </pc:spChg>
        <pc:spChg chg="mod">
          <ac:chgData name="Rui Sousa" userId="285bb50d-01dc-4ac6-9db4-995d4d48557e" providerId="ADAL" clId="{46849BC3-4ED1-4F23-BBD8-44E2840BBA72}" dt="2025-12-15T20:30:53.062" v="5123" actId="790"/>
          <ac:spMkLst>
            <pc:docMk/>
            <pc:sldMk cId="2518112797" sldId="703"/>
            <ac:spMk id="117" creationId="{4C63B2EF-F967-893A-8BF0-488B8539F43F}"/>
          </ac:spMkLst>
        </pc:spChg>
        <pc:spChg chg="mod">
          <ac:chgData name="Rui Sousa" userId="285bb50d-01dc-4ac6-9db4-995d4d48557e" providerId="ADAL" clId="{46849BC3-4ED1-4F23-BBD8-44E2840BBA72}" dt="2025-12-15T20:30:53.062" v="5123" actId="790"/>
          <ac:spMkLst>
            <pc:docMk/>
            <pc:sldMk cId="2518112797" sldId="703"/>
            <ac:spMk id="129" creationId="{EF08A86D-309D-35D1-95AB-D44EEE82C55D}"/>
          </ac:spMkLst>
        </pc:spChg>
      </pc:sldChg>
      <pc:sldChg chg="modSp del mod">
        <pc:chgData name="Rui Sousa" userId="285bb50d-01dc-4ac6-9db4-995d4d48557e" providerId="ADAL" clId="{46849BC3-4ED1-4F23-BBD8-44E2840BBA72}" dt="2025-12-15T18:09:01.273" v="5028" actId="47"/>
        <pc:sldMkLst>
          <pc:docMk/>
          <pc:sldMk cId="1693443244" sldId="704"/>
        </pc:sldMkLst>
        <pc:spChg chg="mod">
          <ac:chgData name="Rui Sousa" userId="285bb50d-01dc-4ac6-9db4-995d4d48557e" providerId="ADAL" clId="{46849BC3-4ED1-4F23-BBD8-44E2840BBA72}" dt="2025-12-15T17:15:22.365" v="4570" actId="790"/>
          <ac:spMkLst>
            <pc:docMk/>
            <pc:sldMk cId="1693443244" sldId="704"/>
            <ac:spMk id="2" creationId="{4E008368-731C-0C95-6229-290E49D80286}"/>
          </ac:spMkLst>
        </pc:spChg>
        <pc:spChg chg="mod">
          <ac:chgData name="Rui Sousa" userId="285bb50d-01dc-4ac6-9db4-995d4d48557e" providerId="ADAL" clId="{46849BC3-4ED1-4F23-BBD8-44E2840BBA72}" dt="2025-12-15T17:15:22.365" v="4570" actId="790"/>
          <ac:spMkLst>
            <pc:docMk/>
            <pc:sldMk cId="1693443244" sldId="704"/>
            <ac:spMk id="6" creationId="{BACEC4C3-632E-79C6-6CE9-1E1ACE789D52}"/>
          </ac:spMkLst>
        </pc:spChg>
        <pc:spChg chg="mod">
          <ac:chgData name="Rui Sousa" userId="285bb50d-01dc-4ac6-9db4-995d4d48557e" providerId="ADAL" clId="{46849BC3-4ED1-4F23-BBD8-44E2840BBA72}" dt="2025-12-15T17:15:22.365" v="4570" actId="790"/>
          <ac:spMkLst>
            <pc:docMk/>
            <pc:sldMk cId="1693443244" sldId="704"/>
            <ac:spMk id="7" creationId="{144FE99E-62E8-86C8-CE13-CB0D5BA6AD7E}"/>
          </ac:spMkLst>
        </pc:spChg>
        <pc:spChg chg="mod">
          <ac:chgData name="Rui Sousa" userId="285bb50d-01dc-4ac6-9db4-995d4d48557e" providerId="ADAL" clId="{46849BC3-4ED1-4F23-BBD8-44E2840BBA72}" dt="2025-12-15T17:15:22.365" v="4570" actId="790"/>
          <ac:spMkLst>
            <pc:docMk/>
            <pc:sldMk cId="1693443244" sldId="704"/>
            <ac:spMk id="10" creationId="{8A2FC025-261C-E7A1-88CB-47C5AD22F6BD}"/>
          </ac:spMkLst>
        </pc:spChg>
      </pc:sldChg>
      <pc:sldChg chg="delSp modSp add del mod">
        <pc:chgData name="Rui Sousa" userId="285bb50d-01dc-4ac6-9db4-995d4d48557e" providerId="ADAL" clId="{46849BC3-4ED1-4F23-BBD8-44E2840BBA72}" dt="2025-12-15T20:32:21.942" v="5129" actId="47"/>
        <pc:sldMkLst>
          <pc:docMk/>
          <pc:sldMk cId="1584205316" sldId="705"/>
        </pc:sldMkLst>
        <pc:spChg chg="mod">
          <ac:chgData name="Rui Sousa" userId="285bb50d-01dc-4ac6-9db4-995d4d48557e" providerId="ADAL" clId="{46849BC3-4ED1-4F23-BBD8-44E2840BBA72}" dt="2025-12-15T20:30:53.062" v="5123" actId="790"/>
          <ac:spMkLst>
            <pc:docMk/>
            <pc:sldMk cId="1584205316" sldId="705"/>
            <ac:spMk id="2" creationId="{B7F12FBE-E5DB-1EDA-C026-D787190934C4}"/>
          </ac:spMkLst>
        </pc:spChg>
        <pc:picChg chg="del mod">
          <ac:chgData name="Rui Sousa" userId="285bb50d-01dc-4ac6-9db4-995d4d48557e" providerId="ADAL" clId="{46849BC3-4ED1-4F23-BBD8-44E2840BBA72}" dt="2025-12-15T20:29:45.299" v="5110" actId="478"/>
          <ac:picMkLst>
            <pc:docMk/>
            <pc:sldMk cId="1584205316" sldId="705"/>
            <ac:picMk id="4" creationId="{C0B6F942-F530-289C-02D1-DC302AF49933}"/>
          </ac:picMkLst>
        </pc:picChg>
      </pc:sldChg>
      <pc:sldChg chg="addSp delSp modSp mod modClrScheme chgLayout">
        <pc:chgData name="Rui Sousa" userId="285bb50d-01dc-4ac6-9db4-995d4d48557e" providerId="ADAL" clId="{46849BC3-4ED1-4F23-BBD8-44E2840BBA72}" dt="2025-12-15T20:30:53.062" v="5123" actId="790"/>
        <pc:sldMkLst>
          <pc:docMk/>
          <pc:sldMk cId="673093889" sldId="706"/>
        </pc:sldMkLst>
        <pc:spChg chg="mod ord">
          <ac:chgData name="Rui Sousa" userId="285bb50d-01dc-4ac6-9db4-995d4d48557e" providerId="ADAL" clId="{46849BC3-4ED1-4F23-BBD8-44E2840BBA72}" dt="2025-12-15T20:30:53.062" v="5123" actId="790"/>
          <ac:spMkLst>
            <pc:docMk/>
            <pc:sldMk cId="673093889" sldId="706"/>
            <ac:spMk id="2" creationId="{DF715A78-023E-351F-5C6F-FE33488083B5}"/>
          </ac:spMkLst>
        </pc:spChg>
        <pc:spChg chg="add del mod ord">
          <ac:chgData name="Rui Sousa" userId="285bb50d-01dc-4ac6-9db4-995d4d48557e" providerId="ADAL" clId="{46849BC3-4ED1-4F23-BBD8-44E2840BBA72}" dt="2025-12-15T17:31:48.737" v="4882" actId="478"/>
          <ac:spMkLst>
            <pc:docMk/>
            <pc:sldMk cId="673093889" sldId="706"/>
            <ac:spMk id="3" creationId="{F933AC67-D59A-27DE-EB11-2DA478E93B87}"/>
          </ac:spMkLst>
        </pc:spChg>
        <pc:spChg chg="mod">
          <ac:chgData name="Rui Sousa" userId="285bb50d-01dc-4ac6-9db4-995d4d48557e" providerId="ADAL" clId="{46849BC3-4ED1-4F23-BBD8-44E2840BBA72}" dt="2025-12-15T20:30:53.062" v="5123" actId="790"/>
          <ac:spMkLst>
            <pc:docMk/>
            <pc:sldMk cId="673093889" sldId="706"/>
            <ac:spMk id="4" creationId="{F6F86EFF-0799-2565-90AC-FAC958A0A357}"/>
          </ac:spMkLst>
        </pc:spChg>
        <pc:spChg chg="add del mod ord">
          <ac:chgData name="Rui Sousa" userId="285bb50d-01dc-4ac6-9db4-995d4d48557e" providerId="ADAL" clId="{46849BC3-4ED1-4F23-BBD8-44E2840BBA72}" dt="2025-12-15T17:32:42.356" v="4894" actId="700"/>
          <ac:spMkLst>
            <pc:docMk/>
            <pc:sldMk cId="673093889" sldId="706"/>
            <ac:spMk id="6" creationId="{649940F2-2706-655D-2454-EC19497E936C}"/>
          </ac:spMkLst>
        </pc:spChg>
        <pc:spChg chg="add del mod ord">
          <ac:chgData name="Rui Sousa" userId="285bb50d-01dc-4ac6-9db4-995d4d48557e" providerId="ADAL" clId="{46849BC3-4ED1-4F23-BBD8-44E2840BBA72}" dt="2025-12-15T17:34:22.063" v="4935" actId="478"/>
          <ac:spMkLst>
            <pc:docMk/>
            <pc:sldMk cId="673093889" sldId="706"/>
            <ac:spMk id="8" creationId="{A2D2F16B-5152-989E-1D56-D2BC238078A3}"/>
          </ac:spMkLst>
        </pc:spChg>
        <pc:spChg chg="add mod">
          <ac:chgData name="Rui Sousa" userId="285bb50d-01dc-4ac6-9db4-995d4d48557e" providerId="ADAL" clId="{46849BC3-4ED1-4F23-BBD8-44E2840BBA72}" dt="2025-12-15T20:30:53.062" v="5123" actId="790"/>
          <ac:spMkLst>
            <pc:docMk/>
            <pc:sldMk cId="673093889" sldId="706"/>
            <ac:spMk id="9" creationId="{0BFF500A-50E9-683F-FCA0-8811EAF9E672}"/>
          </ac:spMkLst>
        </pc:spChg>
        <pc:spChg chg="add mod">
          <ac:chgData name="Rui Sousa" userId="285bb50d-01dc-4ac6-9db4-995d4d48557e" providerId="ADAL" clId="{46849BC3-4ED1-4F23-BBD8-44E2840BBA72}" dt="2025-12-15T20:30:53.062" v="5123" actId="790"/>
          <ac:spMkLst>
            <pc:docMk/>
            <pc:sldMk cId="673093889" sldId="706"/>
            <ac:spMk id="13" creationId="{D6F4BEF5-67A3-DB19-AFCF-17F6865374BE}"/>
          </ac:spMkLst>
        </pc:spChg>
        <pc:grpChg chg="add mod">
          <ac:chgData name="Rui Sousa" userId="285bb50d-01dc-4ac6-9db4-995d4d48557e" providerId="ADAL" clId="{46849BC3-4ED1-4F23-BBD8-44E2840BBA72}" dt="2025-12-15T17:45:05.552" v="5025" actId="1037"/>
          <ac:grpSpMkLst>
            <pc:docMk/>
            <pc:sldMk cId="673093889" sldId="706"/>
            <ac:grpSpMk id="14" creationId="{9C6CF4B8-7833-CCD4-5940-DA60191D6CD1}"/>
          </ac:grpSpMkLst>
        </pc:grpChg>
        <pc:picChg chg="mod ord">
          <ac:chgData name="Rui Sousa" userId="285bb50d-01dc-4ac6-9db4-995d4d48557e" providerId="ADAL" clId="{46849BC3-4ED1-4F23-BBD8-44E2840BBA72}" dt="2025-12-15T17:45:05.552" v="5025" actId="1037"/>
          <ac:picMkLst>
            <pc:docMk/>
            <pc:sldMk cId="673093889" sldId="706"/>
            <ac:picMk id="5" creationId="{93595028-ABFB-0156-7A67-6BA336AA199D}"/>
          </ac:picMkLst>
        </pc:picChg>
        <pc:picChg chg="add mod">
          <ac:chgData name="Rui Sousa" userId="285bb50d-01dc-4ac6-9db4-995d4d48557e" providerId="ADAL" clId="{46849BC3-4ED1-4F23-BBD8-44E2840BBA72}" dt="2025-12-15T17:32:34.615" v="4891"/>
          <ac:picMkLst>
            <pc:docMk/>
            <pc:sldMk cId="673093889" sldId="706"/>
            <ac:picMk id="7" creationId="{1AF9C16D-D860-6BCC-3B87-3C0D198CB6CF}"/>
          </ac:picMkLst>
        </pc:picChg>
        <pc:picChg chg="add mod">
          <ac:chgData name="Rui Sousa" userId="285bb50d-01dc-4ac6-9db4-995d4d48557e" providerId="ADAL" clId="{46849BC3-4ED1-4F23-BBD8-44E2840BBA72}" dt="2025-12-15T17:35:12.097" v="4940" actId="1076"/>
          <ac:picMkLst>
            <pc:docMk/>
            <pc:sldMk cId="673093889" sldId="706"/>
            <ac:picMk id="10" creationId="{F00FCEA9-4411-1659-354D-18BF9437CBFE}"/>
          </ac:picMkLst>
        </pc:picChg>
        <pc:picChg chg="add mod">
          <ac:chgData name="Rui Sousa" userId="285bb50d-01dc-4ac6-9db4-995d4d48557e" providerId="ADAL" clId="{46849BC3-4ED1-4F23-BBD8-44E2840BBA72}" dt="2025-12-15T17:45:05.552" v="5025" actId="1037"/>
          <ac:picMkLst>
            <pc:docMk/>
            <pc:sldMk cId="673093889" sldId="706"/>
            <ac:picMk id="11" creationId="{395FF4BE-0022-88D2-00DD-76111C8B2C95}"/>
          </ac:picMkLst>
        </pc:picChg>
        <pc:cxnChg chg="add mod">
          <ac:chgData name="Rui Sousa" userId="285bb50d-01dc-4ac6-9db4-995d4d48557e" providerId="ADAL" clId="{46849BC3-4ED1-4F23-BBD8-44E2840BBA72}" dt="2025-12-15T17:45:05.552" v="5025" actId="1037"/>
          <ac:cxnSpMkLst>
            <pc:docMk/>
            <pc:sldMk cId="673093889" sldId="706"/>
            <ac:cxnSpMk id="12" creationId="{D92FA623-249C-8318-DA19-07C3B9911D2B}"/>
          </ac:cxnSpMkLst>
        </pc:cxnChg>
      </pc:sldChg>
      <pc:sldChg chg="modSp mod ord modClrScheme chgLayout">
        <pc:chgData name="Rui Sousa" userId="285bb50d-01dc-4ac6-9db4-995d4d48557e" providerId="ADAL" clId="{46849BC3-4ED1-4F23-BBD8-44E2840BBA72}" dt="2025-12-16T10:02:18.101" v="5404" actId="1076"/>
        <pc:sldMkLst>
          <pc:docMk/>
          <pc:sldMk cId="1568477421" sldId="707"/>
        </pc:sldMkLst>
        <pc:spChg chg="mod ord">
          <ac:chgData name="Rui Sousa" userId="285bb50d-01dc-4ac6-9db4-995d4d48557e" providerId="ADAL" clId="{46849BC3-4ED1-4F23-BBD8-44E2840BBA72}" dt="2025-12-15T20:43:08.766" v="5285" actId="700"/>
          <ac:spMkLst>
            <pc:docMk/>
            <pc:sldMk cId="1568477421" sldId="707"/>
            <ac:spMk id="2" creationId="{740D7945-C3E9-1BE5-7817-0A873D5A96C8}"/>
          </ac:spMkLst>
        </pc:spChg>
        <pc:spChg chg="mod ord">
          <ac:chgData name="Rui Sousa" userId="285bb50d-01dc-4ac6-9db4-995d4d48557e" providerId="ADAL" clId="{46849BC3-4ED1-4F23-BBD8-44E2840BBA72}" dt="2025-12-15T20:43:15.824" v="5302" actId="1035"/>
          <ac:spMkLst>
            <pc:docMk/>
            <pc:sldMk cId="1568477421" sldId="707"/>
            <ac:spMk id="3" creationId="{5ADEC436-1DF4-D51E-5716-80BDC8A0E63E}"/>
          </ac:spMkLst>
        </pc:spChg>
        <pc:spChg chg="mod">
          <ac:chgData name="Rui Sousa" userId="285bb50d-01dc-4ac6-9db4-995d4d48557e" providerId="ADAL" clId="{46849BC3-4ED1-4F23-BBD8-44E2840BBA72}" dt="2025-12-15T20:43:25.497" v="5303" actId="13822"/>
          <ac:spMkLst>
            <pc:docMk/>
            <pc:sldMk cId="1568477421" sldId="707"/>
            <ac:spMk id="6" creationId="{BE782444-8A84-94E5-8722-95CBCFB74964}"/>
          </ac:spMkLst>
        </pc:spChg>
        <pc:spChg chg="mod">
          <ac:chgData name="Rui Sousa" userId="285bb50d-01dc-4ac6-9db4-995d4d48557e" providerId="ADAL" clId="{46849BC3-4ED1-4F23-BBD8-44E2840BBA72}" dt="2025-12-15T20:30:53.062" v="5123" actId="790"/>
          <ac:spMkLst>
            <pc:docMk/>
            <pc:sldMk cId="1568477421" sldId="707"/>
            <ac:spMk id="7" creationId="{8658BCC1-7647-2DF0-64EF-FD3324474E9E}"/>
          </ac:spMkLst>
        </pc:spChg>
        <pc:picChg chg="mod">
          <ac:chgData name="Rui Sousa" userId="285bb50d-01dc-4ac6-9db4-995d4d48557e" providerId="ADAL" clId="{46849BC3-4ED1-4F23-BBD8-44E2840BBA72}" dt="2025-12-16T10:02:18.101" v="5404" actId="1076"/>
          <ac:picMkLst>
            <pc:docMk/>
            <pc:sldMk cId="1568477421" sldId="707"/>
            <ac:picMk id="5" creationId="{3A7FB204-73CE-8E90-4E7F-F8A30918716F}"/>
          </ac:picMkLst>
        </pc:picChg>
      </pc:sldChg>
      <pc:sldChg chg="addSp delSp modSp mod ord modClrScheme chgLayout">
        <pc:chgData name="Rui Sousa" userId="285bb50d-01dc-4ac6-9db4-995d4d48557e" providerId="ADAL" clId="{46849BC3-4ED1-4F23-BBD8-44E2840BBA72}" dt="2025-12-16T10:55:18.027" v="5492" actId="113"/>
        <pc:sldMkLst>
          <pc:docMk/>
          <pc:sldMk cId="828648031" sldId="708"/>
        </pc:sldMkLst>
        <pc:spChg chg="mod ord">
          <ac:chgData name="Rui Sousa" userId="285bb50d-01dc-4ac6-9db4-995d4d48557e" providerId="ADAL" clId="{46849BC3-4ED1-4F23-BBD8-44E2840BBA72}" dt="2025-12-15T20:42:42.201" v="5281" actId="700"/>
          <ac:spMkLst>
            <pc:docMk/>
            <pc:sldMk cId="828648031" sldId="708"/>
            <ac:spMk id="2" creationId="{82D3EFB2-3CD8-DDAE-F31F-0D9E96E622FB}"/>
          </ac:spMkLst>
        </pc:spChg>
        <pc:spChg chg="mod ord">
          <ac:chgData name="Rui Sousa" userId="285bb50d-01dc-4ac6-9db4-995d4d48557e" providerId="ADAL" clId="{46849BC3-4ED1-4F23-BBD8-44E2840BBA72}" dt="2025-12-16T10:55:18.027" v="5492" actId="113"/>
          <ac:spMkLst>
            <pc:docMk/>
            <pc:sldMk cId="828648031" sldId="708"/>
            <ac:spMk id="3" creationId="{D76560B5-3659-9B45-7313-5799C8C1FC67}"/>
          </ac:spMkLst>
        </pc:spChg>
        <pc:spChg chg="del mod">
          <ac:chgData name="Rui Sousa" userId="285bb50d-01dc-4ac6-9db4-995d4d48557e" providerId="ADAL" clId="{46849BC3-4ED1-4F23-BBD8-44E2840BBA72}" dt="2025-12-16T10:51:54.170" v="5466" actId="478"/>
          <ac:spMkLst>
            <pc:docMk/>
            <pc:sldMk cId="828648031" sldId="708"/>
            <ac:spMk id="4" creationId="{2903B7E5-B267-8C43-C89E-88B18E89B122}"/>
          </ac:spMkLst>
        </pc:spChg>
        <pc:spChg chg="add del mod">
          <ac:chgData name="Rui Sousa" userId="285bb50d-01dc-4ac6-9db4-995d4d48557e" providerId="ADAL" clId="{46849BC3-4ED1-4F23-BBD8-44E2840BBA72}" dt="2025-12-16T10:48:09.019" v="5422" actId="478"/>
          <ac:spMkLst>
            <pc:docMk/>
            <pc:sldMk cId="828648031" sldId="708"/>
            <ac:spMk id="7" creationId="{783A26C6-FF94-52A1-EBD3-DD6047E93076}"/>
          </ac:spMkLst>
        </pc:spChg>
        <pc:spChg chg="add mod ord">
          <ac:chgData name="Rui Sousa" userId="285bb50d-01dc-4ac6-9db4-995d4d48557e" providerId="ADAL" clId="{46849BC3-4ED1-4F23-BBD8-44E2840BBA72}" dt="2025-12-16T10:54:34.254" v="5488" actId="167"/>
          <ac:spMkLst>
            <pc:docMk/>
            <pc:sldMk cId="828648031" sldId="708"/>
            <ac:spMk id="8" creationId="{53550698-EAC2-CC78-35F2-7D39838E36C8}"/>
          </ac:spMkLst>
        </pc:spChg>
        <pc:spChg chg="add mod ord">
          <ac:chgData name="Rui Sousa" userId="285bb50d-01dc-4ac6-9db4-995d4d48557e" providerId="ADAL" clId="{46849BC3-4ED1-4F23-BBD8-44E2840BBA72}" dt="2025-12-16T10:52:55.336" v="5478" actId="14100"/>
          <ac:spMkLst>
            <pc:docMk/>
            <pc:sldMk cId="828648031" sldId="708"/>
            <ac:spMk id="9" creationId="{02325B97-206B-E8B4-904C-07E56C11C3AC}"/>
          </ac:spMkLst>
        </pc:spChg>
        <pc:spChg chg="add mod">
          <ac:chgData name="Rui Sousa" userId="285bb50d-01dc-4ac6-9db4-995d4d48557e" providerId="ADAL" clId="{46849BC3-4ED1-4F23-BBD8-44E2840BBA72}" dt="2025-12-16T10:53:31.109" v="5483" actId="164"/>
          <ac:spMkLst>
            <pc:docMk/>
            <pc:sldMk cId="828648031" sldId="708"/>
            <ac:spMk id="11" creationId="{E653515F-2145-3600-4E37-696C6F0F8694}"/>
          </ac:spMkLst>
        </pc:spChg>
        <pc:spChg chg="mod">
          <ac:chgData name="Rui Sousa" userId="285bb50d-01dc-4ac6-9db4-995d4d48557e" providerId="ADAL" clId="{46849BC3-4ED1-4F23-BBD8-44E2840BBA72}" dt="2025-12-16T10:53:13.716" v="5481" actId="571"/>
          <ac:spMkLst>
            <pc:docMk/>
            <pc:sldMk cId="828648031" sldId="708"/>
            <ac:spMk id="17" creationId="{E7473C0C-F0FB-9ACE-E93B-60556D8C9391}"/>
          </ac:spMkLst>
        </pc:spChg>
        <pc:spChg chg="mod">
          <ac:chgData name="Rui Sousa" userId="285bb50d-01dc-4ac6-9db4-995d4d48557e" providerId="ADAL" clId="{46849BC3-4ED1-4F23-BBD8-44E2840BBA72}" dt="2025-12-16T10:53:13.716" v="5481" actId="571"/>
          <ac:spMkLst>
            <pc:docMk/>
            <pc:sldMk cId="828648031" sldId="708"/>
            <ac:spMk id="18" creationId="{5DFD117B-06F3-DC0E-96FF-4C736FD8CEB0}"/>
          </ac:spMkLst>
        </pc:spChg>
        <pc:grpChg chg="add mod ord">
          <ac:chgData name="Rui Sousa" userId="285bb50d-01dc-4ac6-9db4-995d4d48557e" providerId="ADAL" clId="{46849BC3-4ED1-4F23-BBD8-44E2840BBA72}" dt="2025-12-16T10:50:59.906" v="5451" actId="164"/>
          <ac:grpSpMkLst>
            <pc:docMk/>
            <pc:sldMk cId="828648031" sldId="708"/>
            <ac:grpSpMk id="12" creationId="{522AE4F3-BFC9-30AD-23D0-323CAC14C4A3}"/>
          </ac:grpSpMkLst>
        </pc:grpChg>
        <pc:grpChg chg="add mod">
          <ac:chgData name="Rui Sousa" userId="285bb50d-01dc-4ac6-9db4-995d4d48557e" providerId="ADAL" clId="{46849BC3-4ED1-4F23-BBD8-44E2840BBA72}" dt="2025-12-16T10:53:31.109" v="5483" actId="164"/>
          <ac:grpSpMkLst>
            <pc:docMk/>
            <pc:sldMk cId="828648031" sldId="708"/>
            <ac:grpSpMk id="13" creationId="{A857A58D-B4F1-DD4C-38C8-23B2B1C66405}"/>
          </ac:grpSpMkLst>
        </pc:grpChg>
        <pc:grpChg chg="add mod">
          <ac:chgData name="Rui Sousa" userId="285bb50d-01dc-4ac6-9db4-995d4d48557e" providerId="ADAL" clId="{46849BC3-4ED1-4F23-BBD8-44E2840BBA72}" dt="2025-12-16T10:53:13.716" v="5481" actId="571"/>
          <ac:grpSpMkLst>
            <pc:docMk/>
            <pc:sldMk cId="828648031" sldId="708"/>
            <ac:grpSpMk id="14" creationId="{D434B2D1-98F1-8BA0-6AA8-805846A9A0F7}"/>
          </ac:grpSpMkLst>
        </pc:grpChg>
        <pc:grpChg chg="mod">
          <ac:chgData name="Rui Sousa" userId="285bb50d-01dc-4ac6-9db4-995d4d48557e" providerId="ADAL" clId="{46849BC3-4ED1-4F23-BBD8-44E2840BBA72}" dt="2025-12-16T10:53:13.716" v="5481" actId="571"/>
          <ac:grpSpMkLst>
            <pc:docMk/>
            <pc:sldMk cId="828648031" sldId="708"/>
            <ac:grpSpMk id="15" creationId="{5E4F1077-EE51-1011-52E7-A10B9AA4A2F9}"/>
          </ac:grpSpMkLst>
        </pc:grpChg>
        <pc:grpChg chg="add mod">
          <ac:chgData name="Rui Sousa" userId="285bb50d-01dc-4ac6-9db4-995d4d48557e" providerId="ADAL" clId="{46849BC3-4ED1-4F23-BBD8-44E2840BBA72}" dt="2025-12-16T10:54:45.006" v="5489" actId="14861"/>
          <ac:grpSpMkLst>
            <pc:docMk/>
            <pc:sldMk cId="828648031" sldId="708"/>
            <ac:grpSpMk id="19" creationId="{C56A7778-DF6D-C0DA-9E00-4A4B21013251}"/>
          </ac:grpSpMkLst>
        </pc:grpChg>
        <pc:picChg chg="add del mod">
          <ac:chgData name="Rui Sousa" userId="285bb50d-01dc-4ac6-9db4-995d4d48557e" providerId="ADAL" clId="{46849BC3-4ED1-4F23-BBD8-44E2840BBA72}" dt="2025-12-15T20:40:14.098" v="5262" actId="478"/>
          <ac:picMkLst>
            <pc:docMk/>
            <pc:sldMk cId="828648031" sldId="708"/>
            <ac:picMk id="6" creationId="{A784AFBE-4EC9-1974-3C01-ED318059C1F5}"/>
          </ac:picMkLst>
        </pc:picChg>
        <pc:picChg chg="add mod">
          <ac:chgData name="Rui Sousa" userId="285bb50d-01dc-4ac6-9db4-995d4d48557e" providerId="ADAL" clId="{46849BC3-4ED1-4F23-BBD8-44E2840BBA72}" dt="2025-12-16T10:53:03.681" v="5479" actId="1076"/>
          <ac:picMkLst>
            <pc:docMk/>
            <pc:sldMk cId="828648031" sldId="708"/>
            <ac:picMk id="6" creationId="{B6CDD08C-E946-D4EC-6591-F13ED555ABC2}"/>
          </ac:picMkLst>
        </pc:picChg>
        <pc:picChg chg="mod">
          <ac:chgData name="Rui Sousa" userId="285bb50d-01dc-4ac6-9db4-995d4d48557e" providerId="ADAL" clId="{46849BC3-4ED1-4F23-BBD8-44E2840BBA72}" dt="2025-12-16T10:53:13.716" v="5481" actId="571"/>
          <ac:picMkLst>
            <pc:docMk/>
            <pc:sldMk cId="828648031" sldId="708"/>
            <ac:picMk id="16" creationId="{830FA169-CCD9-2FEC-3817-B88478B7782A}"/>
          </ac:picMkLst>
        </pc:picChg>
      </pc:sldChg>
      <pc:sldChg chg="modSp del mod ord">
        <pc:chgData name="Rui Sousa" userId="285bb50d-01dc-4ac6-9db4-995d4d48557e" providerId="ADAL" clId="{46849BC3-4ED1-4F23-BBD8-44E2840BBA72}" dt="2025-12-15T12:18:21.574" v="2711" actId="47"/>
        <pc:sldMkLst>
          <pc:docMk/>
          <pc:sldMk cId="2957302504" sldId="709"/>
        </pc:sldMkLst>
        <pc:spChg chg="mod">
          <ac:chgData name="Rui Sousa" userId="285bb50d-01dc-4ac6-9db4-995d4d48557e" providerId="ADAL" clId="{46849BC3-4ED1-4F23-BBD8-44E2840BBA72}" dt="2025-12-15T12:00:32.236" v="2534" actId="790"/>
          <ac:spMkLst>
            <pc:docMk/>
            <pc:sldMk cId="2957302504" sldId="709"/>
            <ac:spMk id="2" creationId="{44F8AA6F-5F64-4FE3-A0B2-15C7D95C0953}"/>
          </ac:spMkLst>
        </pc:spChg>
        <pc:spChg chg="mod">
          <ac:chgData name="Rui Sousa" userId="285bb50d-01dc-4ac6-9db4-995d4d48557e" providerId="ADAL" clId="{46849BC3-4ED1-4F23-BBD8-44E2840BBA72}" dt="2025-12-15T12:16:35.603" v="2683" actId="1076"/>
          <ac:spMkLst>
            <pc:docMk/>
            <pc:sldMk cId="2957302504" sldId="709"/>
            <ac:spMk id="4" creationId="{EE2840E8-31BF-BFF8-844C-2BAEA948D694}"/>
          </ac:spMkLst>
        </pc:spChg>
        <pc:spChg chg="mod">
          <ac:chgData name="Rui Sousa" userId="285bb50d-01dc-4ac6-9db4-995d4d48557e" providerId="ADAL" clId="{46849BC3-4ED1-4F23-BBD8-44E2840BBA72}" dt="2025-12-15T12:00:32.236" v="2534" actId="790"/>
          <ac:spMkLst>
            <pc:docMk/>
            <pc:sldMk cId="2957302504" sldId="709"/>
            <ac:spMk id="7" creationId="{65D88164-77DE-1AF6-2629-3DE74D629FDB}"/>
          </ac:spMkLst>
        </pc:spChg>
        <pc:spChg chg="mod">
          <ac:chgData name="Rui Sousa" userId="285bb50d-01dc-4ac6-9db4-995d4d48557e" providerId="ADAL" clId="{46849BC3-4ED1-4F23-BBD8-44E2840BBA72}" dt="2025-12-15T12:00:32.236" v="2534" actId="790"/>
          <ac:spMkLst>
            <pc:docMk/>
            <pc:sldMk cId="2957302504" sldId="709"/>
            <ac:spMk id="8" creationId="{4CAC0795-1E99-7D0C-C451-0F573001B524}"/>
          </ac:spMkLst>
        </pc:spChg>
        <pc:spChg chg="mod">
          <ac:chgData name="Rui Sousa" userId="285bb50d-01dc-4ac6-9db4-995d4d48557e" providerId="ADAL" clId="{46849BC3-4ED1-4F23-BBD8-44E2840BBA72}" dt="2025-12-15T12:00:32.236" v="2534" actId="790"/>
          <ac:spMkLst>
            <pc:docMk/>
            <pc:sldMk cId="2957302504" sldId="709"/>
            <ac:spMk id="12" creationId="{4636614B-4EC7-4CA2-8FA8-947AD03203A0}"/>
          </ac:spMkLst>
        </pc:spChg>
        <pc:picChg chg="mod">
          <ac:chgData name="Rui Sousa" userId="285bb50d-01dc-4ac6-9db4-995d4d48557e" providerId="ADAL" clId="{46849BC3-4ED1-4F23-BBD8-44E2840BBA72}" dt="2025-12-15T11:58:36.148" v="2459" actId="14100"/>
          <ac:picMkLst>
            <pc:docMk/>
            <pc:sldMk cId="2957302504" sldId="709"/>
            <ac:picMk id="5" creationId="{8FA6309C-41BE-4F40-2152-06588DE71E2C}"/>
          </ac:picMkLst>
        </pc:picChg>
      </pc:sldChg>
      <pc:sldChg chg="addSp delSp modSp add del mod modClrScheme chgLayout">
        <pc:chgData name="Rui Sousa" userId="285bb50d-01dc-4ac6-9db4-995d4d48557e" providerId="ADAL" clId="{46849BC3-4ED1-4F23-BBD8-44E2840BBA72}" dt="2025-12-16T11:55:46.807" v="5620" actId="14100"/>
        <pc:sldMkLst>
          <pc:docMk/>
          <pc:sldMk cId="3835412343" sldId="725"/>
        </pc:sldMkLst>
        <pc:spChg chg="add del mod">
          <ac:chgData name="Rui Sousa" userId="285bb50d-01dc-4ac6-9db4-995d4d48557e" providerId="ADAL" clId="{46849BC3-4ED1-4F23-BBD8-44E2840BBA72}" dt="2025-12-15T20:30:10.195" v="5118"/>
          <ac:spMkLst>
            <pc:docMk/>
            <pc:sldMk cId="3835412343" sldId="725"/>
            <ac:spMk id="2" creationId="{25AAE0DA-7142-E3A3-8065-7AC5ACC50A7F}"/>
          </ac:spMkLst>
        </pc:spChg>
        <pc:spChg chg="add mod">
          <ac:chgData name="Rui Sousa" userId="285bb50d-01dc-4ac6-9db4-995d4d48557e" providerId="ADAL" clId="{46849BC3-4ED1-4F23-BBD8-44E2840BBA72}" dt="2025-12-16T11:55:15.712" v="5613" actId="1076"/>
          <ac:spMkLst>
            <pc:docMk/>
            <pc:sldMk cId="3835412343" sldId="725"/>
            <ac:spMk id="2" creationId="{5B81E117-F2D5-E481-2A25-B56F1440B3B2}"/>
          </ac:spMkLst>
        </pc:spChg>
        <pc:spChg chg="add del mod">
          <ac:chgData name="Rui Sousa" userId="285bb50d-01dc-4ac6-9db4-995d4d48557e" providerId="ADAL" clId="{46849BC3-4ED1-4F23-BBD8-44E2840BBA72}" dt="2025-12-15T20:34:15.957" v="5132"/>
          <ac:spMkLst>
            <pc:docMk/>
            <pc:sldMk cId="3835412343" sldId="725"/>
            <ac:spMk id="3" creationId="{4D0228A6-6312-E52B-922A-7B0428DC070D}"/>
          </ac:spMkLst>
        </pc:spChg>
        <pc:spChg chg="add mod">
          <ac:chgData name="Rui Sousa" userId="285bb50d-01dc-4ac6-9db4-995d4d48557e" providerId="ADAL" clId="{46849BC3-4ED1-4F23-BBD8-44E2840BBA72}" dt="2025-12-16T11:55:23.241" v="5616" actId="14100"/>
          <ac:spMkLst>
            <pc:docMk/>
            <pc:sldMk cId="3835412343" sldId="725"/>
            <ac:spMk id="3" creationId="{CA05340A-BC99-7F84-F872-6A58A2996815}"/>
          </ac:spMkLst>
        </pc:spChg>
        <pc:spChg chg="add mod">
          <ac:chgData name="Rui Sousa" userId="285bb50d-01dc-4ac6-9db4-995d4d48557e" providerId="ADAL" clId="{46849BC3-4ED1-4F23-BBD8-44E2840BBA72}" dt="2025-12-16T11:55:46.807" v="5620" actId="14100"/>
          <ac:spMkLst>
            <pc:docMk/>
            <pc:sldMk cId="3835412343" sldId="725"/>
            <ac:spMk id="5" creationId="{2DC84B1B-A538-B635-B1A6-BEA92BF4C4D7}"/>
          </ac:spMkLst>
        </pc:spChg>
        <pc:spChg chg="add del mod ord">
          <ac:chgData name="Rui Sousa" userId="285bb50d-01dc-4ac6-9db4-995d4d48557e" providerId="ADAL" clId="{46849BC3-4ED1-4F23-BBD8-44E2840BBA72}" dt="2025-12-15T20:36:14.662" v="5257" actId="478"/>
          <ac:spMkLst>
            <pc:docMk/>
            <pc:sldMk cId="3835412343" sldId="725"/>
            <ac:spMk id="5" creationId="{D8E5F673-B536-F946-DF7B-6B20DF5A6702}"/>
          </ac:spMkLst>
        </pc:spChg>
        <pc:spChg chg="mod ord">
          <ac:chgData name="Rui Sousa" userId="285bb50d-01dc-4ac6-9db4-995d4d48557e" providerId="ADAL" clId="{46849BC3-4ED1-4F23-BBD8-44E2840BBA72}" dt="2025-12-16T11:54:06.004" v="5586" actId="120"/>
          <ac:spMkLst>
            <pc:docMk/>
            <pc:sldMk cId="3835412343" sldId="725"/>
            <ac:spMk id="12" creationId="{4636614B-4EC7-4CA2-8FA8-947AD03203A0}"/>
          </ac:spMkLst>
        </pc:spChg>
        <pc:picChg chg="mod">
          <ac:chgData name="Rui Sousa" userId="285bb50d-01dc-4ac6-9db4-995d4d48557e" providerId="ADAL" clId="{46849BC3-4ED1-4F23-BBD8-44E2840BBA72}" dt="2025-12-15T20:35:52.122" v="5251" actId="1076"/>
          <ac:picMkLst>
            <pc:docMk/>
            <pc:sldMk cId="3835412343" sldId="725"/>
            <ac:picMk id="4" creationId="{6C470DC9-C3A9-4FB7-9340-8F3571FD0199}"/>
          </ac:picMkLst>
        </pc:picChg>
      </pc:sldChg>
      <pc:sldChg chg="addSp delSp modSp mod modClrScheme chgLayout">
        <pc:chgData name="Rui Sousa" userId="285bb50d-01dc-4ac6-9db4-995d4d48557e" providerId="ADAL" clId="{46849BC3-4ED1-4F23-BBD8-44E2840BBA72}" dt="2025-12-15T20:41:25.814" v="5279" actId="1076"/>
        <pc:sldMkLst>
          <pc:docMk/>
          <pc:sldMk cId="3983706776" sldId="726"/>
        </pc:sldMkLst>
        <pc:spChg chg="mod ord">
          <ac:chgData name="Rui Sousa" userId="285bb50d-01dc-4ac6-9db4-995d4d48557e" providerId="ADAL" clId="{46849BC3-4ED1-4F23-BBD8-44E2840BBA72}" dt="2025-12-15T20:35:58.766" v="5253" actId="27636"/>
          <ac:spMkLst>
            <pc:docMk/>
            <pc:sldMk cId="3983706776" sldId="726"/>
            <ac:spMk id="2" creationId="{88DC3D78-5D6F-CD7E-D3A9-F21FCBC2143D}"/>
          </ac:spMkLst>
        </pc:spChg>
        <pc:spChg chg="mod">
          <ac:chgData name="Rui Sousa" userId="285bb50d-01dc-4ac6-9db4-995d4d48557e" providerId="ADAL" clId="{46849BC3-4ED1-4F23-BBD8-44E2840BBA72}" dt="2025-12-15T20:40:59.745" v="5274" actId="1076"/>
          <ac:spMkLst>
            <pc:docMk/>
            <pc:sldMk cId="3983706776" sldId="726"/>
            <ac:spMk id="3" creationId="{4FCA1201-49B6-171D-0E0C-F70B8497E46D}"/>
          </ac:spMkLst>
        </pc:spChg>
        <pc:spChg chg="del mod">
          <ac:chgData name="Rui Sousa" userId="285bb50d-01dc-4ac6-9db4-995d4d48557e" providerId="ADAL" clId="{46849BC3-4ED1-4F23-BBD8-44E2840BBA72}" dt="2025-12-15T20:28:34.369" v="5100" actId="478"/>
          <ac:spMkLst>
            <pc:docMk/>
            <pc:sldMk cId="3983706776" sldId="726"/>
            <ac:spMk id="5" creationId="{064FA7CA-6B86-2BF2-3794-0F2985AB83D9}"/>
          </ac:spMkLst>
        </pc:spChg>
        <pc:spChg chg="del mod">
          <ac:chgData name="Rui Sousa" userId="285bb50d-01dc-4ac6-9db4-995d4d48557e" providerId="ADAL" clId="{46849BC3-4ED1-4F23-BBD8-44E2840BBA72}" dt="2025-12-15T20:28:33.391" v="5099" actId="478"/>
          <ac:spMkLst>
            <pc:docMk/>
            <pc:sldMk cId="3983706776" sldId="726"/>
            <ac:spMk id="6" creationId="{A14C4466-D0E9-283A-0526-5CD5BBCC06ED}"/>
          </ac:spMkLst>
        </pc:spChg>
        <pc:spChg chg="del mod">
          <ac:chgData name="Rui Sousa" userId="285bb50d-01dc-4ac6-9db4-995d4d48557e" providerId="ADAL" clId="{46849BC3-4ED1-4F23-BBD8-44E2840BBA72}" dt="2025-12-15T20:28:42.661" v="5104" actId="478"/>
          <ac:spMkLst>
            <pc:docMk/>
            <pc:sldMk cId="3983706776" sldId="726"/>
            <ac:spMk id="7" creationId="{B1BD2086-B275-FE6F-55E4-067E7FBD0ABB}"/>
          </ac:spMkLst>
        </pc:spChg>
        <pc:spChg chg="mod">
          <ac:chgData name="Rui Sousa" userId="285bb50d-01dc-4ac6-9db4-995d4d48557e" providerId="ADAL" clId="{46849BC3-4ED1-4F23-BBD8-44E2840BBA72}" dt="2025-12-15T20:40:55.641" v="5273" actId="164"/>
          <ac:spMkLst>
            <pc:docMk/>
            <pc:sldMk cId="3983706776" sldId="726"/>
            <ac:spMk id="8" creationId="{77589F56-3585-1FAB-8419-BF8C8D78DA78}"/>
          </ac:spMkLst>
        </pc:spChg>
        <pc:spChg chg="add mod ord">
          <ac:chgData name="Rui Sousa" userId="285bb50d-01dc-4ac6-9db4-995d4d48557e" providerId="ADAL" clId="{46849BC3-4ED1-4F23-BBD8-44E2840BBA72}" dt="2025-12-15T20:40:59.745" v="5274" actId="1076"/>
          <ac:spMkLst>
            <pc:docMk/>
            <pc:sldMk cId="3983706776" sldId="726"/>
            <ac:spMk id="10" creationId="{620C04F5-4672-FBDB-56E4-6872B33D5664}"/>
          </ac:spMkLst>
        </pc:spChg>
        <pc:spChg chg="add mod">
          <ac:chgData name="Rui Sousa" userId="285bb50d-01dc-4ac6-9db4-995d4d48557e" providerId="ADAL" clId="{46849BC3-4ED1-4F23-BBD8-44E2840BBA72}" dt="2025-12-15T20:40:59.745" v="5274" actId="1076"/>
          <ac:spMkLst>
            <pc:docMk/>
            <pc:sldMk cId="3983706776" sldId="726"/>
            <ac:spMk id="13" creationId="{6D240105-6251-EF72-8E9A-E48B46CF9174}"/>
          </ac:spMkLst>
        </pc:spChg>
        <pc:spChg chg="add del mod">
          <ac:chgData name="Rui Sousa" userId="285bb50d-01dc-4ac6-9db4-995d4d48557e" providerId="ADAL" clId="{46849BC3-4ED1-4F23-BBD8-44E2840BBA72}" dt="2025-12-15T20:29:00.101" v="5108" actId="478"/>
          <ac:spMkLst>
            <pc:docMk/>
            <pc:sldMk cId="3983706776" sldId="726"/>
            <ac:spMk id="15" creationId="{9E59A643-E409-3F30-AFD7-768AF0AD5DB0}"/>
          </ac:spMkLst>
        </pc:spChg>
        <pc:spChg chg="add del mod">
          <ac:chgData name="Rui Sousa" userId="285bb50d-01dc-4ac6-9db4-995d4d48557e" providerId="ADAL" clId="{46849BC3-4ED1-4F23-BBD8-44E2840BBA72}" dt="2025-12-15T20:28:59.437" v="5107" actId="478"/>
          <ac:spMkLst>
            <pc:docMk/>
            <pc:sldMk cId="3983706776" sldId="726"/>
            <ac:spMk id="16" creationId="{6814B5AA-445A-DA7E-62E0-73A0817FD3FF}"/>
          </ac:spMkLst>
        </pc:spChg>
        <pc:spChg chg="mod">
          <ac:chgData name="Rui Sousa" userId="285bb50d-01dc-4ac6-9db4-995d4d48557e" providerId="ADAL" clId="{46849BC3-4ED1-4F23-BBD8-44E2840BBA72}" dt="2025-12-15T20:40:59.745" v="5274" actId="1076"/>
          <ac:spMkLst>
            <pc:docMk/>
            <pc:sldMk cId="3983706776" sldId="726"/>
            <ac:spMk id="18" creationId="{F810AB7C-759D-9A41-7307-927B78C2A142}"/>
          </ac:spMkLst>
        </pc:spChg>
        <pc:spChg chg="mod">
          <ac:chgData name="Rui Sousa" userId="285bb50d-01dc-4ac6-9db4-995d4d48557e" providerId="ADAL" clId="{46849BC3-4ED1-4F23-BBD8-44E2840BBA72}" dt="2025-12-15T20:40:59.745" v="5274" actId="1076"/>
          <ac:spMkLst>
            <pc:docMk/>
            <pc:sldMk cId="3983706776" sldId="726"/>
            <ac:spMk id="19" creationId="{F2ECA1D8-6726-068A-1C2C-5E62ABB3CAB5}"/>
          </ac:spMkLst>
        </pc:spChg>
        <pc:spChg chg="mod">
          <ac:chgData name="Rui Sousa" userId="285bb50d-01dc-4ac6-9db4-995d4d48557e" providerId="ADAL" clId="{46849BC3-4ED1-4F23-BBD8-44E2840BBA72}" dt="2025-12-15T20:40:59.745" v="5274" actId="1076"/>
          <ac:spMkLst>
            <pc:docMk/>
            <pc:sldMk cId="3983706776" sldId="726"/>
            <ac:spMk id="20" creationId="{9137D9B3-F08A-9C73-F60E-A39DC935A50A}"/>
          </ac:spMkLst>
        </pc:spChg>
        <pc:spChg chg="mod">
          <ac:chgData name="Rui Sousa" userId="285bb50d-01dc-4ac6-9db4-995d4d48557e" providerId="ADAL" clId="{46849BC3-4ED1-4F23-BBD8-44E2840BBA72}" dt="2025-12-15T20:30:53.062" v="5123" actId="790"/>
          <ac:spMkLst>
            <pc:docMk/>
            <pc:sldMk cId="3983706776" sldId="726"/>
            <ac:spMk id="21" creationId="{5393671E-97CC-9E10-DBBE-AF5B41A59B4E}"/>
          </ac:spMkLst>
        </pc:spChg>
        <pc:spChg chg="mod">
          <ac:chgData name="Rui Sousa" userId="285bb50d-01dc-4ac6-9db4-995d4d48557e" providerId="ADAL" clId="{46849BC3-4ED1-4F23-BBD8-44E2840BBA72}" dt="2025-12-15T20:40:59.745" v="5274" actId="1076"/>
          <ac:spMkLst>
            <pc:docMk/>
            <pc:sldMk cId="3983706776" sldId="726"/>
            <ac:spMk id="22" creationId="{7824BA1D-B7B3-CF76-E483-0A4008F195AF}"/>
          </ac:spMkLst>
        </pc:spChg>
        <pc:spChg chg="mod">
          <ac:chgData name="Rui Sousa" userId="285bb50d-01dc-4ac6-9db4-995d4d48557e" providerId="ADAL" clId="{46849BC3-4ED1-4F23-BBD8-44E2840BBA72}" dt="2025-12-15T20:40:59.745" v="5274" actId="1076"/>
          <ac:spMkLst>
            <pc:docMk/>
            <pc:sldMk cId="3983706776" sldId="726"/>
            <ac:spMk id="23" creationId="{359EC996-B5B6-4B30-1348-031F3C916CD7}"/>
          </ac:spMkLst>
        </pc:spChg>
        <pc:spChg chg="mod">
          <ac:chgData name="Rui Sousa" userId="285bb50d-01dc-4ac6-9db4-995d4d48557e" providerId="ADAL" clId="{46849BC3-4ED1-4F23-BBD8-44E2840BBA72}" dt="2025-12-15T20:40:59.745" v="5274" actId="1076"/>
          <ac:spMkLst>
            <pc:docMk/>
            <pc:sldMk cId="3983706776" sldId="726"/>
            <ac:spMk id="24" creationId="{9B388BDD-C3EB-4681-CE53-DF8F6D6728C4}"/>
          </ac:spMkLst>
        </pc:spChg>
        <pc:spChg chg="mod">
          <ac:chgData name="Rui Sousa" userId="285bb50d-01dc-4ac6-9db4-995d4d48557e" providerId="ADAL" clId="{46849BC3-4ED1-4F23-BBD8-44E2840BBA72}" dt="2025-12-15T20:40:59.745" v="5274" actId="1076"/>
          <ac:spMkLst>
            <pc:docMk/>
            <pc:sldMk cId="3983706776" sldId="726"/>
            <ac:spMk id="25" creationId="{C1A86B14-473D-B4F2-11A6-3F7E1DC7CD07}"/>
          </ac:spMkLst>
        </pc:spChg>
        <pc:spChg chg="mod">
          <ac:chgData name="Rui Sousa" userId="285bb50d-01dc-4ac6-9db4-995d4d48557e" providerId="ADAL" clId="{46849BC3-4ED1-4F23-BBD8-44E2840BBA72}" dt="2025-12-15T20:30:53.062" v="5123" actId="790"/>
          <ac:spMkLst>
            <pc:docMk/>
            <pc:sldMk cId="3983706776" sldId="726"/>
            <ac:spMk id="26" creationId="{ED658C38-CB75-D226-E756-D3860DEA4C2B}"/>
          </ac:spMkLst>
        </pc:spChg>
        <pc:spChg chg="add del mod ord">
          <ac:chgData name="Rui Sousa" userId="285bb50d-01dc-4ac6-9db4-995d4d48557e" providerId="ADAL" clId="{46849BC3-4ED1-4F23-BBD8-44E2840BBA72}" dt="2025-12-15T20:36:02.318" v="5254" actId="478"/>
          <ac:spMkLst>
            <pc:docMk/>
            <pc:sldMk cId="3983706776" sldId="726"/>
            <ac:spMk id="28" creationId="{377E1EC2-3852-14A5-3E93-879242CF7CA5}"/>
          </ac:spMkLst>
        </pc:spChg>
        <pc:spChg chg="add">
          <ac:chgData name="Rui Sousa" userId="285bb50d-01dc-4ac6-9db4-995d4d48557e" providerId="ADAL" clId="{46849BC3-4ED1-4F23-BBD8-44E2840BBA72}" dt="2025-12-15T20:36:32.560" v="5258"/>
          <ac:spMkLst>
            <pc:docMk/>
            <pc:sldMk cId="3983706776" sldId="726"/>
            <ac:spMk id="29" creationId="{00C15311-5B25-03C3-1ED6-70E4ABE24A04}"/>
          </ac:spMkLst>
        </pc:spChg>
        <pc:grpChg chg="mod">
          <ac:chgData name="Rui Sousa" userId="285bb50d-01dc-4ac6-9db4-995d4d48557e" providerId="ADAL" clId="{46849BC3-4ED1-4F23-BBD8-44E2840BBA72}" dt="2025-12-15T20:40:49.696" v="5270" actId="164"/>
          <ac:grpSpMkLst>
            <pc:docMk/>
            <pc:sldMk cId="3983706776" sldId="726"/>
            <ac:grpSpMk id="17" creationId="{BC95E9B9-538A-8693-697A-6F9A6190B431}"/>
          </ac:grpSpMkLst>
        </pc:grpChg>
        <pc:grpChg chg="add mod">
          <ac:chgData name="Rui Sousa" userId="285bb50d-01dc-4ac6-9db4-995d4d48557e" providerId="ADAL" clId="{46849BC3-4ED1-4F23-BBD8-44E2840BBA72}" dt="2025-12-15T20:40:55.641" v="5273" actId="164"/>
          <ac:grpSpMkLst>
            <pc:docMk/>
            <pc:sldMk cId="3983706776" sldId="726"/>
            <ac:grpSpMk id="32" creationId="{5F880879-68DD-F450-51AF-DB78B3954C8C}"/>
          </ac:grpSpMkLst>
        </pc:grpChg>
        <pc:grpChg chg="add mod">
          <ac:chgData name="Rui Sousa" userId="285bb50d-01dc-4ac6-9db4-995d4d48557e" providerId="ADAL" clId="{46849BC3-4ED1-4F23-BBD8-44E2840BBA72}" dt="2025-12-15T20:40:55.641" v="5273" actId="164"/>
          <ac:grpSpMkLst>
            <pc:docMk/>
            <pc:sldMk cId="3983706776" sldId="726"/>
            <ac:grpSpMk id="33" creationId="{41940431-AB84-5E9F-4DEF-86B3E857BE7B}"/>
          </ac:grpSpMkLst>
        </pc:grpChg>
        <pc:picChg chg="mod ord">
          <ac:chgData name="Rui Sousa" userId="285bb50d-01dc-4ac6-9db4-995d4d48557e" providerId="ADAL" clId="{46849BC3-4ED1-4F23-BBD8-44E2840BBA72}" dt="2025-12-15T20:35:58.739" v="5252" actId="700"/>
          <ac:picMkLst>
            <pc:docMk/>
            <pc:sldMk cId="3983706776" sldId="726"/>
            <ac:picMk id="4" creationId="{8A1FD5E4-AB2A-140E-7FCF-7A287F3295D4}"/>
          </ac:picMkLst>
        </pc:picChg>
        <pc:picChg chg="add del mod">
          <ac:chgData name="Rui Sousa" userId="285bb50d-01dc-4ac6-9db4-995d4d48557e" providerId="ADAL" clId="{46849BC3-4ED1-4F23-BBD8-44E2840BBA72}" dt="2025-12-15T20:35:41.193" v="5247" actId="21"/>
          <ac:picMkLst>
            <pc:docMk/>
            <pc:sldMk cId="3983706776" sldId="726"/>
            <ac:picMk id="27" creationId="{A4366A03-777B-FED4-7B4B-6DC0057ECDFD}"/>
          </ac:picMkLst>
        </pc:picChg>
        <pc:picChg chg="add mod">
          <ac:chgData name="Rui Sousa" userId="285bb50d-01dc-4ac6-9db4-995d4d48557e" providerId="ADAL" clId="{46849BC3-4ED1-4F23-BBD8-44E2840BBA72}" dt="2025-12-15T20:41:25.814" v="5279" actId="1076"/>
          <ac:picMkLst>
            <pc:docMk/>
            <pc:sldMk cId="3983706776" sldId="726"/>
            <ac:picMk id="31" creationId="{4F6207CB-E4FD-EA95-E95E-4FC28CBD89C9}"/>
          </ac:picMkLst>
        </pc:picChg>
        <pc:cxnChg chg="del mod">
          <ac:chgData name="Rui Sousa" userId="285bb50d-01dc-4ac6-9db4-995d4d48557e" providerId="ADAL" clId="{46849BC3-4ED1-4F23-BBD8-44E2840BBA72}" dt="2025-12-15T20:28:41.174" v="5103" actId="478"/>
          <ac:cxnSpMkLst>
            <pc:docMk/>
            <pc:sldMk cId="3983706776" sldId="726"/>
            <ac:cxnSpMk id="9" creationId="{A197448C-A6A4-4E30-6E9E-78362CEB12B9}"/>
          </ac:cxnSpMkLst>
        </pc:cxnChg>
        <pc:cxnChg chg="del mod">
          <ac:chgData name="Rui Sousa" userId="285bb50d-01dc-4ac6-9db4-995d4d48557e" providerId="ADAL" clId="{46849BC3-4ED1-4F23-BBD8-44E2840BBA72}" dt="2025-12-15T20:28:35.041" v="5101" actId="478"/>
          <ac:cxnSpMkLst>
            <pc:docMk/>
            <pc:sldMk cId="3983706776" sldId="726"/>
            <ac:cxnSpMk id="11" creationId="{E6A3B71E-954D-73E8-8AE8-4E2F63BC97E1}"/>
          </ac:cxnSpMkLst>
        </pc:cxnChg>
        <pc:cxnChg chg="mod">
          <ac:chgData name="Rui Sousa" userId="285bb50d-01dc-4ac6-9db4-995d4d48557e" providerId="ADAL" clId="{46849BC3-4ED1-4F23-BBD8-44E2840BBA72}" dt="2025-12-15T20:40:49.696" v="5270" actId="164"/>
          <ac:cxnSpMkLst>
            <pc:docMk/>
            <pc:sldMk cId="3983706776" sldId="726"/>
            <ac:cxnSpMk id="12" creationId="{24C9261D-263F-B566-2B03-57A3306401B2}"/>
          </ac:cxnSpMkLst>
        </pc:cxnChg>
        <pc:cxnChg chg="del mod">
          <ac:chgData name="Rui Sousa" userId="285bb50d-01dc-4ac6-9db4-995d4d48557e" providerId="ADAL" clId="{46849BC3-4ED1-4F23-BBD8-44E2840BBA72}" dt="2025-12-15T20:29:01.334" v="5109" actId="478"/>
          <ac:cxnSpMkLst>
            <pc:docMk/>
            <pc:sldMk cId="3983706776" sldId="726"/>
            <ac:cxnSpMk id="14" creationId="{6DDDEFFC-A2C9-528B-C4DE-45818DEE287D}"/>
          </ac:cxnSpMkLst>
        </pc:cxnChg>
      </pc:sldChg>
      <pc:sldChg chg="modSp del mod ord">
        <pc:chgData name="Rui Sousa" userId="285bb50d-01dc-4ac6-9db4-995d4d48557e" providerId="ADAL" clId="{46849BC3-4ED1-4F23-BBD8-44E2840BBA72}" dt="2025-12-15T20:51:42.946" v="5319" actId="2696"/>
        <pc:sldMkLst>
          <pc:docMk/>
          <pc:sldMk cId="1761607981" sldId="727"/>
        </pc:sldMkLst>
        <pc:spChg chg="mod">
          <ac:chgData name="Rui Sousa" userId="285bb50d-01dc-4ac6-9db4-995d4d48557e" providerId="ADAL" clId="{46849BC3-4ED1-4F23-BBD8-44E2840BBA72}" dt="2025-12-15T20:30:53.062" v="5123" actId="790"/>
          <ac:spMkLst>
            <pc:docMk/>
            <pc:sldMk cId="1761607981" sldId="727"/>
            <ac:spMk id="2" creationId="{50FE0AB8-A522-C3DB-3F40-585A2DCCFE7A}"/>
          </ac:spMkLst>
        </pc:spChg>
      </pc:sldChg>
      <pc:sldChg chg="addSp delSp modSp mod modClrScheme chgLayout">
        <pc:chgData name="Rui Sousa" userId="285bb50d-01dc-4ac6-9db4-995d4d48557e" providerId="ADAL" clId="{46849BC3-4ED1-4F23-BBD8-44E2840BBA72}" dt="2025-12-16T10:59:07.642" v="5574" actId="1038"/>
        <pc:sldMkLst>
          <pc:docMk/>
          <pc:sldMk cId="1744153956" sldId="728"/>
        </pc:sldMkLst>
        <pc:spChg chg="mod">
          <ac:chgData name="Rui Sousa" userId="285bb50d-01dc-4ac6-9db4-995d4d48557e" providerId="ADAL" clId="{46849BC3-4ED1-4F23-BBD8-44E2840BBA72}" dt="2025-12-16T09:55:53.149" v="5360" actId="14100"/>
          <ac:spMkLst>
            <pc:docMk/>
            <pc:sldMk cId="1744153956" sldId="728"/>
            <ac:spMk id="3" creationId="{F9B82716-12ED-2503-680D-0CD680B196AB}"/>
          </ac:spMkLst>
        </pc:spChg>
        <pc:spChg chg="mod">
          <ac:chgData name="Rui Sousa" userId="285bb50d-01dc-4ac6-9db4-995d4d48557e" providerId="ADAL" clId="{46849BC3-4ED1-4F23-BBD8-44E2840BBA72}" dt="2025-12-16T09:56:21.476" v="5366" actId="20577"/>
          <ac:spMkLst>
            <pc:docMk/>
            <pc:sldMk cId="1744153956" sldId="728"/>
            <ac:spMk id="5" creationId="{1E5A6126-1C9B-50FE-E874-E55C9BBE988A}"/>
          </ac:spMkLst>
        </pc:spChg>
        <pc:spChg chg="mod">
          <ac:chgData name="Rui Sousa" userId="285bb50d-01dc-4ac6-9db4-995d4d48557e" providerId="ADAL" clId="{46849BC3-4ED1-4F23-BBD8-44E2840BBA72}" dt="2025-12-16T09:56:12.123" v="5362" actId="21"/>
          <ac:spMkLst>
            <pc:docMk/>
            <pc:sldMk cId="1744153956" sldId="728"/>
            <ac:spMk id="7" creationId="{D2815BAB-72D2-28FA-B3F8-E51F9FEB3632}"/>
          </ac:spMkLst>
        </pc:spChg>
        <pc:spChg chg="del mod topLvl">
          <ac:chgData name="Rui Sousa" userId="285bb50d-01dc-4ac6-9db4-995d4d48557e" providerId="ADAL" clId="{46849BC3-4ED1-4F23-BBD8-44E2840BBA72}" dt="2025-12-15T16:15:58.415" v="3039" actId="478"/>
          <ac:spMkLst>
            <pc:docMk/>
            <pc:sldMk cId="1744153956" sldId="728"/>
            <ac:spMk id="8" creationId="{4C087DEC-61CF-52B6-5931-15CE65824FFF}"/>
          </ac:spMkLst>
        </pc:spChg>
        <pc:spChg chg="mod">
          <ac:chgData name="Rui Sousa" userId="285bb50d-01dc-4ac6-9db4-995d4d48557e" providerId="ADAL" clId="{46849BC3-4ED1-4F23-BBD8-44E2840BBA72}" dt="2025-12-16T09:55:42.215" v="5359"/>
          <ac:spMkLst>
            <pc:docMk/>
            <pc:sldMk cId="1744153956" sldId="728"/>
            <ac:spMk id="8" creationId="{822C12CC-C7DF-89E5-6564-0FC86F2FC444}"/>
          </ac:spMkLst>
        </pc:spChg>
        <pc:spChg chg="del mod">
          <ac:chgData name="Rui Sousa" userId="285bb50d-01dc-4ac6-9db4-995d4d48557e" providerId="ADAL" clId="{46849BC3-4ED1-4F23-BBD8-44E2840BBA72}" dt="2025-12-15T16:14:12.552" v="2979" actId="478"/>
          <ac:spMkLst>
            <pc:docMk/>
            <pc:sldMk cId="1744153956" sldId="728"/>
            <ac:spMk id="9" creationId="{86351CBB-2352-8DE9-FCBA-01F4BC80EA3D}"/>
          </ac:spMkLst>
        </pc:spChg>
        <pc:spChg chg="del mod topLvl">
          <ac:chgData name="Rui Sousa" userId="285bb50d-01dc-4ac6-9db4-995d4d48557e" providerId="ADAL" clId="{46849BC3-4ED1-4F23-BBD8-44E2840BBA72}" dt="2025-12-15T16:16:43.771" v="3050" actId="478"/>
          <ac:spMkLst>
            <pc:docMk/>
            <pc:sldMk cId="1744153956" sldId="728"/>
            <ac:spMk id="12" creationId="{57BCB040-98F3-8DDD-1D4F-C6949A572B86}"/>
          </ac:spMkLst>
        </pc:spChg>
        <pc:spChg chg="del mod">
          <ac:chgData name="Rui Sousa" userId="285bb50d-01dc-4ac6-9db4-995d4d48557e" providerId="ADAL" clId="{46849BC3-4ED1-4F23-BBD8-44E2840BBA72}" dt="2025-12-15T16:36:39.061" v="3494" actId="478"/>
          <ac:spMkLst>
            <pc:docMk/>
            <pc:sldMk cId="1744153956" sldId="728"/>
            <ac:spMk id="14" creationId="{C390EF3F-0C22-6434-E146-0FC5A1E5D769}"/>
          </ac:spMkLst>
        </pc:spChg>
        <pc:spChg chg="del mod topLvl">
          <ac:chgData name="Rui Sousa" userId="285bb50d-01dc-4ac6-9db4-995d4d48557e" providerId="ADAL" clId="{46849BC3-4ED1-4F23-BBD8-44E2840BBA72}" dt="2025-12-15T16:16:44.490" v="3051" actId="478"/>
          <ac:spMkLst>
            <pc:docMk/>
            <pc:sldMk cId="1744153956" sldId="728"/>
            <ac:spMk id="15" creationId="{4F86514C-CA68-DE57-48FC-16415AE4CC69}"/>
          </ac:spMkLst>
        </pc:spChg>
        <pc:spChg chg="del mod topLvl">
          <ac:chgData name="Rui Sousa" userId="285bb50d-01dc-4ac6-9db4-995d4d48557e" providerId="ADAL" clId="{46849BC3-4ED1-4F23-BBD8-44E2840BBA72}" dt="2025-12-15T16:15:56.367" v="3038" actId="478"/>
          <ac:spMkLst>
            <pc:docMk/>
            <pc:sldMk cId="1744153956" sldId="728"/>
            <ac:spMk id="16" creationId="{016BE728-8B3B-006D-0973-A7F0FC9CD7D0}"/>
          </ac:spMkLst>
        </pc:spChg>
        <pc:spChg chg="add mod ord">
          <ac:chgData name="Rui Sousa" userId="285bb50d-01dc-4ac6-9db4-995d4d48557e" providerId="ADAL" clId="{46849BC3-4ED1-4F23-BBD8-44E2840BBA72}" dt="2025-12-15T16:27:21.673" v="3403" actId="164"/>
          <ac:spMkLst>
            <pc:docMk/>
            <pc:sldMk cId="1744153956" sldId="728"/>
            <ac:spMk id="19" creationId="{C5C95278-9C1D-8B66-2A97-72DC6482E356}"/>
          </ac:spMkLst>
        </pc:spChg>
        <pc:spChg chg="add mod">
          <ac:chgData name="Rui Sousa" userId="285bb50d-01dc-4ac6-9db4-995d4d48557e" providerId="ADAL" clId="{46849BC3-4ED1-4F23-BBD8-44E2840BBA72}" dt="2025-12-16T10:58:24.856" v="5512" actId="14100"/>
          <ac:spMkLst>
            <pc:docMk/>
            <pc:sldMk cId="1744153956" sldId="728"/>
            <ac:spMk id="20" creationId="{D4DB7FE9-0C28-39CF-02C2-98D1A33B8449}"/>
          </ac:spMkLst>
        </pc:spChg>
        <pc:spChg chg="add mod">
          <ac:chgData name="Rui Sousa" userId="285bb50d-01dc-4ac6-9db4-995d4d48557e" providerId="ADAL" clId="{46849BC3-4ED1-4F23-BBD8-44E2840BBA72}" dt="2025-12-16T09:36:10.704" v="5329" actId="1036"/>
          <ac:spMkLst>
            <pc:docMk/>
            <pc:sldMk cId="1744153956" sldId="728"/>
            <ac:spMk id="21" creationId="{4711D1DE-A0FD-9AFD-C12F-65CA1A46CB29}"/>
          </ac:spMkLst>
        </pc:spChg>
        <pc:spChg chg="add mod">
          <ac:chgData name="Rui Sousa" userId="285bb50d-01dc-4ac6-9db4-995d4d48557e" providerId="ADAL" clId="{46849BC3-4ED1-4F23-BBD8-44E2840BBA72}" dt="2025-12-15T20:30:53.062" v="5123" actId="790"/>
          <ac:spMkLst>
            <pc:docMk/>
            <pc:sldMk cId="1744153956" sldId="728"/>
            <ac:spMk id="22" creationId="{14EEB173-37C0-894E-A7D9-D99A2F85FCB2}"/>
          </ac:spMkLst>
        </pc:spChg>
        <pc:spChg chg="add mod">
          <ac:chgData name="Rui Sousa" userId="285bb50d-01dc-4ac6-9db4-995d4d48557e" providerId="ADAL" clId="{46849BC3-4ED1-4F23-BBD8-44E2840BBA72}" dt="2025-12-15T20:30:53.062" v="5123" actId="790"/>
          <ac:spMkLst>
            <pc:docMk/>
            <pc:sldMk cId="1744153956" sldId="728"/>
            <ac:spMk id="27" creationId="{E2CA5864-3545-4B03-DA36-F433B78E6044}"/>
          </ac:spMkLst>
        </pc:spChg>
        <pc:spChg chg="add mod">
          <ac:chgData name="Rui Sousa" userId="285bb50d-01dc-4ac6-9db4-995d4d48557e" providerId="ADAL" clId="{46849BC3-4ED1-4F23-BBD8-44E2840BBA72}" dt="2025-12-16T10:57:30.555" v="5508" actId="20577"/>
          <ac:spMkLst>
            <pc:docMk/>
            <pc:sldMk cId="1744153956" sldId="728"/>
            <ac:spMk id="28" creationId="{2DC023FB-2C53-DEC5-2AC1-2739DC7FE087}"/>
          </ac:spMkLst>
        </pc:spChg>
        <pc:spChg chg="del mod">
          <ac:chgData name="Rui Sousa" userId="285bb50d-01dc-4ac6-9db4-995d4d48557e" providerId="ADAL" clId="{46849BC3-4ED1-4F23-BBD8-44E2840BBA72}" dt="2025-12-15T16:12:25.398" v="2967" actId="478"/>
          <ac:spMkLst>
            <pc:docMk/>
            <pc:sldMk cId="1744153956" sldId="728"/>
            <ac:spMk id="31" creationId="{AE9ABF2A-1F44-FED0-A570-F888CE0FEE66}"/>
          </ac:spMkLst>
        </pc:spChg>
        <pc:spChg chg="mod">
          <ac:chgData name="Rui Sousa" userId="285bb50d-01dc-4ac6-9db4-995d4d48557e" providerId="ADAL" clId="{46849BC3-4ED1-4F23-BBD8-44E2840BBA72}" dt="2025-12-16T10:58:43.277" v="5515" actId="14100"/>
          <ac:spMkLst>
            <pc:docMk/>
            <pc:sldMk cId="1744153956" sldId="728"/>
            <ac:spMk id="32" creationId="{0E6C102F-F6C8-1DD7-E0DE-11311D039E4B}"/>
          </ac:spMkLst>
        </pc:spChg>
        <pc:spChg chg="mod">
          <ac:chgData name="Rui Sousa" userId="285bb50d-01dc-4ac6-9db4-995d4d48557e" providerId="ADAL" clId="{46849BC3-4ED1-4F23-BBD8-44E2840BBA72}" dt="2025-12-15T20:30:53.062" v="5123" actId="790"/>
          <ac:spMkLst>
            <pc:docMk/>
            <pc:sldMk cId="1744153956" sldId="728"/>
            <ac:spMk id="33" creationId="{932355FD-F97A-0404-6403-17542674784D}"/>
          </ac:spMkLst>
        </pc:spChg>
        <pc:spChg chg="mod">
          <ac:chgData name="Rui Sousa" userId="285bb50d-01dc-4ac6-9db4-995d4d48557e" providerId="ADAL" clId="{46849BC3-4ED1-4F23-BBD8-44E2840BBA72}" dt="2025-12-16T10:57:15.848" v="5505" actId="1035"/>
          <ac:spMkLst>
            <pc:docMk/>
            <pc:sldMk cId="1744153956" sldId="728"/>
            <ac:spMk id="34" creationId="{369D1C81-81C7-7A0E-DB21-AA9A6AD69576}"/>
          </ac:spMkLst>
        </pc:spChg>
        <pc:spChg chg="del mod">
          <ac:chgData name="Rui Sousa" userId="285bb50d-01dc-4ac6-9db4-995d4d48557e" providerId="ADAL" clId="{46849BC3-4ED1-4F23-BBD8-44E2840BBA72}" dt="2025-12-16T10:56:57.329" v="5496" actId="478"/>
          <ac:spMkLst>
            <pc:docMk/>
            <pc:sldMk cId="1744153956" sldId="728"/>
            <ac:spMk id="36" creationId="{72C9F535-F029-C92D-1F4B-99504A1F3C97}"/>
          </ac:spMkLst>
        </pc:spChg>
        <pc:spChg chg="mod">
          <ac:chgData name="Rui Sousa" userId="285bb50d-01dc-4ac6-9db4-995d4d48557e" providerId="ADAL" clId="{46849BC3-4ED1-4F23-BBD8-44E2840BBA72}" dt="2025-12-15T20:30:53.062" v="5123" actId="790"/>
          <ac:spMkLst>
            <pc:docMk/>
            <pc:sldMk cId="1744153956" sldId="728"/>
            <ac:spMk id="39" creationId="{79E43E3F-EFAC-F33A-1978-F0D1D0458CB6}"/>
          </ac:spMkLst>
        </pc:spChg>
        <pc:spChg chg="mod">
          <ac:chgData name="Rui Sousa" userId="285bb50d-01dc-4ac6-9db4-995d4d48557e" providerId="ADAL" clId="{46849BC3-4ED1-4F23-BBD8-44E2840BBA72}" dt="2025-12-15T20:30:53.062" v="5123" actId="790"/>
          <ac:spMkLst>
            <pc:docMk/>
            <pc:sldMk cId="1744153956" sldId="728"/>
            <ac:spMk id="40" creationId="{8F2625C2-4E5B-0F78-3CCB-E6FC7B034B59}"/>
          </ac:spMkLst>
        </pc:spChg>
        <pc:spChg chg="add del mod">
          <ac:chgData name="Rui Sousa" userId="285bb50d-01dc-4ac6-9db4-995d4d48557e" providerId="ADAL" clId="{46849BC3-4ED1-4F23-BBD8-44E2840BBA72}" dt="2025-12-15T16:38:00.088" v="3513" actId="478"/>
          <ac:spMkLst>
            <pc:docMk/>
            <pc:sldMk cId="1744153956" sldId="728"/>
            <ac:spMk id="42" creationId="{B72E9CDB-1BDB-5690-2B6D-7E9319385A80}"/>
          </ac:spMkLst>
        </pc:spChg>
        <pc:spChg chg="add mod">
          <ac:chgData name="Rui Sousa" userId="285bb50d-01dc-4ac6-9db4-995d4d48557e" providerId="ADAL" clId="{46849BC3-4ED1-4F23-BBD8-44E2840BBA72}" dt="2025-12-15T16:37:57.286" v="3512"/>
          <ac:spMkLst>
            <pc:docMk/>
            <pc:sldMk cId="1744153956" sldId="728"/>
            <ac:spMk id="43" creationId="{2987DBAC-B23C-DA50-3859-73E1173CB42A}"/>
          </ac:spMkLst>
        </pc:spChg>
        <pc:spChg chg="add mod">
          <ac:chgData name="Rui Sousa" userId="285bb50d-01dc-4ac6-9db4-995d4d48557e" providerId="ADAL" clId="{46849BC3-4ED1-4F23-BBD8-44E2840BBA72}" dt="2025-12-15T16:37:56.946" v="3511"/>
          <ac:spMkLst>
            <pc:docMk/>
            <pc:sldMk cId="1744153956" sldId="728"/>
            <ac:spMk id="44" creationId="{58C4B8D7-D4B2-D398-0830-3D934435105F}"/>
          </ac:spMkLst>
        </pc:spChg>
        <pc:spChg chg="add del mod">
          <ac:chgData name="Rui Sousa" userId="285bb50d-01dc-4ac6-9db4-995d4d48557e" providerId="ADAL" clId="{46849BC3-4ED1-4F23-BBD8-44E2840BBA72}" dt="2025-12-15T16:38:02.491" v="3514" actId="478"/>
          <ac:spMkLst>
            <pc:docMk/>
            <pc:sldMk cId="1744153956" sldId="728"/>
            <ac:spMk id="46" creationId="{5B0BBD64-E6BF-A5DF-51D5-7AD5ED8A5214}"/>
          </ac:spMkLst>
        </pc:spChg>
        <pc:spChg chg="add del mod ord">
          <ac:chgData name="Rui Sousa" userId="285bb50d-01dc-4ac6-9db4-995d4d48557e" providerId="ADAL" clId="{46849BC3-4ED1-4F23-BBD8-44E2840BBA72}" dt="2025-12-15T16:38:10.342" v="3516" actId="700"/>
          <ac:spMkLst>
            <pc:docMk/>
            <pc:sldMk cId="1744153956" sldId="728"/>
            <ac:spMk id="47" creationId="{2B951F87-A48A-98D9-BE8A-B86D759F35D1}"/>
          </ac:spMkLst>
        </pc:spChg>
        <pc:spChg chg="add del mod ord">
          <ac:chgData name="Rui Sousa" userId="285bb50d-01dc-4ac6-9db4-995d4d48557e" providerId="ADAL" clId="{46849BC3-4ED1-4F23-BBD8-44E2840BBA72}" dt="2025-12-15T16:38:10.342" v="3516" actId="700"/>
          <ac:spMkLst>
            <pc:docMk/>
            <pc:sldMk cId="1744153956" sldId="728"/>
            <ac:spMk id="48" creationId="{118A785B-3764-44AF-E2EC-98994559D40D}"/>
          </ac:spMkLst>
        </pc:spChg>
        <pc:spChg chg="add mod ord">
          <ac:chgData name="Rui Sousa" userId="285bb50d-01dc-4ac6-9db4-995d4d48557e" providerId="ADAL" clId="{46849BC3-4ED1-4F23-BBD8-44E2840BBA72}" dt="2025-12-15T16:39:49.942" v="3584" actId="313"/>
          <ac:spMkLst>
            <pc:docMk/>
            <pc:sldMk cId="1744153956" sldId="728"/>
            <ac:spMk id="49" creationId="{DC585E4B-D99E-A71D-34DF-E450B25B0E58}"/>
          </ac:spMkLst>
        </pc:spChg>
        <pc:spChg chg="add del mod ord">
          <ac:chgData name="Rui Sousa" userId="285bb50d-01dc-4ac6-9db4-995d4d48557e" providerId="ADAL" clId="{46849BC3-4ED1-4F23-BBD8-44E2840BBA72}" dt="2025-12-15T16:39:53.276" v="3586" actId="478"/>
          <ac:spMkLst>
            <pc:docMk/>
            <pc:sldMk cId="1744153956" sldId="728"/>
            <ac:spMk id="50" creationId="{5F683215-99AF-6527-FDA8-2F6FA69BCF98}"/>
          </ac:spMkLst>
        </pc:spChg>
        <pc:spChg chg="add mod">
          <ac:chgData name="Rui Sousa" userId="285bb50d-01dc-4ac6-9db4-995d4d48557e" providerId="ADAL" clId="{46849BC3-4ED1-4F23-BBD8-44E2840BBA72}" dt="2025-12-15T16:42:34.485" v="3823" actId="20577"/>
          <ac:spMkLst>
            <pc:docMk/>
            <pc:sldMk cId="1744153956" sldId="728"/>
            <ac:spMk id="51" creationId="{2B6BE75B-94E7-90D7-9586-E20421CBD7D0}"/>
          </ac:spMkLst>
        </pc:spChg>
        <pc:spChg chg="add">
          <ac:chgData name="Rui Sousa" userId="285bb50d-01dc-4ac6-9db4-995d4d48557e" providerId="ADAL" clId="{46849BC3-4ED1-4F23-BBD8-44E2840BBA72}" dt="2025-12-15T16:42:52.140" v="3824"/>
          <ac:spMkLst>
            <pc:docMk/>
            <pc:sldMk cId="1744153956" sldId="728"/>
            <ac:spMk id="52" creationId="{94DA1C74-8271-B8C0-1C76-BCD454D60F09}"/>
          </ac:spMkLst>
        </pc:spChg>
        <pc:spChg chg="mod ord">
          <ac:chgData name="Rui Sousa" userId="285bb50d-01dc-4ac6-9db4-995d4d48557e" providerId="ADAL" clId="{46849BC3-4ED1-4F23-BBD8-44E2840BBA72}" dt="2025-12-15T20:30:53.062" v="5123" actId="790"/>
          <ac:spMkLst>
            <pc:docMk/>
            <pc:sldMk cId="1744153956" sldId="728"/>
            <ac:spMk id="32772" creationId="{078DA13B-2660-5D3A-DB0E-2C554EB48377}"/>
          </ac:spMkLst>
        </pc:spChg>
        <pc:grpChg chg="add mod">
          <ac:chgData name="Rui Sousa" userId="285bb50d-01dc-4ac6-9db4-995d4d48557e" providerId="ADAL" clId="{46849BC3-4ED1-4F23-BBD8-44E2840BBA72}" dt="2025-12-16T10:59:07.642" v="5574" actId="1038"/>
          <ac:grpSpMkLst>
            <pc:docMk/>
            <pc:sldMk cId="1744153956" sldId="728"/>
            <ac:grpSpMk id="2" creationId="{44284F92-4F07-AA0F-31A2-E9DC67F1BB3D}"/>
          </ac:grpSpMkLst>
        </pc:grpChg>
        <pc:grpChg chg="add mod">
          <ac:chgData name="Rui Sousa" userId="285bb50d-01dc-4ac6-9db4-995d4d48557e" providerId="ADAL" clId="{46849BC3-4ED1-4F23-BBD8-44E2840BBA72}" dt="2025-12-16T10:59:07.642" v="5574" actId="1038"/>
          <ac:grpSpMkLst>
            <pc:docMk/>
            <pc:sldMk cId="1744153956" sldId="728"/>
            <ac:grpSpMk id="29" creationId="{1E655BC0-A8AE-B97F-67B2-55AC78601FF9}"/>
          </ac:grpSpMkLst>
        </pc:grpChg>
        <pc:grpChg chg="add mod">
          <ac:chgData name="Rui Sousa" userId="285bb50d-01dc-4ac6-9db4-995d4d48557e" providerId="ADAL" clId="{46849BC3-4ED1-4F23-BBD8-44E2840BBA72}" dt="2025-12-16T10:59:07.642" v="5574" actId="1038"/>
          <ac:grpSpMkLst>
            <pc:docMk/>
            <pc:sldMk cId="1744153956" sldId="728"/>
            <ac:grpSpMk id="30" creationId="{AA51C06A-90A3-47BB-54E4-64A32DB5BD12}"/>
          </ac:grpSpMkLst>
        </pc:grpChg>
        <pc:grpChg chg="add mod">
          <ac:chgData name="Rui Sousa" userId="285bb50d-01dc-4ac6-9db4-995d4d48557e" providerId="ADAL" clId="{46849BC3-4ED1-4F23-BBD8-44E2840BBA72}" dt="2025-12-15T16:36:45.929" v="3507" actId="1038"/>
          <ac:grpSpMkLst>
            <pc:docMk/>
            <pc:sldMk cId="1744153956" sldId="728"/>
            <ac:grpSpMk id="37" creationId="{DADA19E5-BB4B-452E-BB1F-7656E9B9741C}"/>
          </ac:grpSpMkLst>
        </pc:grpChg>
        <pc:grpChg chg="add mod">
          <ac:chgData name="Rui Sousa" userId="285bb50d-01dc-4ac6-9db4-995d4d48557e" providerId="ADAL" clId="{46849BC3-4ED1-4F23-BBD8-44E2840BBA72}" dt="2025-12-15T16:36:45.929" v="3507" actId="1038"/>
          <ac:grpSpMkLst>
            <pc:docMk/>
            <pc:sldMk cId="1744153956" sldId="728"/>
            <ac:grpSpMk id="38" creationId="{412D5468-8836-A3E6-EE51-D985BF5707BA}"/>
          </ac:grpSpMkLst>
        </pc:grpChg>
        <pc:picChg chg="add mod ord modCrop">
          <ac:chgData name="Rui Sousa" userId="285bb50d-01dc-4ac6-9db4-995d4d48557e" providerId="ADAL" clId="{46849BC3-4ED1-4F23-BBD8-44E2840BBA72}" dt="2025-12-15T16:36:45.929" v="3507" actId="1038"/>
          <ac:picMkLst>
            <pc:docMk/>
            <pc:sldMk cId="1744153956" sldId="728"/>
            <ac:picMk id="4" creationId="{0DD56C17-8073-17AD-AD0D-722B4D0BCC4E}"/>
          </ac:picMkLst>
        </pc:picChg>
        <pc:picChg chg="add mod ord modCrop">
          <ac:chgData name="Rui Sousa" userId="285bb50d-01dc-4ac6-9db4-995d4d48557e" providerId="ADAL" clId="{46849BC3-4ED1-4F23-BBD8-44E2840BBA72}" dt="2025-12-16T10:58:21.097" v="5511" actId="1076"/>
          <ac:picMkLst>
            <pc:docMk/>
            <pc:sldMk cId="1744153956" sldId="728"/>
            <ac:picMk id="6" creationId="{0EC10F4F-0C26-D5CD-ECBF-EB37E1E1E1CD}"/>
          </ac:picMkLst>
        </pc:picChg>
        <pc:picChg chg="del mod">
          <ac:chgData name="Rui Sousa" userId="285bb50d-01dc-4ac6-9db4-995d4d48557e" providerId="ADAL" clId="{46849BC3-4ED1-4F23-BBD8-44E2840BBA72}" dt="2025-12-15T16:32:37.464" v="3467" actId="478"/>
          <ac:picMkLst>
            <pc:docMk/>
            <pc:sldMk cId="1744153956" sldId="728"/>
            <ac:picMk id="35" creationId="{12D29E87-0EA6-06ED-2E7C-CF1A77A8ECD8}"/>
          </ac:picMkLst>
        </pc:picChg>
        <pc:picChg chg="add mod">
          <ac:chgData name="Rui Sousa" userId="285bb50d-01dc-4ac6-9db4-995d4d48557e" providerId="ADAL" clId="{46849BC3-4ED1-4F23-BBD8-44E2840BBA72}" dt="2025-12-15T16:27:40.490" v="3409" actId="571"/>
          <ac:picMkLst>
            <pc:docMk/>
            <pc:sldMk cId="1744153956" sldId="728"/>
            <ac:picMk id="41" creationId="{EA7B2138-0848-98D6-2881-67DE8625A7BA}"/>
          </ac:picMkLst>
        </pc:picChg>
        <pc:picChg chg="add mod">
          <ac:chgData name="Rui Sousa" userId="285bb50d-01dc-4ac6-9db4-995d4d48557e" providerId="ADAL" clId="{46849BC3-4ED1-4F23-BBD8-44E2840BBA72}" dt="2025-12-15T16:45:48.770" v="3840" actId="1076"/>
          <ac:picMkLst>
            <pc:docMk/>
            <pc:sldMk cId="1744153956" sldId="728"/>
            <ac:picMk id="3076" creationId="{8220BFF9-0CCE-A059-6367-CE00E222E15F}"/>
          </ac:picMkLst>
        </pc:picChg>
        <pc:cxnChg chg="add del mod">
          <ac:chgData name="Rui Sousa" userId="285bb50d-01dc-4ac6-9db4-995d4d48557e" providerId="ADAL" clId="{46849BC3-4ED1-4F23-BBD8-44E2840BBA72}" dt="2025-12-15T16:15:12.567" v="3027" actId="478"/>
          <ac:cxnSpMkLst>
            <pc:docMk/>
            <pc:sldMk cId="1744153956" sldId="728"/>
            <ac:cxnSpMk id="10" creationId="{16C76306-E0CF-E9B7-9372-6ED2E2ADBF0C}"/>
          </ac:cxnSpMkLst>
        </pc:cxnChg>
        <pc:cxnChg chg="del mod">
          <ac:chgData name="Rui Sousa" userId="285bb50d-01dc-4ac6-9db4-995d4d48557e" providerId="ADAL" clId="{46849BC3-4ED1-4F23-BBD8-44E2840BBA72}" dt="2025-12-15T16:12:32.284" v="2969" actId="478"/>
          <ac:cxnSpMkLst>
            <pc:docMk/>
            <pc:sldMk cId="1744153956" sldId="728"/>
            <ac:cxnSpMk id="23" creationId="{D0B9A451-5629-D05F-B9D8-81DD83130648}"/>
          </ac:cxnSpMkLst>
        </pc:cxnChg>
        <pc:cxnChg chg="del">
          <ac:chgData name="Rui Sousa" userId="285bb50d-01dc-4ac6-9db4-995d4d48557e" providerId="ADAL" clId="{46849BC3-4ED1-4F23-BBD8-44E2840BBA72}" dt="2025-12-15T16:07:49.957" v="2948" actId="478"/>
          <ac:cxnSpMkLst>
            <pc:docMk/>
            <pc:sldMk cId="1744153956" sldId="728"/>
            <ac:cxnSpMk id="24" creationId="{467BC969-3CB2-285E-3865-D1F4E8D09A89}"/>
          </ac:cxnSpMkLst>
        </pc:cxnChg>
        <pc:cxnChg chg="del">
          <ac:chgData name="Rui Sousa" userId="285bb50d-01dc-4ac6-9db4-995d4d48557e" providerId="ADAL" clId="{46849BC3-4ED1-4F23-BBD8-44E2840BBA72}" dt="2025-12-15T16:07:40.582" v="2946" actId="478"/>
          <ac:cxnSpMkLst>
            <pc:docMk/>
            <pc:sldMk cId="1744153956" sldId="728"/>
            <ac:cxnSpMk id="25" creationId="{1691BBAE-9D14-4943-2F25-B6DFA0EF99A8}"/>
          </ac:cxnSpMkLst>
        </pc:cxnChg>
        <pc:cxnChg chg="del">
          <ac:chgData name="Rui Sousa" userId="285bb50d-01dc-4ac6-9db4-995d4d48557e" providerId="ADAL" clId="{46849BC3-4ED1-4F23-BBD8-44E2840BBA72}" dt="2025-12-15T16:07:41.365" v="2947" actId="478"/>
          <ac:cxnSpMkLst>
            <pc:docMk/>
            <pc:sldMk cId="1744153956" sldId="728"/>
            <ac:cxnSpMk id="26" creationId="{1EE69A90-F71F-A1E5-ADD7-C559B0323C54}"/>
          </ac:cxnSpMkLst>
        </pc:cxnChg>
      </pc:sldChg>
      <pc:sldChg chg="modSp add del mod">
        <pc:chgData name="Rui Sousa" userId="285bb50d-01dc-4ac6-9db4-995d4d48557e" providerId="ADAL" clId="{46849BC3-4ED1-4F23-BBD8-44E2840BBA72}" dt="2025-12-15T16:46:38.380" v="3847" actId="47"/>
        <pc:sldMkLst>
          <pc:docMk/>
          <pc:sldMk cId="3038850105" sldId="729"/>
        </pc:sldMkLst>
        <pc:spChg chg="mod">
          <ac:chgData name="Rui Sousa" userId="285bb50d-01dc-4ac6-9db4-995d4d48557e" providerId="ADAL" clId="{46849BC3-4ED1-4F23-BBD8-44E2840BBA72}" dt="2025-12-15T16:39:39.712" v="3583" actId="790"/>
          <ac:spMkLst>
            <pc:docMk/>
            <pc:sldMk cId="3038850105" sldId="729"/>
            <ac:spMk id="29" creationId="{5EE9C6E8-DACA-038A-57F8-71A166B9423F}"/>
          </ac:spMkLst>
        </pc:spChg>
        <pc:spChg chg="mod">
          <ac:chgData name="Rui Sousa" userId="285bb50d-01dc-4ac6-9db4-995d4d48557e" providerId="ADAL" clId="{46849BC3-4ED1-4F23-BBD8-44E2840BBA72}" dt="2025-12-15T16:39:39.712" v="3583" actId="790"/>
          <ac:spMkLst>
            <pc:docMk/>
            <pc:sldMk cId="3038850105" sldId="729"/>
            <ac:spMk id="53" creationId="{48372F8B-23EC-0144-D171-5E65A7FDAEF6}"/>
          </ac:spMkLst>
        </pc:spChg>
        <pc:spChg chg="mod">
          <ac:chgData name="Rui Sousa" userId="285bb50d-01dc-4ac6-9db4-995d4d48557e" providerId="ADAL" clId="{46849BC3-4ED1-4F23-BBD8-44E2840BBA72}" dt="2025-12-15T16:39:39.712" v="3583" actId="790"/>
          <ac:spMkLst>
            <pc:docMk/>
            <pc:sldMk cId="3038850105" sldId="729"/>
            <ac:spMk id="61" creationId="{65F05B34-3F63-375B-8C98-2D1BF59F6D59}"/>
          </ac:spMkLst>
        </pc:spChg>
        <pc:spChg chg="mod">
          <ac:chgData name="Rui Sousa" userId="285bb50d-01dc-4ac6-9db4-995d4d48557e" providerId="ADAL" clId="{46849BC3-4ED1-4F23-BBD8-44E2840BBA72}" dt="2025-12-15T16:39:39.712" v="3583" actId="790"/>
          <ac:spMkLst>
            <pc:docMk/>
            <pc:sldMk cId="3038850105" sldId="729"/>
            <ac:spMk id="69" creationId="{7D7F0CF4-E7FB-DB00-7E43-450132161EF3}"/>
          </ac:spMkLst>
        </pc:spChg>
        <pc:spChg chg="mod">
          <ac:chgData name="Rui Sousa" userId="285bb50d-01dc-4ac6-9db4-995d4d48557e" providerId="ADAL" clId="{46849BC3-4ED1-4F23-BBD8-44E2840BBA72}" dt="2025-12-15T16:39:39.712" v="3583" actId="790"/>
          <ac:spMkLst>
            <pc:docMk/>
            <pc:sldMk cId="3038850105" sldId="729"/>
            <ac:spMk id="75" creationId="{9F08D353-CAF3-ADBE-0041-E33AF6451A75}"/>
          </ac:spMkLst>
        </pc:spChg>
        <pc:spChg chg="mod">
          <ac:chgData name="Rui Sousa" userId="285bb50d-01dc-4ac6-9db4-995d4d48557e" providerId="ADAL" clId="{46849BC3-4ED1-4F23-BBD8-44E2840BBA72}" dt="2025-12-15T16:39:39.712" v="3583" actId="790"/>
          <ac:spMkLst>
            <pc:docMk/>
            <pc:sldMk cId="3038850105" sldId="729"/>
            <ac:spMk id="95" creationId="{51D58E54-BF70-C70D-4AC4-57C67B9882AB}"/>
          </ac:spMkLst>
        </pc:spChg>
        <pc:spChg chg="mod">
          <ac:chgData name="Rui Sousa" userId="285bb50d-01dc-4ac6-9db4-995d4d48557e" providerId="ADAL" clId="{46849BC3-4ED1-4F23-BBD8-44E2840BBA72}" dt="2025-12-15T16:39:39.712" v="3583" actId="790"/>
          <ac:spMkLst>
            <pc:docMk/>
            <pc:sldMk cId="3038850105" sldId="729"/>
            <ac:spMk id="103" creationId="{42C376F0-1C82-69DB-F950-DF9B84FAE151}"/>
          </ac:spMkLst>
        </pc:spChg>
        <pc:spChg chg="mod">
          <ac:chgData name="Rui Sousa" userId="285bb50d-01dc-4ac6-9db4-995d4d48557e" providerId="ADAL" clId="{46849BC3-4ED1-4F23-BBD8-44E2840BBA72}" dt="2025-12-15T16:39:39.712" v="3583" actId="790"/>
          <ac:spMkLst>
            <pc:docMk/>
            <pc:sldMk cId="3038850105" sldId="729"/>
            <ac:spMk id="105" creationId="{36C503AB-E59E-D442-DFF5-77CC2BC91FD5}"/>
          </ac:spMkLst>
        </pc:spChg>
        <pc:spChg chg="mod">
          <ac:chgData name="Rui Sousa" userId="285bb50d-01dc-4ac6-9db4-995d4d48557e" providerId="ADAL" clId="{46849BC3-4ED1-4F23-BBD8-44E2840BBA72}" dt="2025-12-15T16:39:39.712" v="3583" actId="790"/>
          <ac:spMkLst>
            <pc:docMk/>
            <pc:sldMk cId="3038850105" sldId="729"/>
            <ac:spMk id="107" creationId="{76416AC8-57D2-8A94-A8C7-48C5483C58BF}"/>
          </ac:spMkLst>
        </pc:spChg>
        <pc:spChg chg="mod">
          <ac:chgData name="Rui Sousa" userId="285bb50d-01dc-4ac6-9db4-995d4d48557e" providerId="ADAL" clId="{46849BC3-4ED1-4F23-BBD8-44E2840BBA72}" dt="2025-12-15T16:39:39.712" v="3583" actId="790"/>
          <ac:spMkLst>
            <pc:docMk/>
            <pc:sldMk cId="3038850105" sldId="729"/>
            <ac:spMk id="122" creationId="{E3F7AD5E-3401-8E3C-D405-711A15E05FC7}"/>
          </ac:spMkLst>
        </pc:spChg>
      </pc:sldChg>
      <pc:sldChg chg="addSp delSp modSp add mod modClrScheme chgLayout">
        <pc:chgData name="Rui Sousa" userId="285bb50d-01dc-4ac6-9db4-995d4d48557e" providerId="ADAL" clId="{46849BC3-4ED1-4F23-BBD8-44E2840BBA72}" dt="2025-12-15T20:30:53.062" v="5123" actId="790"/>
        <pc:sldMkLst>
          <pc:docMk/>
          <pc:sldMk cId="1537619504" sldId="730"/>
        </pc:sldMkLst>
        <pc:spChg chg="del">
          <ac:chgData name="Rui Sousa" userId="285bb50d-01dc-4ac6-9db4-995d4d48557e" providerId="ADAL" clId="{46849BC3-4ED1-4F23-BBD8-44E2840BBA72}" dt="2025-12-15T16:58:59.022" v="3940" actId="478"/>
          <ac:spMkLst>
            <pc:docMk/>
            <pc:sldMk cId="1537619504" sldId="730"/>
            <ac:spMk id="2" creationId="{800699F5-DB2A-D894-1076-1E9F548EE534}"/>
          </ac:spMkLst>
        </pc:spChg>
        <pc:spChg chg="add del mod ord">
          <ac:chgData name="Rui Sousa" userId="285bb50d-01dc-4ac6-9db4-995d4d48557e" providerId="ADAL" clId="{46849BC3-4ED1-4F23-BBD8-44E2840BBA72}" dt="2025-12-15T16:59:10.933" v="3942" actId="700"/>
          <ac:spMkLst>
            <pc:docMk/>
            <pc:sldMk cId="1537619504" sldId="730"/>
            <ac:spMk id="3" creationId="{8F14E320-24B8-DE59-E228-730F4646A217}"/>
          </ac:spMkLst>
        </pc:spChg>
        <pc:spChg chg="add del mod ord">
          <ac:chgData name="Rui Sousa" userId="285bb50d-01dc-4ac6-9db4-995d4d48557e" providerId="ADAL" clId="{46849BC3-4ED1-4F23-BBD8-44E2840BBA72}" dt="2025-12-15T16:59:10.933" v="3942" actId="700"/>
          <ac:spMkLst>
            <pc:docMk/>
            <pc:sldMk cId="1537619504" sldId="730"/>
            <ac:spMk id="4" creationId="{7057B1B1-21D5-FD84-24AF-5DAEA6CF7C54}"/>
          </ac:spMkLst>
        </pc:spChg>
        <pc:spChg chg="mod">
          <ac:chgData name="Rui Sousa" userId="285bb50d-01dc-4ac6-9db4-995d4d48557e" providerId="ADAL" clId="{46849BC3-4ED1-4F23-BBD8-44E2840BBA72}" dt="2025-12-15T17:43:03.305" v="4984" actId="164"/>
          <ac:spMkLst>
            <pc:docMk/>
            <pc:sldMk cId="1537619504" sldId="730"/>
            <ac:spMk id="5" creationId="{A7C50D61-1D2F-7811-EDAC-B2C0D36559F8}"/>
          </ac:spMkLst>
        </pc:spChg>
        <pc:spChg chg="add mod ord">
          <ac:chgData name="Rui Sousa" userId="285bb50d-01dc-4ac6-9db4-995d4d48557e" providerId="ADAL" clId="{46849BC3-4ED1-4F23-BBD8-44E2840BBA72}" dt="2025-12-15T16:59:53.534" v="3960" actId="20577"/>
          <ac:spMkLst>
            <pc:docMk/>
            <pc:sldMk cId="1537619504" sldId="730"/>
            <ac:spMk id="6" creationId="{805CF615-37F4-7BCF-3AD7-019368FF3C74}"/>
          </ac:spMkLst>
        </pc:spChg>
        <pc:spChg chg="add del mod ord">
          <ac:chgData name="Rui Sousa" userId="285bb50d-01dc-4ac6-9db4-995d4d48557e" providerId="ADAL" clId="{46849BC3-4ED1-4F23-BBD8-44E2840BBA72}" dt="2025-12-15T16:59:59.610" v="3961" actId="478"/>
          <ac:spMkLst>
            <pc:docMk/>
            <pc:sldMk cId="1537619504" sldId="730"/>
            <ac:spMk id="7" creationId="{71F5B1B0-1E2A-88AF-327B-279850E7EC65}"/>
          </ac:spMkLst>
        </pc:spChg>
        <pc:spChg chg="add mod">
          <ac:chgData name="Rui Sousa" userId="285bb50d-01dc-4ac6-9db4-995d4d48557e" providerId="ADAL" clId="{46849BC3-4ED1-4F23-BBD8-44E2840BBA72}" dt="2025-12-15T20:30:53.062" v="5123" actId="790"/>
          <ac:spMkLst>
            <pc:docMk/>
            <pc:sldMk cId="1537619504" sldId="730"/>
            <ac:spMk id="8" creationId="{71431AFE-2CBC-15E4-23F4-047E606A249B}"/>
          </ac:spMkLst>
        </pc:spChg>
        <pc:spChg chg="add mod">
          <ac:chgData name="Rui Sousa" userId="285bb50d-01dc-4ac6-9db4-995d4d48557e" providerId="ADAL" clId="{46849BC3-4ED1-4F23-BBD8-44E2840BBA72}" dt="2025-12-15T20:30:53.062" v="5123" actId="790"/>
          <ac:spMkLst>
            <pc:docMk/>
            <pc:sldMk cId="1537619504" sldId="730"/>
            <ac:spMk id="9" creationId="{D0078F82-A405-EBB7-564D-416B9F61E3F4}"/>
          </ac:spMkLst>
        </pc:spChg>
        <pc:spChg chg="add mod">
          <ac:chgData name="Rui Sousa" userId="285bb50d-01dc-4ac6-9db4-995d4d48557e" providerId="ADAL" clId="{46849BC3-4ED1-4F23-BBD8-44E2840BBA72}" dt="2025-12-15T17:43:48.080" v="4998" actId="164"/>
          <ac:spMkLst>
            <pc:docMk/>
            <pc:sldMk cId="1537619504" sldId="730"/>
            <ac:spMk id="10" creationId="{9A83EFA4-5332-E053-C2AE-119D7AC1A293}"/>
          </ac:spMkLst>
        </pc:spChg>
        <pc:spChg chg="add mod">
          <ac:chgData name="Rui Sousa" userId="285bb50d-01dc-4ac6-9db4-995d4d48557e" providerId="ADAL" clId="{46849BC3-4ED1-4F23-BBD8-44E2840BBA72}" dt="2025-12-15T17:33:56.933" v="4932" actId="20577"/>
          <ac:spMkLst>
            <pc:docMk/>
            <pc:sldMk cId="1537619504" sldId="730"/>
            <ac:spMk id="12" creationId="{86C456D8-B5F5-CD34-AF6E-D6F50F3953AE}"/>
          </ac:spMkLst>
        </pc:spChg>
        <pc:spChg chg="mod">
          <ac:chgData name="Rui Sousa" userId="285bb50d-01dc-4ac6-9db4-995d4d48557e" providerId="ADAL" clId="{46849BC3-4ED1-4F23-BBD8-44E2840BBA72}" dt="2025-12-15T20:30:53.062" v="5123" actId="790"/>
          <ac:spMkLst>
            <pc:docMk/>
            <pc:sldMk cId="1537619504" sldId="730"/>
            <ac:spMk id="17" creationId="{CF0A67C2-56F1-6564-ADD5-DD55597AA85E}"/>
          </ac:spMkLst>
        </pc:spChg>
        <pc:spChg chg="mod">
          <ac:chgData name="Rui Sousa" userId="285bb50d-01dc-4ac6-9db4-995d4d48557e" providerId="ADAL" clId="{46849BC3-4ED1-4F23-BBD8-44E2840BBA72}" dt="2025-12-15T17:30:10.072" v="4877" actId="1076"/>
          <ac:spMkLst>
            <pc:docMk/>
            <pc:sldMk cId="1537619504" sldId="730"/>
            <ac:spMk id="18" creationId="{A49D7B95-2285-54EA-5633-B2CD8942C487}"/>
          </ac:spMkLst>
        </pc:spChg>
        <pc:spChg chg="mod">
          <ac:chgData name="Rui Sousa" userId="285bb50d-01dc-4ac6-9db4-995d4d48557e" providerId="ADAL" clId="{46849BC3-4ED1-4F23-BBD8-44E2840BBA72}" dt="2025-12-15T17:27:19.969" v="4850" actId="14100"/>
          <ac:spMkLst>
            <pc:docMk/>
            <pc:sldMk cId="1537619504" sldId="730"/>
            <ac:spMk id="19" creationId="{B368AE7A-4011-9521-EA7C-54D0B6038316}"/>
          </ac:spMkLst>
        </pc:spChg>
        <pc:spChg chg="mod">
          <ac:chgData name="Rui Sousa" userId="285bb50d-01dc-4ac6-9db4-995d4d48557e" providerId="ADAL" clId="{46849BC3-4ED1-4F23-BBD8-44E2840BBA72}" dt="2025-12-15T17:43:27.569" v="4996" actId="164"/>
          <ac:spMkLst>
            <pc:docMk/>
            <pc:sldMk cId="1537619504" sldId="730"/>
            <ac:spMk id="20" creationId="{186AE86E-96E0-153A-2F34-5E5075089534}"/>
          </ac:spMkLst>
        </pc:spChg>
        <pc:spChg chg="mod">
          <ac:chgData name="Rui Sousa" userId="285bb50d-01dc-4ac6-9db4-995d4d48557e" providerId="ADAL" clId="{46849BC3-4ED1-4F23-BBD8-44E2840BBA72}" dt="2025-12-15T20:30:53.062" v="5123" actId="790"/>
          <ac:spMkLst>
            <pc:docMk/>
            <pc:sldMk cId="1537619504" sldId="730"/>
            <ac:spMk id="21" creationId="{D58D2026-8139-8F17-F649-B8D593E51211}"/>
          </ac:spMkLst>
        </pc:spChg>
        <pc:spChg chg="mod">
          <ac:chgData name="Rui Sousa" userId="285bb50d-01dc-4ac6-9db4-995d4d48557e" providerId="ADAL" clId="{46849BC3-4ED1-4F23-BBD8-44E2840BBA72}" dt="2025-12-15T20:30:53.062" v="5123" actId="790"/>
          <ac:spMkLst>
            <pc:docMk/>
            <pc:sldMk cId="1537619504" sldId="730"/>
            <ac:spMk id="22" creationId="{2501E942-AE64-BD79-7D25-8E0065090247}"/>
          </ac:spMkLst>
        </pc:spChg>
        <pc:spChg chg="mod">
          <ac:chgData name="Rui Sousa" userId="285bb50d-01dc-4ac6-9db4-995d4d48557e" providerId="ADAL" clId="{46849BC3-4ED1-4F23-BBD8-44E2840BBA72}" dt="2025-12-15T20:30:53.062" v="5123" actId="790"/>
          <ac:spMkLst>
            <pc:docMk/>
            <pc:sldMk cId="1537619504" sldId="730"/>
            <ac:spMk id="23" creationId="{9F9A138E-E48F-CC8C-AA2D-690E4A11A8BF}"/>
          </ac:spMkLst>
        </pc:spChg>
        <pc:spChg chg="mod">
          <ac:chgData name="Rui Sousa" userId="285bb50d-01dc-4ac6-9db4-995d4d48557e" providerId="ADAL" clId="{46849BC3-4ED1-4F23-BBD8-44E2840BBA72}" dt="2025-12-15T20:30:53.062" v="5123" actId="790"/>
          <ac:spMkLst>
            <pc:docMk/>
            <pc:sldMk cId="1537619504" sldId="730"/>
            <ac:spMk id="24" creationId="{1A9A185B-017A-D80B-0A35-FD65D0EC7662}"/>
          </ac:spMkLst>
        </pc:spChg>
        <pc:spChg chg="mod">
          <ac:chgData name="Rui Sousa" userId="285bb50d-01dc-4ac6-9db4-995d4d48557e" providerId="ADAL" clId="{46849BC3-4ED1-4F23-BBD8-44E2840BBA72}" dt="2025-12-15T17:44:06.762" v="5002" actId="164"/>
          <ac:spMkLst>
            <pc:docMk/>
            <pc:sldMk cId="1537619504" sldId="730"/>
            <ac:spMk id="25" creationId="{C7136988-5793-83CE-D1D0-1FFD48CDFD2B}"/>
          </ac:spMkLst>
        </pc:spChg>
        <pc:spChg chg="del mod">
          <ac:chgData name="Rui Sousa" userId="285bb50d-01dc-4ac6-9db4-995d4d48557e" providerId="ADAL" clId="{46849BC3-4ED1-4F23-BBD8-44E2840BBA72}" dt="2025-12-15T17:09:18.170" v="4359" actId="478"/>
          <ac:spMkLst>
            <pc:docMk/>
            <pc:sldMk cId="1537619504" sldId="730"/>
            <ac:spMk id="28" creationId="{38C436E9-B9EA-D421-C05E-D98151CE3C6D}"/>
          </ac:spMkLst>
        </pc:spChg>
        <pc:spChg chg="mod">
          <ac:chgData name="Rui Sousa" userId="285bb50d-01dc-4ac6-9db4-995d4d48557e" providerId="ADAL" clId="{46849BC3-4ED1-4F23-BBD8-44E2840BBA72}" dt="2025-12-15T17:43:48.080" v="4998" actId="164"/>
          <ac:spMkLst>
            <pc:docMk/>
            <pc:sldMk cId="1537619504" sldId="730"/>
            <ac:spMk id="29" creationId="{2A7C7E69-631D-9D04-0860-746F63D017CC}"/>
          </ac:spMkLst>
        </pc:spChg>
        <pc:spChg chg="mod">
          <ac:chgData name="Rui Sousa" userId="285bb50d-01dc-4ac6-9db4-995d4d48557e" providerId="ADAL" clId="{46849BC3-4ED1-4F23-BBD8-44E2840BBA72}" dt="2025-12-15T20:30:53.062" v="5123" actId="790"/>
          <ac:spMkLst>
            <pc:docMk/>
            <pc:sldMk cId="1537619504" sldId="730"/>
            <ac:spMk id="30" creationId="{11049A0C-B797-F96E-3D91-CD52E5346A6E}"/>
          </ac:spMkLst>
        </pc:spChg>
        <pc:spChg chg="mod">
          <ac:chgData name="Rui Sousa" userId="285bb50d-01dc-4ac6-9db4-995d4d48557e" providerId="ADAL" clId="{46849BC3-4ED1-4F23-BBD8-44E2840BBA72}" dt="2025-12-15T20:30:53.062" v="5123" actId="790"/>
          <ac:spMkLst>
            <pc:docMk/>
            <pc:sldMk cId="1537619504" sldId="730"/>
            <ac:spMk id="31" creationId="{9F1B8B06-22A8-9C2C-A437-066D207DB406}"/>
          </ac:spMkLst>
        </pc:spChg>
        <pc:spChg chg="del mod">
          <ac:chgData name="Rui Sousa" userId="285bb50d-01dc-4ac6-9db4-995d4d48557e" providerId="ADAL" clId="{46849BC3-4ED1-4F23-BBD8-44E2840BBA72}" dt="2025-12-15T17:24:21.166" v="4740" actId="478"/>
          <ac:spMkLst>
            <pc:docMk/>
            <pc:sldMk cId="1537619504" sldId="730"/>
            <ac:spMk id="32" creationId="{9F934C75-9818-0263-F873-3777A25878C9}"/>
          </ac:spMkLst>
        </pc:spChg>
        <pc:spChg chg="del mod">
          <ac:chgData name="Rui Sousa" userId="285bb50d-01dc-4ac6-9db4-995d4d48557e" providerId="ADAL" clId="{46849BC3-4ED1-4F23-BBD8-44E2840BBA72}" dt="2025-12-15T17:27:08.704" v="4849" actId="478"/>
          <ac:spMkLst>
            <pc:docMk/>
            <pc:sldMk cId="1537619504" sldId="730"/>
            <ac:spMk id="33" creationId="{7A19E087-91B2-3855-8B1D-066BBBB6BAB3}"/>
          </ac:spMkLst>
        </pc:spChg>
        <pc:spChg chg="del mod">
          <ac:chgData name="Rui Sousa" userId="285bb50d-01dc-4ac6-9db4-995d4d48557e" providerId="ADAL" clId="{46849BC3-4ED1-4F23-BBD8-44E2840BBA72}" dt="2025-12-15T16:59:19.931" v="3944" actId="478"/>
          <ac:spMkLst>
            <pc:docMk/>
            <pc:sldMk cId="1537619504" sldId="730"/>
            <ac:spMk id="34" creationId="{C60863DF-2453-D43D-10E2-83C6149A9AD5}"/>
          </ac:spMkLst>
        </pc:spChg>
        <pc:spChg chg="mod">
          <ac:chgData name="Rui Sousa" userId="285bb50d-01dc-4ac6-9db4-995d4d48557e" providerId="ADAL" clId="{46849BC3-4ED1-4F23-BBD8-44E2840BBA72}" dt="2025-12-15T20:30:53.062" v="5123" actId="790"/>
          <ac:spMkLst>
            <pc:docMk/>
            <pc:sldMk cId="1537619504" sldId="730"/>
            <ac:spMk id="35" creationId="{B0AA43CC-27F7-A859-5C52-90BC72BC5D4F}"/>
          </ac:spMkLst>
        </pc:spChg>
        <pc:spChg chg="mod">
          <ac:chgData name="Rui Sousa" userId="285bb50d-01dc-4ac6-9db4-995d4d48557e" providerId="ADAL" clId="{46849BC3-4ED1-4F23-BBD8-44E2840BBA72}" dt="2025-12-15T17:43:27.569" v="4996" actId="164"/>
          <ac:spMkLst>
            <pc:docMk/>
            <pc:sldMk cId="1537619504" sldId="730"/>
            <ac:spMk id="36" creationId="{A62FBB4A-4D60-B743-B1FE-E62E1116D5C9}"/>
          </ac:spMkLst>
        </pc:spChg>
        <pc:spChg chg="mod">
          <ac:chgData name="Rui Sousa" userId="285bb50d-01dc-4ac6-9db4-995d4d48557e" providerId="ADAL" clId="{46849BC3-4ED1-4F23-BBD8-44E2840BBA72}" dt="2025-12-15T17:43:48.080" v="4998" actId="164"/>
          <ac:spMkLst>
            <pc:docMk/>
            <pc:sldMk cId="1537619504" sldId="730"/>
            <ac:spMk id="37" creationId="{20E59B7C-8D76-D244-B96A-D372CAFD4A7D}"/>
          </ac:spMkLst>
        </pc:spChg>
        <pc:grpChg chg="add mod">
          <ac:chgData name="Rui Sousa" userId="285bb50d-01dc-4ac6-9db4-995d4d48557e" providerId="ADAL" clId="{46849BC3-4ED1-4F23-BBD8-44E2840BBA72}" dt="2025-12-15T17:43:13.068" v="4985" actId="14861"/>
          <ac:grpSpMkLst>
            <pc:docMk/>
            <pc:sldMk cId="1537619504" sldId="730"/>
            <ac:grpSpMk id="13" creationId="{856A9E8E-47C7-3EB5-B505-B15AF9050902}"/>
          </ac:grpSpMkLst>
        </pc:grpChg>
        <pc:grpChg chg="add mod">
          <ac:chgData name="Rui Sousa" userId="285bb50d-01dc-4ac6-9db4-995d4d48557e" providerId="ADAL" clId="{46849BC3-4ED1-4F23-BBD8-44E2840BBA72}" dt="2025-12-15T17:43:38.794" v="4997" actId="14861"/>
          <ac:grpSpMkLst>
            <pc:docMk/>
            <pc:sldMk cId="1537619504" sldId="730"/>
            <ac:grpSpMk id="14" creationId="{51247D9E-2890-90FE-2ED6-C97AD3581E41}"/>
          </ac:grpSpMkLst>
        </pc:grpChg>
        <pc:grpChg chg="add mod">
          <ac:chgData name="Rui Sousa" userId="285bb50d-01dc-4ac6-9db4-995d4d48557e" providerId="ADAL" clId="{46849BC3-4ED1-4F23-BBD8-44E2840BBA72}" dt="2025-12-15T17:43:53.162" v="4999" actId="14861"/>
          <ac:grpSpMkLst>
            <pc:docMk/>
            <pc:sldMk cId="1537619504" sldId="730"/>
            <ac:grpSpMk id="15" creationId="{3F5D2B0C-323F-B030-6F2B-65E435399D27}"/>
          </ac:grpSpMkLst>
        </pc:grpChg>
        <pc:grpChg chg="add mod">
          <ac:chgData name="Rui Sousa" userId="285bb50d-01dc-4ac6-9db4-995d4d48557e" providerId="ADAL" clId="{46849BC3-4ED1-4F23-BBD8-44E2840BBA72}" dt="2025-12-15T17:44:11.398" v="5003" actId="14861"/>
          <ac:grpSpMkLst>
            <pc:docMk/>
            <pc:sldMk cId="1537619504" sldId="730"/>
            <ac:grpSpMk id="16" creationId="{FB434039-D8BC-BAED-FFB8-0849B270A4C2}"/>
          </ac:grpSpMkLst>
        </pc:grpChg>
        <pc:picChg chg="add mod">
          <ac:chgData name="Rui Sousa" userId="285bb50d-01dc-4ac6-9db4-995d4d48557e" providerId="ADAL" clId="{46849BC3-4ED1-4F23-BBD8-44E2840BBA72}" dt="2025-12-15T17:28:37.182" v="4856" actId="571"/>
          <ac:picMkLst>
            <pc:docMk/>
            <pc:sldMk cId="1537619504" sldId="730"/>
            <ac:picMk id="11" creationId="{65AD5419-EE9C-B38E-B9BB-CE25E0C5AF54}"/>
          </ac:picMkLst>
        </pc:picChg>
        <pc:picChg chg="mod ord modCrop">
          <ac:chgData name="Rui Sousa" userId="285bb50d-01dc-4ac6-9db4-995d4d48557e" providerId="ADAL" clId="{46849BC3-4ED1-4F23-BBD8-44E2840BBA72}" dt="2025-12-15T17:26:56.284" v="4846" actId="688"/>
          <ac:picMkLst>
            <pc:docMk/>
            <pc:sldMk cId="1537619504" sldId="730"/>
            <ac:picMk id="27" creationId="{D3A57F1D-9F87-ABC3-206E-C212A370D610}"/>
          </ac:picMkLst>
        </pc:picChg>
      </pc:sldChg>
      <pc:sldChg chg="addSp delSp modSp new del mod ord modClrScheme chgLayout">
        <pc:chgData name="Rui Sousa" userId="285bb50d-01dc-4ac6-9db4-995d4d48557e" providerId="ADAL" clId="{46849BC3-4ED1-4F23-BBD8-44E2840BBA72}" dt="2025-12-15T10:17:16.229" v="2290" actId="47"/>
        <pc:sldMkLst>
          <pc:docMk/>
          <pc:sldMk cId="465362326" sldId="731"/>
        </pc:sldMkLst>
        <pc:spChg chg="add mod ord">
          <ac:chgData name="Rui Sousa" userId="285bb50d-01dc-4ac6-9db4-995d4d48557e" providerId="ADAL" clId="{46849BC3-4ED1-4F23-BBD8-44E2840BBA72}" dt="2025-12-15T09:26:42.476" v="1009" actId="790"/>
          <ac:spMkLst>
            <pc:docMk/>
            <pc:sldMk cId="465362326" sldId="731"/>
            <ac:spMk id="5" creationId="{FCB15AF7-6147-3F70-AE6F-CCF31BC88E5C}"/>
          </ac:spMkLst>
        </pc:spChg>
        <pc:spChg chg="add mod ord">
          <ac:chgData name="Rui Sousa" userId="285bb50d-01dc-4ac6-9db4-995d4d48557e" providerId="ADAL" clId="{46849BC3-4ED1-4F23-BBD8-44E2840BBA72}" dt="2025-12-15T09:26:42.476" v="1009" actId="790"/>
          <ac:spMkLst>
            <pc:docMk/>
            <pc:sldMk cId="465362326" sldId="731"/>
            <ac:spMk id="6" creationId="{B1812B1B-CDF2-F7FE-7D85-7CE98A5F16EB}"/>
          </ac:spMkLst>
        </pc:spChg>
      </pc:sldChg>
      <pc:sldChg chg="addSp delSp modSp new del mod ord modClrScheme chgLayout">
        <pc:chgData name="Rui Sousa" userId="285bb50d-01dc-4ac6-9db4-995d4d48557e" providerId="ADAL" clId="{46849BC3-4ED1-4F23-BBD8-44E2840BBA72}" dt="2025-12-15T11:19:25.219" v="2448" actId="47"/>
        <pc:sldMkLst>
          <pc:docMk/>
          <pc:sldMk cId="569646611" sldId="732"/>
        </pc:sldMkLst>
        <pc:spChg chg="mod ord modVis">
          <ac:chgData name="Rui Sousa" userId="285bb50d-01dc-4ac6-9db4-995d4d48557e" providerId="ADAL" clId="{46849BC3-4ED1-4F23-BBD8-44E2840BBA72}" dt="2025-12-15T09:28:10.345" v="1014" actId="26606"/>
          <ac:spMkLst>
            <pc:docMk/>
            <pc:sldMk cId="569646611" sldId="732"/>
            <ac:spMk id="3" creationId="{1AF1049C-2C57-DC3A-65C9-4ED72635E196}"/>
          </ac:spMkLst>
        </pc:spChg>
        <pc:spChg chg="add del mod ord">
          <ac:chgData name="Rui Sousa" userId="285bb50d-01dc-4ac6-9db4-995d4d48557e" providerId="ADAL" clId="{46849BC3-4ED1-4F23-BBD8-44E2840BBA72}" dt="2025-12-15T09:28:10.345" v="1014" actId="26606"/>
          <ac:spMkLst>
            <pc:docMk/>
            <pc:sldMk cId="569646611" sldId="732"/>
            <ac:spMk id="14" creationId="{DD1097A3-A831-5BA5-412E-5F525A04FB22}"/>
          </ac:spMkLst>
        </pc:spChg>
        <pc:spChg chg="add del mod ord">
          <ac:chgData name="Rui Sousa" userId="285bb50d-01dc-4ac6-9db4-995d4d48557e" providerId="ADAL" clId="{46849BC3-4ED1-4F23-BBD8-44E2840BBA72}" dt="2025-12-15T09:28:10.345" v="1014" actId="26606"/>
          <ac:spMkLst>
            <pc:docMk/>
            <pc:sldMk cId="569646611" sldId="732"/>
            <ac:spMk id="16" creationId="{4BDE28C9-6B15-0688-6CB9-27E5690DA77E}"/>
          </ac:spMkLst>
        </pc:spChg>
        <pc:spChg chg="add del mod">
          <ac:chgData name="Rui Sousa" userId="285bb50d-01dc-4ac6-9db4-995d4d48557e" providerId="ADAL" clId="{46849BC3-4ED1-4F23-BBD8-44E2840BBA72}" dt="2025-12-15T09:28:06.314" v="1013" actId="21"/>
          <ac:spMkLst>
            <pc:docMk/>
            <pc:sldMk cId="569646611" sldId="732"/>
            <ac:spMk id="21" creationId="{5265DD7C-F50F-807C-E20F-F7D25989C2DF}"/>
          </ac:spMkLst>
        </pc:spChg>
        <pc:spChg chg="add mod">
          <ac:chgData name="Rui Sousa" userId="285bb50d-01dc-4ac6-9db4-995d4d48557e" providerId="ADAL" clId="{46849BC3-4ED1-4F23-BBD8-44E2840BBA72}" dt="2025-12-15T09:26:42.476" v="1009" actId="790"/>
          <ac:spMkLst>
            <pc:docMk/>
            <pc:sldMk cId="569646611" sldId="732"/>
            <ac:spMk id="22" creationId="{437A8524-4DAF-7187-4592-2DD74C748178}"/>
          </ac:spMkLst>
        </pc:spChg>
        <pc:spChg chg="add mod">
          <ac:chgData name="Rui Sousa" userId="285bb50d-01dc-4ac6-9db4-995d4d48557e" providerId="ADAL" clId="{46849BC3-4ED1-4F23-BBD8-44E2840BBA72}" dt="2025-12-15T08:44:31.288" v="412" actId="1076"/>
          <ac:spMkLst>
            <pc:docMk/>
            <pc:sldMk cId="569646611" sldId="732"/>
            <ac:spMk id="23" creationId="{127A6124-6614-AC23-270B-5F0577111F2F}"/>
          </ac:spMkLst>
        </pc:spChg>
        <pc:spChg chg="add mod">
          <ac:chgData name="Rui Sousa" userId="285bb50d-01dc-4ac6-9db4-995d4d48557e" providerId="ADAL" clId="{46849BC3-4ED1-4F23-BBD8-44E2840BBA72}" dt="2025-12-15T09:28:44.628" v="1030" actId="1076"/>
          <ac:spMkLst>
            <pc:docMk/>
            <pc:sldMk cId="569646611" sldId="732"/>
            <ac:spMk id="25" creationId="{5265DD7C-F50F-807C-E20F-F7D25989C2DF}"/>
          </ac:spMkLst>
        </pc:spChg>
        <pc:spChg chg="add mod">
          <ac:chgData name="Rui Sousa" userId="285bb50d-01dc-4ac6-9db4-995d4d48557e" providerId="ADAL" clId="{46849BC3-4ED1-4F23-BBD8-44E2840BBA72}" dt="2025-12-15T11:17:49.348" v="2431"/>
          <ac:spMkLst>
            <pc:docMk/>
            <pc:sldMk cId="569646611" sldId="732"/>
            <ac:spMk id="26" creationId="{B009C20F-591E-F6AF-FA30-68AF1D37D760}"/>
          </ac:spMkLst>
        </pc:spChg>
        <pc:spChg chg="add del mod">
          <ac:chgData name="Rui Sousa" userId="285bb50d-01dc-4ac6-9db4-995d4d48557e" providerId="ADAL" clId="{46849BC3-4ED1-4F23-BBD8-44E2840BBA72}" dt="2025-12-15T08:48:53.773" v="428" actId="26606"/>
          <ac:spMkLst>
            <pc:docMk/>
            <pc:sldMk cId="569646611" sldId="732"/>
            <ac:spMk id="27" creationId="{72789896-E29E-134B-0D44-EC7C902B39AA}"/>
          </ac:spMkLst>
        </pc:spChg>
        <pc:spChg chg="add del mod">
          <ac:chgData name="Rui Sousa" userId="285bb50d-01dc-4ac6-9db4-995d4d48557e" providerId="ADAL" clId="{46849BC3-4ED1-4F23-BBD8-44E2840BBA72}" dt="2025-12-15T08:48:53.773" v="428" actId="26606"/>
          <ac:spMkLst>
            <pc:docMk/>
            <pc:sldMk cId="569646611" sldId="732"/>
            <ac:spMk id="29" creationId="{FAB4C69A-6C5D-8116-FABE-9250FE9BD8F9}"/>
          </ac:spMkLst>
        </pc:spChg>
        <pc:picChg chg="add mod ord">
          <ac:chgData name="Rui Sousa" userId="285bb50d-01dc-4ac6-9db4-995d4d48557e" providerId="ADAL" clId="{46849BC3-4ED1-4F23-BBD8-44E2840BBA72}" dt="2025-12-15T11:17:46.738" v="2428" actId="166"/>
          <ac:picMkLst>
            <pc:docMk/>
            <pc:sldMk cId="569646611" sldId="732"/>
            <ac:picMk id="19" creationId="{8638D5DA-B51E-B39F-2D9A-E19912297B3C}"/>
          </ac:picMkLst>
        </pc:picChg>
        <pc:picChg chg="add mod">
          <ac:chgData name="Rui Sousa" userId="285bb50d-01dc-4ac6-9db4-995d4d48557e" providerId="ADAL" clId="{46849BC3-4ED1-4F23-BBD8-44E2840BBA72}" dt="2025-12-15T08:44:34.318" v="416" actId="571"/>
          <ac:picMkLst>
            <pc:docMk/>
            <pc:sldMk cId="569646611" sldId="732"/>
            <ac:picMk id="24" creationId="{DFA4B66A-4F8F-E16B-AF6B-409BCD3C26BF}"/>
          </ac:picMkLst>
        </pc:picChg>
      </pc:sldChg>
      <pc:sldChg chg="addSp delSp modSp add del mod ord">
        <pc:chgData name="Rui Sousa" userId="285bb50d-01dc-4ac6-9db4-995d4d48557e" providerId="ADAL" clId="{46849BC3-4ED1-4F23-BBD8-44E2840BBA72}" dt="2025-12-15T11:18:47.154" v="2442" actId="47"/>
        <pc:sldMkLst>
          <pc:docMk/>
          <pc:sldMk cId="1033876351" sldId="733"/>
        </pc:sldMkLst>
        <pc:spChg chg="mod">
          <ac:chgData name="Rui Sousa" userId="285bb50d-01dc-4ac6-9db4-995d4d48557e" providerId="ADAL" clId="{46849BC3-4ED1-4F23-BBD8-44E2840BBA72}" dt="2025-12-15T09:26:42.476" v="1009" actId="790"/>
          <ac:spMkLst>
            <pc:docMk/>
            <pc:sldMk cId="1033876351" sldId="733"/>
            <ac:spMk id="3" creationId="{384290D8-11D8-C0ED-FA27-EEA5F624A0AE}"/>
          </ac:spMkLst>
        </pc:spChg>
        <pc:spChg chg="del">
          <ac:chgData name="Rui Sousa" userId="285bb50d-01dc-4ac6-9db4-995d4d48557e" providerId="ADAL" clId="{46849BC3-4ED1-4F23-BBD8-44E2840BBA72}" dt="2025-12-15T08:52:16.383" v="442" actId="478"/>
          <ac:spMkLst>
            <pc:docMk/>
            <pc:sldMk cId="1033876351" sldId="733"/>
            <ac:spMk id="14" creationId="{9AAB4AF3-4FDF-9F39-6878-5DB2E7638BCF}"/>
          </ac:spMkLst>
        </pc:spChg>
        <pc:spChg chg="mod">
          <ac:chgData name="Rui Sousa" userId="285bb50d-01dc-4ac6-9db4-995d4d48557e" providerId="ADAL" clId="{46849BC3-4ED1-4F23-BBD8-44E2840BBA72}" dt="2025-12-15T09:26:42.476" v="1009" actId="790"/>
          <ac:spMkLst>
            <pc:docMk/>
            <pc:sldMk cId="1033876351" sldId="733"/>
            <ac:spMk id="16" creationId="{11F71D98-5FDD-8D49-458F-F1A263536EFD}"/>
          </ac:spMkLst>
        </pc:spChg>
        <pc:spChg chg="del">
          <ac:chgData name="Rui Sousa" userId="285bb50d-01dc-4ac6-9db4-995d4d48557e" providerId="ADAL" clId="{46849BC3-4ED1-4F23-BBD8-44E2840BBA72}" dt="2025-12-15T08:51:16.875" v="435" actId="478"/>
          <ac:spMkLst>
            <pc:docMk/>
            <pc:sldMk cId="1033876351" sldId="733"/>
            <ac:spMk id="21" creationId="{E2F4AD47-8C30-67C0-0E41-AF897B63DDFB}"/>
          </ac:spMkLst>
        </pc:spChg>
        <pc:spChg chg="mod">
          <ac:chgData name="Rui Sousa" userId="285bb50d-01dc-4ac6-9db4-995d4d48557e" providerId="ADAL" clId="{46849BC3-4ED1-4F23-BBD8-44E2840BBA72}" dt="2025-12-15T11:18:00.818" v="2434" actId="164"/>
          <ac:spMkLst>
            <pc:docMk/>
            <pc:sldMk cId="1033876351" sldId="733"/>
            <ac:spMk id="22" creationId="{D0C21A99-5289-9A9A-7DD6-C890B67664C9}"/>
          </ac:spMkLst>
        </pc:spChg>
        <pc:spChg chg="add mod">
          <ac:chgData name="Rui Sousa" userId="285bb50d-01dc-4ac6-9db4-995d4d48557e" providerId="ADAL" clId="{46849BC3-4ED1-4F23-BBD8-44E2840BBA72}" dt="2025-12-15T09:26:42.476" v="1009" actId="790"/>
          <ac:spMkLst>
            <pc:docMk/>
            <pc:sldMk cId="1033876351" sldId="733"/>
            <ac:spMk id="39" creationId="{B025C635-7558-C244-E87E-FB75D7BF7583}"/>
          </ac:spMkLst>
        </pc:spChg>
        <pc:spChg chg="add mod">
          <ac:chgData name="Rui Sousa" userId="285bb50d-01dc-4ac6-9db4-995d4d48557e" providerId="ADAL" clId="{46849BC3-4ED1-4F23-BBD8-44E2840BBA72}" dt="2025-12-15T09:26:42.476" v="1009" actId="790"/>
          <ac:spMkLst>
            <pc:docMk/>
            <pc:sldMk cId="1033876351" sldId="733"/>
            <ac:spMk id="40" creationId="{7A12BF8F-C7D4-C9DA-92BC-DE4F056E347C}"/>
          </ac:spMkLst>
        </pc:spChg>
        <pc:spChg chg="add mod">
          <ac:chgData name="Rui Sousa" userId="285bb50d-01dc-4ac6-9db4-995d4d48557e" providerId="ADAL" clId="{46849BC3-4ED1-4F23-BBD8-44E2840BBA72}" dt="2025-12-15T11:17:09.615" v="2416"/>
          <ac:spMkLst>
            <pc:docMk/>
            <pc:sldMk cId="1033876351" sldId="733"/>
            <ac:spMk id="41" creationId="{403D14ED-489F-DE15-A760-DCD3DC442166}"/>
          </ac:spMkLst>
        </pc:spChg>
        <pc:grpChg chg="add mod">
          <ac:chgData name="Rui Sousa" userId="285bb50d-01dc-4ac6-9db4-995d4d48557e" providerId="ADAL" clId="{46849BC3-4ED1-4F23-BBD8-44E2840BBA72}" dt="2025-12-15T11:18:00.818" v="2434" actId="164"/>
          <ac:grpSpMkLst>
            <pc:docMk/>
            <pc:sldMk cId="1033876351" sldId="733"/>
            <ac:grpSpMk id="42" creationId="{827C3E81-6262-DD14-2DEF-4D9FF7AFF6AD}"/>
          </ac:grpSpMkLst>
        </pc:grpChg>
        <pc:picChg chg="add mod">
          <ac:chgData name="Rui Sousa" userId="285bb50d-01dc-4ac6-9db4-995d4d48557e" providerId="ADAL" clId="{46849BC3-4ED1-4F23-BBD8-44E2840BBA72}" dt="2025-12-15T11:18:00.818" v="2434" actId="164"/>
          <ac:picMkLst>
            <pc:docMk/>
            <pc:sldMk cId="1033876351" sldId="733"/>
            <ac:picMk id="4" creationId="{B4E3E30D-5C0E-EF48-B39F-23B58C8FE369}"/>
          </ac:picMkLst>
        </pc:picChg>
        <pc:picChg chg="add mod">
          <ac:chgData name="Rui Sousa" userId="285bb50d-01dc-4ac6-9db4-995d4d48557e" providerId="ADAL" clId="{46849BC3-4ED1-4F23-BBD8-44E2840BBA72}" dt="2025-12-15T11:18:00.818" v="2434" actId="164"/>
          <ac:picMkLst>
            <pc:docMk/>
            <pc:sldMk cId="1033876351" sldId="733"/>
            <ac:picMk id="6" creationId="{985FAA5C-1497-B28B-8727-ED33A23C21E9}"/>
          </ac:picMkLst>
        </pc:picChg>
        <pc:picChg chg="add mod">
          <ac:chgData name="Rui Sousa" userId="285bb50d-01dc-4ac6-9db4-995d4d48557e" providerId="ADAL" clId="{46849BC3-4ED1-4F23-BBD8-44E2840BBA72}" dt="2025-12-15T11:18:00.818" v="2434" actId="164"/>
          <ac:picMkLst>
            <pc:docMk/>
            <pc:sldMk cId="1033876351" sldId="733"/>
            <ac:picMk id="8" creationId="{DB3FCAAE-453F-FA6A-3DC0-E790FDE83612}"/>
          </ac:picMkLst>
        </pc:picChg>
        <pc:picChg chg="add del mod">
          <ac:chgData name="Rui Sousa" userId="285bb50d-01dc-4ac6-9db4-995d4d48557e" providerId="ADAL" clId="{46849BC3-4ED1-4F23-BBD8-44E2840BBA72}" dt="2025-12-15T09:18:35.048" v="833" actId="478"/>
          <ac:picMkLst>
            <pc:docMk/>
            <pc:sldMk cId="1033876351" sldId="733"/>
            <ac:picMk id="10" creationId="{1D35E9A7-D952-5D6D-AB9A-F7D572F352B6}"/>
          </ac:picMkLst>
        </pc:picChg>
        <pc:picChg chg="del">
          <ac:chgData name="Rui Sousa" userId="285bb50d-01dc-4ac6-9db4-995d4d48557e" providerId="ADAL" clId="{46849BC3-4ED1-4F23-BBD8-44E2840BBA72}" dt="2025-12-15T08:51:15.527" v="434" actId="478"/>
          <ac:picMkLst>
            <pc:docMk/>
            <pc:sldMk cId="1033876351" sldId="733"/>
            <ac:picMk id="19" creationId="{BF8C4DDE-8D3D-52E1-D1BB-20F24656B212}"/>
          </ac:picMkLst>
        </pc:picChg>
        <pc:cxnChg chg="add del">
          <ac:chgData name="Rui Sousa" userId="285bb50d-01dc-4ac6-9db4-995d4d48557e" providerId="ADAL" clId="{46849BC3-4ED1-4F23-BBD8-44E2840BBA72}" dt="2025-12-15T09:19:44.701" v="886" actId="478"/>
          <ac:cxnSpMkLst>
            <pc:docMk/>
            <pc:sldMk cId="1033876351" sldId="733"/>
            <ac:cxnSpMk id="12" creationId="{E2EFF2AD-A78F-99A1-04C4-E415AA9B5032}"/>
          </ac:cxnSpMkLst>
        </pc:cxnChg>
        <pc:cxnChg chg="add del mod">
          <ac:chgData name="Rui Sousa" userId="285bb50d-01dc-4ac6-9db4-995d4d48557e" providerId="ADAL" clId="{46849BC3-4ED1-4F23-BBD8-44E2840BBA72}" dt="2025-12-15T09:22:00.200" v="913" actId="478"/>
          <ac:cxnSpMkLst>
            <pc:docMk/>
            <pc:sldMk cId="1033876351" sldId="733"/>
            <ac:cxnSpMk id="15" creationId="{0AE12F06-F7CE-4720-1F81-762C1AFFBDD4}"/>
          </ac:cxnSpMkLst>
        </pc:cxnChg>
        <pc:cxnChg chg="add del mod">
          <ac:chgData name="Rui Sousa" userId="285bb50d-01dc-4ac6-9db4-995d4d48557e" providerId="ADAL" clId="{46849BC3-4ED1-4F23-BBD8-44E2840BBA72}" dt="2025-12-15T09:21:34.591" v="908" actId="478"/>
          <ac:cxnSpMkLst>
            <pc:docMk/>
            <pc:sldMk cId="1033876351" sldId="733"/>
            <ac:cxnSpMk id="18" creationId="{CF08EBE3-0B44-94F2-6321-ED5E05C6C9D3}"/>
          </ac:cxnSpMkLst>
        </pc:cxnChg>
        <pc:cxnChg chg="add mod">
          <ac:chgData name="Rui Sousa" userId="285bb50d-01dc-4ac6-9db4-995d4d48557e" providerId="ADAL" clId="{46849BC3-4ED1-4F23-BBD8-44E2840BBA72}" dt="2025-12-15T11:18:00.818" v="2434" actId="164"/>
          <ac:cxnSpMkLst>
            <pc:docMk/>
            <pc:sldMk cId="1033876351" sldId="733"/>
            <ac:cxnSpMk id="33" creationId="{4BDF999D-4DE0-F103-E778-9B475FA923D8}"/>
          </ac:cxnSpMkLst>
        </pc:cxnChg>
        <pc:cxnChg chg="add mod">
          <ac:chgData name="Rui Sousa" userId="285bb50d-01dc-4ac6-9db4-995d4d48557e" providerId="ADAL" clId="{46849BC3-4ED1-4F23-BBD8-44E2840BBA72}" dt="2025-12-15T11:18:00.818" v="2434" actId="164"/>
          <ac:cxnSpMkLst>
            <pc:docMk/>
            <pc:sldMk cId="1033876351" sldId="733"/>
            <ac:cxnSpMk id="37" creationId="{FE0254B7-895B-22D1-0AA4-FE94F73CB2C7}"/>
          </ac:cxnSpMkLst>
        </pc:cxnChg>
      </pc:sldChg>
      <pc:sldChg chg="modSp new del mod">
        <pc:chgData name="Rui Sousa" userId="285bb50d-01dc-4ac6-9db4-995d4d48557e" providerId="ADAL" clId="{46849BC3-4ED1-4F23-BBD8-44E2840BBA72}" dt="2025-12-15T08:41:24.312" v="352" actId="2696"/>
        <pc:sldMkLst>
          <pc:docMk/>
          <pc:sldMk cId="3329791781" sldId="733"/>
        </pc:sldMkLst>
      </pc:sldChg>
      <pc:sldChg chg="addSp delSp modSp new mod">
        <pc:chgData name="Rui Sousa" userId="285bb50d-01dc-4ac6-9db4-995d4d48557e" providerId="ADAL" clId="{46849BC3-4ED1-4F23-BBD8-44E2840BBA72}" dt="2025-12-15T20:30:53.062" v="5123" actId="790"/>
        <pc:sldMkLst>
          <pc:docMk/>
          <pc:sldMk cId="1292067783" sldId="734"/>
        </pc:sldMkLst>
        <pc:spChg chg="add del">
          <ac:chgData name="Rui Sousa" userId="285bb50d-01dc-4ac6-9db4-995d4d48557e" providerId="ADAL" clId="{46849BC3-4ED1-4F23-BBD8-44E2840BBA72}" dt="2025-12-15T09:41:16.512" v="1241" actId="478"/>
          <ac:spMkLst>
            <pc:docMk/>
            <pc:sldMk cId="1292067783" sldId="734"/>
            <ac:spMk id="2" creationId="{297BA73D-FB39-DA2A-D06E-639136FD17F9}"/>
          </ac:spMkLst>
        </pc:spChg>
        <pc:spChg chg="del">
          <ac:chgData name="Rui Sousa" userId="285bb50d-01dc-4ac6-9db4-995d4d48557e" providerId="ADAL" clId="{46849BC3-4ED1-4F23-BBD8-44E2840BBA72}" dt="2025-12-15T10:03:16.925" v="2012" actId="478"/>
          <ac:spMkLst>
            <pc:docMk/>
            <pc:sldMk cId="1292067783" sldId="734"/>
            <ac:spMk id="4" creationId="{4CB5EB63-7C64-D3A4-7753-BEE21FE6AC4E}"/>
          </ac:spMkLst>
        </pc:spChg>
        <pc:spChg chg="add mod ord">
          <ac:chgData name="Rui Sousa" userId="285bb50d-01dc-4ac6-9db4-995d4d48557e" providerId="ADAL" clId="{46849BC3-4ED1-4F23-BBD8-44E2840BBA72}" dt="2025-12-15T20:30:53.062" v="5123" actId="790"/>
          <ac:spMkLst>
            <pc:docMk/>
            <pc:sldMk cId="1292067783" sldId="734"/>
            <ac:spMk id="5" creationId="{9E0FBC5D-BA60-1C0C-082D-CA1F0AF39CD8}"/>
          </ac:spMkLst>
        </pc:spChg>
        <pc:spChg chg="add mod">
          <ac:chgData name="Rui Sousa" userId="285bb50d-01dc-4ac6-9db4-995d4d48557e" providerId="ADAL" clId="{46849BC3-4ED1-4F23-BBD8-44E2840BBA72}" dt="2025-12-15T09:41:34.379" v="1243" actId="2085"/>
          <ac:spMkLst>
            <pc:docMk/>
            <pc:sldMk cId="1292067783" sldId="734"/>
            <ac:spMk id="6" creationId="{33DA543A-8B2B-EEC3-4272-2DC0BB76E500}"/>
          </ac:spMkLst>
        </pc:spChg>
        <pc:spChg chg="add mod">
          <ac:chgData name="Rui Sousa" userId="285bb50d-01dc-4ac6-9db4-995d4d48557e" providerId="ADAL" clId="{46849BC3-4ED1-4F23-BBD8-44E2840BBA72}" dt="2025-12-15T09:39:01.216" v="1038"/>
          <ac:spMkLst>
            <pc:docMk/>
            <pc:sldMk cId="1292067783" sldId="734"/>
            <ac:spMk id="7" creationId="{39FCEB85-BE60-8F7D-0BCD-D97C4D9E5A7D}"/>
          </ac:spMkLst>
        </pc:spChg>
        <pc:spChg chg="add mod">
          <ac:chgData name="Rui Sousa" userId="285bb50d-01dc-4ac6-9db4-995d4d48557e" providerId="ADAL" clId="{46849BC3-4ED1-4F23-BBD8-44E2840BBA72}" dt="2025-12-15T09:41:34.379" v="1243" actId="2085"/>
          <ac:spMkLst>
            <pc:docMk/>
            <pc:sldMk cId="1292067783" sldId="734"/>
            <ac:spMk id="8" creationId="{05C3EE8A-CD5B-6450-9177-E8A34ABB286D}"/>
          </ac:spMkLst>
        </pc:spChg>
        <pc:spChg chg="add mod ord">
          <ac:chgData name="Rui Sousa" userId="285bb50d-01dc-4ac6-9db4-995d4d48557e" providerId="ADAL" clId="{46849BC3-4ED1-4F23-BBD8-44E2840BBA72}" dt="2025-12-15T20:30:53.062" v="5123" actId="790"/>
          <ac:spMkLst>
            <pc:docMk/>
            <pc:sldMk cId="1292067783" sldId="734"/>
            <ac:spMk id="9" creationId="{A619D6DB-70C1-55CE-746F-50AB3DD13A4A}"/>
          </ac:spMkLst>
        </pc:spChg>
        <pc:spChg chg="add mod">
          <ac:chgData name="Rui Sousa" userId="285bb50d-01dc-4ac6-9db4-995d4d48557e" providerId="ADAL" clId="{46849BC3-4ED1-4F23-BBD8-44E2840BBA72}" dt="2025-12-15T09:41:34.379" v="1243" actId="2085"/>
          <ac:spMkLst>
            <pc:docMk/>
            <pc:sldMk cId="1292067783" sldId="734"/>
            <ac:spMk id="10" creationId="{6F119377-9D27-00BE-2A46-9FB396D3099E}"/>
          </ac:spMkLst>
        </pc:spChg>
        <pc:spChg chg="add mod">
          <ac:chgData name="Rui Sousa" userId="285bb50d-01dc-4ac6-9db4-995d4d48557e" providerId="ADAL" clId="{46849BC3-4ED1-4F23-BBD8-44E2840BBA72}" dt="2025-12-15T10:11:51.340" v="2121" actId="164"/>
          <ac:spMkLst>
            <pc:docMk/>
            <pc:sldMk cId="1292067783" sldId="734"/>
            <ac:spMk id="11" creationId="{E7576E9C-EA7D-3AAB-94EB-B77A003958F1}"/>
          </ac:spMkLst>
        </pc:spChg>
        <pc:spChg chg="add mod">
          <ac:chgData name="Rui Sousa" userId="285bb50d-01dc-4ac6-9db4-995d4d48557e" providerId="ADAL" clId="{46849BC3-4ED1-4F23-BBD8-44E2840BBA72}" dt="2025-12-15T09:41:34.379" v="1243" actId="2085"/>
          <ac:spMkLst>
            <pc:docMk/>
            <pc:sldMk cId="1292067783" sldId="734"/>
            <ac:spMk id="12" creationId="{FCE00186-DE54-5E47-0F72-1DEE36B4667C}"/>
          </ac:spMkLst>
        </pc:spChg>
        <pc:spChg chg="add mod">
          <ac:chgData name="Rui Sousa" userId="285bb50d-01dc-4ac6-9db4-995d4d48557e" providerId="ADAL" clId="{46849BC3-4ED1-4F23-BBD8-44E2840BBA72}" dt="2025-12-15T09:41:34.379" v="1243" actId="2085"/>
          <ac:spMkLst>
            <pc:docMk/>
            <pc:sldMk cId="1292067783" sldId="734"/>
            <ac:spMk id="13" creationId="{0331E97C-9DD8-5A8F-D2D3-98EDF0E2E218}"/>
          </ac:spMkLst>
        </pc:spChg>
        <pc:spChg chg="add mod">
          <ac:chgData name="Rui Sousa" userId="285bb50d-01dc-4ac6-9db4-995d4d48557e" providerId="ADAL" clId="{46849BC3-4ED1-4F23-BBD8-44E2840BBA72}" dt="2025-12-15T09:41:34.379" v="1243" actId="2085"/>
          <ac:spMkLst>
            <pc:docMk/>
            <pc:sldMk cId="1292067783" sldId="734"/>
            <ac:spMk id="14" creationId="{A4D83EDE-5875-ADB2-E9BD-78982A26F5C8}"/>
          </ac:spMkLst>
        </pc:spChg>
        <pc:spChg chg="add mod">
          <ac:chgData name="Rui Sousa" userId="285bb50d-01dc-4ac6-9db4-995d4d48557e" providerId="ADAL" clId="{46849BC3-4ED1-4F23-BBD8-44E2840BBA72}" dt="2025-12-15T09:40:23.111" v="1058"/>
          <ac:spMkLst>
            <pc:docMk/>
            <pc:sldMk cId="1292067783" sldId="734"/>
            <ac:spMk id="15" creationId="{67814D35-C295-9DBF-4F2A-4884C8385FE9}"/>
          </ac:spMkLst>
        </pc:spChg>
        <pc:spChg chg="add mod">
          <ac:chgData name="Rui Sousa" userId="285bb50d-01dc-4ac6-9db4-995d4d48557e" providerId="ADAL" clId="{46849BC3-4ED1-4F23-BBD8-44E2840BBA72}" dt="2025-12-15T09:41:34.379" v="1243" actId="2085"/>
          <ac:spMkLst>
            <pc:docMk/>
            <pc:sldMk cId="1292067783" sldId="734"/>
            <ac:spMk id="16" creationId="{072E899B-95B0-95E3-8C78-CE2F24B8FA4A}"/>
          </ac:spMkLst>
        </pc:spChg>
        <pc:spChg chg="add mod ord">
          <ac:chgData name="Rui Sousa" userId="285bb50d-01dc-4ac6-9db4-995d4d48557e" providerId="ADAL" clId="{46849BC3-4ED1-4F23-BBD8-44E2840BBA72}" dt="2025-12-15T09:42:30.844" v="1262" actId="208"/>
          <ac:spMkLst>
            <pc:docMk/>
            <pc:sldMk cId="1292067783" sldId="734"/>
            <ac:spMk id="17" creationId="{06DF4488-8A40-BDCC-A043-F8FF1ED4EADB}"/>
          </ac:spMkLst>
        </pc:spChg>
        <pc:spChg chg="add mod">
          <ac:chgData name="Rui Sousa" userId="285bb50d-01dc-4ac6-9db4-995d4d48557e" providerId="ADAL" clId="{46849BC3-4ED1-4F23-BBD8-44E2840BBA72}" dt="2025-12-15T20:30:53.062" v="5123" actId="790"/>
          <ac:spMkLst>
            <pc:docMk/>
            <pc:sldMk cId="1292067783" sldId="734"/>
            <ac:spMk id="18" creationId="{A2826EF6-7A52-0225-33A3-20E9FDAD901E}"/>
          </ac:spMkLst>
        </pc:spChg>
        <pc:spChg chg="add mod">
          <ac:chgData name="Rui Sousa" userId="285bb50d-01dc-4ac6-9db4-995d4d48557e" providerId="ADAL" clId="{46849BC3-4ED1-4F23-BBD8-44E2840BBA72}" dt="2025-12-15T09:42:51.055" v="1266" actId="1076"/>
          <ac:spMkLst>
            <pc:docMk/>
            <pc:sldMk cId="1292067783" sldId="734"/>
            <ac:spMk id="19" creationId="{56F22D74-8B2A-2460-6294-1063788BC7F4}"/>
          </ac:spMkLst>
        </pc:spChg>
        <pc:spChg chg="add mod">
          <ac:chgData name="Rui Sousa" userId="285bb50d-01dc-4ac6-9db4-995d4d48557e" providerId="ADAL" clId="{46849BC3-4ED1-4F23-BBD8-44E2840BBA72}" dt="2025-12-15T09:42:56.185" v="1268" actId="1076"/>
          <ac:spMkLst>
            <pc:docMk/>
            <pc:sldMk cId="1292067783" sldId="734"/>
            <ac:spMk id="20" creationId="{306E615A-84DC-3A01-510E-856B27113D23}"/>
          </ac:spMkLst>
        </pc:spChg>
        <pc:spChg chg="add mod">
          <ac:chgData name="Rui Sousa" userId="285bb50d-01dc-4ac6-9db4-995d4d48557e" providerId="ADAL" clId="{46849BC3-4ED1-4F23-BBD8-44E2840BBA72}" dt="2025-12-15T09:43:03.879" v="1270" actId="1076"/>
          <ac:spMkLst>
            <pc:docMk/>
            <pc:sldMk cId="1292067783" sldId="734"/>
            <ac:spMk id="21" creationId="{A09796CA-1331-76A9-48EB-D92B6824935E}"/>
          </ac:spMkLst>
        </pc:spChg>
        <pc:spChg chg="add mod">
          <ac:chgData name="Rui Sousa" userId="285bb50d-01dc-4ac6-9db4-995d4d48557e" providerId="ADAL" clId="{46849BC3-4ED1-4F23-BBD8-44E2840BBA72}" dt="2025-12-15T09:44:24.267" v="1295" actId="404"/>
          <ac:spMkLst>
            <pc:docMk/>
            <pc:sldMk cId="1292067783" sldId="734"/>
            <ac:spMk id="22" creationId="{0159E63A-4B0D-9C1A-68A1-28A397A24A6C}"/>
          </ac:spMkLst>
        </pc:spChg>
        <pc:spChg chg="add mod">
          <ac:chgData name="Rui Sousa" userId="285bb50d-01dc-4ac6-9db4-995d4d48557e" providerId="ADAL" clId="{46849BC3-4ED1-4F23-BBD8-44E2840BBA72}" dt="2025-12-15T09:44:49.467" v="1298" actId="20577"/>
          <ac:spMkLst>
            <pc:docMk/>
            <pc:sldMk cId="1292067783" sldId="734"/>
            <ac:spMk id="23" creationId="{9D5C3F92-E993-43D0-5C8D-B1D4D81929FB}"/>
          </ac:spMkLst>
        </pc:spChg>
        <pc:spChg chg="add mod">
          <ac:chgData name="Rui Sousa" userId="285bb50d-01dc-4ac6-9db4-995d4d48557e" providerId="ADAL" clId="{46849BC3-4ED1-4F23-BBD8-44E2840BBA72}" dt="2025-12-15T20:30:53.062" v="5123" actId="790"/>
          <ac:spMkLst>
            <pc:docMk/>
            <pc:sldMk cId="1292067783" sldId="734"/>
            <ac:spMk id="24" creationId="{47C4E7EE-294A-62C0-73E6-8EFCDEEDFB8D}"/>
          </ac:spMkLst>
        </pc:spChg>
        <pc:spChg chg="add mod">
          <ac:chgData name="Rui Sousa" userId="285bb50d-01dc-4ac6-9db4-995d4d48557e" providerId="ADAL" clId="{46849BC3-4ED1-4F23-BBD8-44E2840BBA72}" dt="2025-12-15T20:30:53.062" v="5123" actId="790"/>
          <ac:spMkLst>
            <pc:docMk/>
            <pc:sldMk cId="1292067783" sldId="734"/>
            <ac:spMk id="25" creationId="{022053EE-360D-33DE-0B4D-62DF7BD06822}"/>
          </ac:spMkLst>
        </pc:spChg>
        <pc:spChg chg="add mod">
          <ac:chgData name="Rui Sousa" userId="285bb50d-01dc-4ac6-9db4-995d4d48557e" providerId="ADAL" clId="{46849BC3-4ED1-4F23-BBD8-44E2840BBA72}" dt="2025-12-15T09:45:05.178" v="1310" actId="20577"/>
          <ac:spMkLst>
            <pc:docMk/>
            <pc:sldMk cId="1292067783" sldId="734"/>
            <ac:spMk id="26" creationId="{20819537-CFAF-438A-B00C-753F62AE6005}"/>
          </ac:spMkLst>
        </pc:spChg>
        <pc:spChg chg="add mod ord">
          <ac:chgData name="Rui Sousa" userId="285bb50d-01dc-4ac6-9db4-995d4d48557e" providerId="ADAL" clId="{46849BC3-4ED1-4F23-BBD8-44E2840BBA72}" dt="2025-12-15T09:46:55.583" v="1319" actId="1076"/>
          <ac:spMkLst>
            <pc:docMk/>
            <pc:sldMk cId="1292067783" sldId="734"/>
            <ac:spMk id="29" creationId="{1B839356-78EA-2F5B-0EAE-9B2731ADCC5A}"/>
          </ac:spMkLst>
        </pc:spChg>
        <pc:spChg chg="add mod ord">
          <ac:chgData name="Rui Sousa" userId="285bb50d-01dc-4ac6-9db4-995d4d48557e" providerId="ADAL" clId="{46849BC3-4ED1-4F23-BBD8-44E2840BBA72}" dt="2025-12-15T20:30:53.062" v="5123" actId="790"/>
          <ac:spMkLst>
            <pc:docMk/>
            <pc:sldMk cId="1292067783" sldId="734"/>
            <ac:spMk id="31" creationId="{6FC505A2-503F-5A35-5031-FD182EC2B4A9}"/>
          </ac:spMkLst>
        </pc:spChg>
        <pc:spChg chg="add mod ord">
          <ac:chgData name="Rui Sousa" userId="285bb50d-01dc-4ac6-9db4-995d4d48557e" providerId="ADAL" clId="{46849BC3-4ED1-4F23-BBD8-44E2840BBA72}" dt="2025-12-15T20:30:53.062" v="5123" actId="790"/>
          <ac:spMkLst>
            <pc:docMk/>
            <pc:sldMk cId="1292067783" sldId="734"/>
            <ac:spMk id="33" creationId="{6050D27B-36DC-D474-838C-7CF923094337}"/>
          </ac:spMkLst>
        </pc:spChg>
        <pc:spChg chg="add mod">
          <ac:chgData name="Rui Sousa" userId="285bb50d-01dc-4ac6-9db4-995d4d48557e" providerId="ADAL" clId="{46849BC3-4ED1-4F23-BBD8-44E2840BBA72}" dt="2025-12-15T20:30:53.062" v="5123" actId="790"/>
          <ac:spMkLst>
            <pc:docMk/>
            <pc:sldMk cId="1292067783" sldId="734"/>
            <ac:spMk id="35" creationId="{B1A577D2-26C5-AB3E-68F5-4451DDDB9F85}"/>
          </ac:spMkLst>
        </pc:spChg>
        <pc:spChg chg="mod">
          <ac:chgData name="Rui Sousa" userId="285bb50d-01dc-4ac6-9db4-995d4d48557e" providerId="ADAL" clId="{46849BC3-4ED1-4F23-BBD8-44E2840BBA72}" dt="2025-12-15T09:48:42.574" v="1562"/>
          <ac:spMkLst>
            <pc:docMk/>
            <pc:sldMk cId="1292067783" sldId="734"/>
            <ac:spMk id="39" creationId="{BA855E72-A613-2EEE-0C52-9076FCCE1783}"/>
          </ac:spMkLst>
        </pc:spChg>
        <pc:spChg chg="mod">
          <ac:chgData name="Rui Sousa" userId="285bb50d-01dc-4ac6-9db4-995d4d48557e" providerId="ADAL" clId="{46849BC3-4ED1-4F23-BBD8-44E2840BBA72}" dt="2025-12-15T20:30:53.062" v="5123" actId="790"/>
          <ac:spMkLst>
            <pc:docMk/>
            <pc:sldMk cId="1292067783" sldId="734"/>
            <ac:spMk id="43" creationId="{D529D81C-8736-DF8B-5CCE-5C746ABD9FCB}"/>
          </ac:spMkLst>
        </pc:spChg>
        <pc:spChg chg="add mod">
          <ac:chgData name="Rui Sousa" userId="285bb50d-01dc-4ac6-9db4-995d4d48557e" providerId="ADAL" clId="{46849BC3-4ED1-4F23-BBD8-44E2840BBA72}" dt="2025-12-15T10:16:19.080" v="2262" actId="1036"/>
          <ac:spMkLst>
            <pc:docMk/>
            <pc:sldMk cId="1292067783" sldId="734"/>
            <ac:spMk id="45" creationId="{EB3361B1-11A0-6A29-B575-5F46F8F08880}"/>
          </ac:spMkLst>
        </pc:spChg>
        <pc:spChg chg="add mod">
          <ac:chgData name="Rui Sousa" userId="285bb50d-01dc-4ac6-9db4-995d4d48557e" providerId="ADAL" clId="{46849BC3-4ED1-4F23-BBD8-44E2840BBA72}" dt="2025-12-15T10:16:58.389" v="2289" actId="14100"/>
          <ac:spMkLst>
            <pc:docMk/>
            <pc:sldMk cId="1292067783" sldId="734"/>
            <ac:spMk id="46" creationId="{0FDEF01E-BDBF-7B74-CB6D-B3A59E32C6CA}"/>
          </ac:spMkLst>
        </pc:spChg>
        <pc:spChg chg="add mod">
          <ac:chgData name="Rui Sousa" userId="285bb50d-01dc-4ac6-9db4-995d4d48557e" providerId="ADAL" clId="{46849BC3-4ED1-4F23-BBD8-44E2840BBA72}" dt="2025-12-15T10:11:51.340" v="2121" actId="164"/>
          <ac:spMkLst>
            <pc:docMk/>
            <pc:sldMk cId="1292067783" sldId="734"/>
            <ac:spMk id="47" creationId="{342568A4-79F1-63F4-DD5C-37E644E66E8B}"/>
          </ac:spMkLst>
        </pc:spChg>
        <pc:spChg chg="add mod">
          <ac:chgData name="Rui Sousa" userId="285bb50d-01dc-4ac6-9db4-995d4d48557e" providerId="ADAL" clId="{46849BC3-4ED1-4F23-BBD8-44E2840BBA72}" dt="2025-12-15T10:16:35.809" v="2285" actId="1038"/>
          <ac:spMkLst>
            <pc:docMk/>
            <pc:sldMk cId="1292067783" sldId="734"/>
            <ac:spMk id="48" creationId="{7503CD94-6B75-6D4F-9F22-9F25E139A77E}"/>
          </ac:spMkLst>
        </pc:spChg>
        <pc:spChg chg="add del mod">
          <ac:chgData name="Rui Sousa" userId="285bb50d-01dc-4ac6-9db4-995d4d48557e" providerId="ADAL" clId="{46849BC3-4ED1-4F23-BBD8-44E2840BBA72}" dt="2025-12-15T09:53:49.551" v="1856" actId="478"/>
          <ac:spMkLst>
            <pc:docMk/>
            <pc:sldMk cId="1292067783" sldId="734"/>
            <ac:spMk id="50" creationId="{4F2BE12C-9D7E-785D-C208-8CE6A6AD5ED2}"/>
          </ac:spMkLst>
        </pc:spChg>
        <pc:spChg chg="add mod">
          <ac:chgData name="Rui Sousa" userId="285bb50d-01dc-4ac6-9db4-995d4d48557e" providerId="ADAL" clId="{46849BC3-4ED1-4F23-BBD8-44E2840BBA72}" dt="2025-12-15T10:16:28.649" v="2273" actId="1038"/>
          <ac:spMkLst>
            <pc:docMk/>
            <pc:sldMk cId="1292067783" sldId="734"/>
            <ac:spMk id="51" creationId="{C89927A5-0F13-B791-FBE2-0421D81A4245}"/>
          </ac:spMkLst>
        </pc:spChg>
        <pc:spChg chg="add del mod">
          <ac:chgData name="Rui Sousa" userId="285bb50d-01dc-4ac6-9db4-995d4d48557e" providerId="ADAL" clId="{46849BC3-4ED1-4F23-BBD8-44E2840BBA72}" dt="2025-12-15T10:04:30.441" v="2042" actId="478"/>
          <ac:spMkLst>
            <pc:docMk/>
            <pc:sldMk cId="1292067783" sldId="734"/>
            <ac:spMk id="52" creationId="{5B90E49D-0EB7-70ED-B69D-536AAFED60E8}"/>
          </ac:spMkLst>
        </pc:spChg>
        <pc:spChg chg="add del mod">
          <ac:chgData name="Rui Sousa" userId="285bb50d-01dc-4ac6-9db4-995d4d48557e" providerId="ADAL" clId="{46849BC3-4ED1-4F23-BBD8-44E2840BBA72}" dt="2025-12-15T10:01:08.874" v="1922" actId="478"/>
          <ac:spMkLst>
            <pc:docMk/>
            <pc:sldMk cId="1292067783" sldId="734"/>
            <ac:spMk id="53" creationId="{4B4E14B8-C150-26CA-6A7D-FBA4C86DD531}"/>
          </ac:spMkLst>
        </pc:spChg>
        <pc:spChg chg="add del mod">
          <ac:chgData name="Rui Sousa" userId="285bb50d-01dc-4ac6-9db4-995d4d48557e" providerId="ADAL" clId="{46849BC3-4ED1-4F23-BBD8-44E2840BBA72}" dt="2025-12-15T10:12:02.522" v="2124" actId="478"/>
          <ac:spMkLst>
            <pc:docMk/>
            <pc:sldMk cId="1292067783" sldId="734"/>
            <ac:spMk id="55" creationId="{B5135069-4A74-3CF5-F766-90B90ECAF927}"/>
          </ac:spMkLst>
        </pc:spChg>
        <pc:spChg chg="add">
          <ac:chgData name="Rui Sousa" userId="285bb50d-01dc-4ac6-9db4-995d4d48557e" providerId="ADAL" clId="{46849BC3-4ED1-4F23-BBD8-44E2840BBA72}" dt="2025-12-15T09:59:35.052" v="1912"/>
          <ac:spMkLst>
            <pc:docMk/>
            <pc:sldMk cId="1292067783" sldId="734"/>
            <ac:spMk id="56" creationId="{1E76D803-F9A9-658D-9F53-EB9220EC92D8}"/>
          </ac:spMkLst>
        </pc:spChg>
        <pc:spChg chg="add del mod">
          <ac:chgData name="Rui Sousa" userId="285bb50d-01dc-4ac6-9db4-995d4d48557e" providerId="ADAL" clId="{46849BC3-4ED1-4F23-BBD8-44E2840BBA72}" dt="2025-12-15T10:12:01.265" v="2123" actId="478"/>
          <ac:spMkLst>
            <pc:docMk/>
            <pc:sldMk cId="1292067783" sldId="734"/>
            <ac:spMk id="57" creationId="{6A0E9579-D897-EED9-BAEE-47D92FE442FE}"/>
          </ac:spMkLst>
        </pc:spChg>
        <pc:spChg chg="add mod">
          <ac:chgData name="Rui Sousa" userId="285bb50d-01dc-4ac6-9db4-995d4d48557e" providerId="ADAL" clId="{46849BC3-4ED1-4F23-BBD8-44E2840BBA72}" dt="2025-12-15T10:10:32.461" v="2106" actId="1076"/>
          <ac:spMkLst>
            <pc:docMk/>
            <pc:sldMk cId="1292067783" sldId="734"/>
            <ac:spMk id="59" creationId="{39A13A19-70C4-69AD-190F-FDB7FFC76638}"/>
          </ac:spMkLst>
        </pc:spChg>
        <pc:spChg chg="add mod">
          <ac:chgData name="Rui Sousa" userId="285bb50d-01dc-4ac6-9db4-995d4d48557e" providerId="ADAL" clId="{46849BC3-4ED1-4F23-BBD8-44E2840BBA72}" dt="2025-12-15T10:11:20.001" v="2120" actId="20577"/>
          <ac:spMkLst>
            <pc:docMk/>
            <pc:sldMk cId="1292067783" sldId="734"/>
            <ac:spMk id="61" creationId="{2D8FCCA9-E176-0128-74EF-ED76D0E9D341}"/>
          </ac:spMkLst>
        </pc:spChg>
        <pc:spChg chg="add mod">
          <ac:chgData name="Rui Sousa" userId="285bb50d-01dc-4ac6-9db4-995d4d48557e" providerId="ADAL" clId="{46849BC3-4ED1-4F23-BBD8-44E2840BBA72}" dt="2025-12-15T20:30:53.062" v="5123" actId="790"/>
          <ac:spMkLst>
            <pc:docMk/>
            <pc:sldMk cId="1292067783" sldId="734"/>
            <ac:spMk id="63" creationId="{2CE3CEA6-A03D-5A3E-8BC7-98B38E556FCD}"/>
          </ac:spMkLst>
        </pc:spChg>
        <pc:grpChg chg="add mod ord">
          <ac:chgData name="Rui Sousa" userId="285bb50d-01dc-4ac6-9db4-995d4d48557e" providerId="ADAL" clId="{46849BC3-4ED1-4F23-BBD8-44E2840BBA72}" dt="2025-12-15T09:49:07.317" v="1571" actId="167"/>
          <ac:grpSpMkLst>
            <pc:docMk/>
            <pc:sldMk cId="1292067783" sldId="734"/>
            <ac:grpSpMk id="36" creationId="{6E47612A-E4CA-1F03-6F1E-3C9E87F976E3}"/>
          </ac:grpSpMkLst>
        </pc:grpChg>
        <pc:grpChg chg="add mod">
          <ac:chgData name="Rui Sousa" userId="285bb50d-01dc-4ac6-9db4-995d4d48557e" providerId="ADAL" clId="{46849BC3-4ED1-4F23-BBD8-44E2840BBA72}" dt="2025-12-15T09:48:46.735" v="1564" actId="1076"/>
          <ac:grpSpMkLst>
            <pc:docMk/>
            <pc:sldMk cId="1292067783" sldId="734"/>
            <ac:grpSpMk id="37" creationId="{90F8E3EC-255D-3E99-0B71-E1B14A341CA8}"/>
          </ac:grpSpMkLst>
        </pc:grpChg>
        <pc:grpChg chg="add mod ord">
          <ac:chgData name="Rui Sousa" userId="285bb50d-01dc-4ac6-9db4-995d4d48557e" providerId="ADAL" clId="{46849BC3-4ED1-4F23-BBD8-44E2840BBA72}" dt="2025-12-15T09:49:21.149" v="1574" actId="167"/>
          <ac:grpSpMkLst>
            <pc:docMk/>
            <pc:sldMk cId="1292067783" sldId="734"/>
            <ac:grpSpMk id="41" creationId="{9C313B4C-C48F-CDC3-69B2-C0FB6DB82616}"/>
          </ac:grpSpMkLst>
        </pc:grpChg>
        <pc:picChg chg="add mod">
          <ac:chgData name="Rui Sousa" userId="285bb50d-01dc-4ac6-9db4-995d4d48557e" providerId="ADAL" clId="{46849BC3-4ED1-4F23-BBD8-44E2840BBA72}" dt="2025-12-15T10:16:51.631" v="2287" actId="1076"/>
          <ac:picMkLst>
            <pc:docMk/>
            <pc:sldMk cId="1292067783" sldId="734"/>
            <ac:picMk id="58" creationId="{4A2F48C1-D411-A3A6-E311-E0AC09C544C0}"/>
          </ac:picMkLst>
        </pc:picChg>
        <pc:picChg chg="add mod">
          <ac:chgData name="Rui Sousa" userId="285bb50d-01dc-4ac6-9db4-995d4d48557e" providerId="ADAL" clId="{46849BC3-4ED1-4F23-BBD8-44E2840BBA72}" dt="2025-12-15T10:11:05.905" v="2110" actId="1076"/>
          <ac:picMkLst>
            <pc:docMk/>
            <pc:sldMk cId="1292067783" sldId="734"/>
            <ac:picMk id="60" creationId="{777EB8B3-79CB-E03E-FDD5-06F6D39B6691}"/>
          </ac:picMkLst>
        </pc:picChg>
        <pc:picChg chg="add del mod">
          <ac:chgData name="Rui Sousa" userId="285bb50d-01dc-4ac6-9db4-995d4d48557e" providerId="ADAL" clId="{46849BC3-4ED1-4F23-BBD8-44E2840BBA72}" dt="2025-12-15T10:01:01.535" v="1919" actId="478"/>
          <ac:picMkLst>
            <pc:docMk/>
            <pc:sldMk cId="1292067783" sldId="734"/>
            <ac:picMk id="2052" creationId="{AAC4C7C4-8B83-AEC0-B4AE-A6E02CDE6D57}"/>
          </ac:picMkLst>
        </pc:picChg>
        <pc:picChg chg="add mod">
          <ac:chgData name="Rui Sousa" userId="285bb50d-01dc-4ac6-9db4-995d4d48557e" providerId="ADAL" clId="{46849BC3-4ED1-4F23-BBD8-44E2840BBA72}" dt="2025-12-15T10:02:32.473" v="1953" actId="1076"/>
          <ac:picMkLst>
            <pc:docMk/>
            <pc:sldMk cId="1292067783" sldId="734"/>
            <ac:picMk id="2054" creationId="{B08C24B8-6BF3-C363-CE10-9C707C79E76D}"/>
          </ac:picMkLst>
        </pc:picChg>
        <pc:picChg chg="add mod">
          <ac:chgData name="Rui Sousa" userId="285bb50d-01dc-4ac6-9db4-995d4d48557e" providerId="ADAL" clId="{46849BC3-4ED1-4F23-BBD8-44E2840BBA72}" dt="2025-12-15T10:05:12.618" v="2049" actId="1076"/>
          <ac:picMkLst>
            <pc:docMk/>
            <pc:sldMk cId="1292067783" sldId="734"/>
            <ac:picMk id="2056" creationId="{3C6C75B2-AB52-EE48-9394-4EA031435D77}"/>
          </ac:picMkLst>
        </pc:picChg>
        <pc:picChg chg="add mod">
          <ac:chgData name="Rui Sousa" userId="285bb50d-01dc-4ac6-9db4-995d4d48557e" providerId="ADAL" clId="{46849BC3-4ED1-4F23-BBD8-44E2840BBA72}" dt="2025-12-15T10:06:45.286" v="2062" actId="1076"/>
          <ac:picMkLst>
            <pc:docMk/>
            <pc:sldMk cId="1292067783" sldId="734"/>
            <ac:picMk id="2058" creationId="{370627C4-EF6B-6AC8-2ED2-41A013C9C362}"/>
          </ac:picMkLst>
        </pc:picChg>
        <pc:picChg chg="add mod">
          <ac:chgData name="Rui Sousa" userId="285bb50d-01dc-4ac6-9db4-995d4d48557e" providerId="ADAL" clId="{46849BC3-4ED1-4F23-BBD8-44E2840BBA72}" dt="2025-12-15T10:07:47.177" v="2073" actId="1076"/>
          <ac:picMkLst>
            <pc:docMk/>
            <pc:sldMk cId="1292067783" sldId="734"/>
            <ac:picMk id="2060" creationId="{0BFF26BA-092E-CD00-8040-EF44CC017F7E}"/>
          </ac:picMkLst>
        </pc:picChg>
        <pc:picChg chg="add mod">
          <ac:chgData name="Rui Sousa" userId="285bb50d-01dc-4ac6-9db4-995d4d48557e" providerId="ADAL" clId="{46849BC3-4ED1-4F23-BBD8-44E2840BBA72}" dt="2025-12-15T10:10:48.793" v="2108" actId="1076"/>
          <ac:picMkLst>
            <pc:docMk/>
            <pc:sldMk cId="1292067783" sldId="734"/>
            <ac:picMk id="2062" creationId="{B21A1C55-DA2F-7A3F-21F2-9E9571395D53}"/>
          </ac:picMkLst>
        </pc:picChg>
        <pc:cxnChg chg="add mod ord">
          <ac:chgData name="Rui Sousa" userId="285bb50d-01dc-4ac6-9db4-995d4d48557e" providerId="ADAL" clId="{46849BC3-4ED1-4F23-BBD8-44E2840BBA72}" dt="2025-12-15T09:46:53.160" v="1318" actId="1076"/>
          <ac:cxnSpMkLst>
            <pc:docMk/>
            <pc:sldMk cId="1292067783" sldId="734"/>
            <ac:cxnSpMk id="28" creationId="{5E1C8E67-45C8-FFD7-8CC8-DC8EAC3FFE7E}"/>
          </ac:cxnSpMkLst>
        </pc:cxnChg>
        <pc:cxnChg chg="add mod ord">
          <ac:chgData name="Rui Sousa" userId="285bb50d-01dc-4ac6-9db4-995d4d48557e" providerId="ADAL" clId="{46849BC3-4ED1-4F23-BBD8-44E2840BBA72}" dt="2025-12-15T09:47:30.460" v="1393" actId="167"/>
          <ac:cxnSpMkLst>
            <pc:docMk/>
            <pc:sldMk cId="1292067783" sldId="734"/>
            <ac:cxnSpMk id="30" creationId="{535B8966-6E54-E79C-EA5A-DF649339CD6D}"/>
          </ac:cxnSpMkLst>
        </pc:cxnChg>
        <pc:cxnChg chg="add mod ord">
          <ac:chgData name="Rui Sousa" userId="285bb50d-01dc-4ac6-9db4-995d4d48557e" providerId="ADAL" clId="{46849BC3-4ED1-4F23-BBD8-44E2840BBA72}" dt="2025-12-15T09:47:56.192" v="1484" actId="167"/>
          <ac:cxnSpMkLst>
            <pc:docMk/>
            <pc:sldMk cId="1292067783" sldId="734"/>
            <ac:cxnSpMk id="32" creationId="{76944E98-CB60-11AC-0C7F-0B45542CF484}"/>
          </ac:cxnSpMkLst>
        </pc:cxnChg>
        <pc:cxnChg chg="add mod">
          <ac:chgData name="Rui Sousa" userId="285bb50d-01dc-4ac6-9db4-995d4d48557e" providerId="ADAL" clId="{46849BC3-4ED1-4F23-BBD8-44E2840BBA72}" dt="2025-12-15T09:48:55.723" v="1569" actId="14100"/>
          <ac:cxnSpMkLst>
            <pc:docMk/>
            <pc:sldMk cId="1292067783" sldId="734"/>
            <ac:cxnSpMk id="34" creationId="{7464EE8F-CE96-B005-7362-E522452C1BCB}"/>
          </ac:cxnSpMkLst>
        </pc:cxnChg>
        <pc:cxnChg chg="mod">
          <ac:chgData name="Rui Sousa" userId="285bb50d-01dc-4ac6-9db4-995d4d48557e" providerId="ADAL" clId="{46849BC3-4ED1-4F23-BBD8-44E2840BBA72}" dt="2025-12-15T09:48:42.574" v="1562"/>
          <ac:cxnSpMkLst>
            <pc:docMk/>
            <pc:sldMk cId="1292067783" sldId="734"/>
            <ac:cxnSpMk id="38" creationId="{8A546928-5495-410D-9279-A9CEDBD2B098}"/>
          </ac:cxnSpMkLst>
        </pc:cxnChg>
        <pc:cxnChg chg="mod">
          <ac:chgData name="Rui Sousa" userId="285bb50d-01dc-4ac6-9db4-995d4d48557e" providerId="ADAL" clId="{46849BC3-4ED1-4F23-BBD8-44E2840BBA72}" dt="2025-12-15T09:49:08.854" v="1572"/>
          <ac:cxnSpMkLst>
            <pc:docMk/>
            <pc:sldMk cId="1292067783" sldId="734"/>
            <ac:cxnSpMk id="42" creationId="{D9534720-69CC-A31D-DD94-82535E97958B}"/>
          </ac:cxnSpMkLst>
        </pc:cxnChg>
      </pc:sldChg>
      <pc:sldChg chg="add del">
        <pc:chgData name="Rui Sousa" userId="285bb50d-01dc-4ac6-9db4-995d4d48557e" providerId="ADAL" clId="{46849BC3-4ED1-4F23-BBD8-44E2840BBA72}" dt="2025-12-15T10:25:18.969" v="2292" actId="2890"/>
        <pc:sldMkLst>
          <pc:docMk/>
          <pc:sldMk cId="2716450425" sldId="735"/>
        </pc:sldMkLst>
      </pc:sldChg>
      <pc:sldChg chg="addSp delSp modSp add del mod">
        <pc:chgData name="Rui Sousa" userId="285bb50d-01dc-4ac6-9db4-995d4d48557e" providerId="ADAL" clId="{46849BC3-4ED1-4F23-BBD8-44E2840BBA72}" dt="2025-12-15T11:25:57.876" v="2455" actId="47"/>
        <pc:sldMkLst>
          <pc:docMk/>
          <pc:sldMk cId="3961712715" sldId="735"/>
        </pc:sldMkLst>
        <pc:picChg chg="add del">
          <ac:chgData name="Rui Sousa" userId="285bb50d-01dc-4ac6-9db4-995d4d48557e" providerId="ADAL" clId="{46849BC3-4ED1-4F23-BBD8-44E2840BBA72}" dt="2025-12-15T10:25:32.450" v="2295" actId="478"/>
          <ac:picMkLst>
            <pc:docMk/>
            <pc:sldMk cId="3961712715" sldId="735"/>
            <ac:picMk id="3" creationId="{C57F1D37-1945-97A7-7BEA-9EC74B9D3B1F}"/>
          </ac:picMkLst>
        </pc:picChg>
        <pc:picChg chg="add del mod">
          <ac:chgData name="Rui Sousa" userId="285bb50d-01dc-4ac6-9db4-995d4d48557e" providerId="ADAL" clId="{46849BC3-4ED1-4F23-BBD8-44E2840BBA72}" dt="2025-12-15T10:26:01.400" v="2300" actId="478"/>
          <ac:picMkLst>
            <pc:docMk/>
            <pc:sldMk cId="3961712715" sldId="735"/>
            <ac:picMk id="5" creationId="{9EC5EE9F-F06C-EDE0-5C82-28176CFDAFB5}"/>
          </ac:picMkLst>
        </pc:picChg>
      </pc:sldChg>
      <pc:sldChg chg="addSp delSp modSp new mod modClrScheme chgLayout">
        <pc:chgData name="Rui Sousa" userId="285bb50d-01dc-4ac6-9db4-995d4d48557e" providerId="ADAL" clId="{46849BC3-4ED1-4F23-BBD8-44E2840BBA72}" dt="2025-12-15T20:30:53.062" v="5123" actId="790"/>
        <pc:sldMkLst>
          <pc:docMk/>
          <pc:sldMk cId="3046978176" sldId="736"/>
        </pc:sldMkLst>
        <pc:spChg chg="add del mod">
          <ac:chgData name="Rui Sousa" userId="285bb50d-01dc-4ac6-9db4-995d4d48557e" providerId="ADAL" clId="{46849BC3-4ED1-4F23-BBD8-44E2840BBA72}" dt="2025-12-15T20:30:53.062" v="5123" actId="790"/>
          <ac:spMkLst>
            <pc:docMk/>
            <pc:sldMk cId="3046978176" sldId="736"/>
            <ac:spMk id="2" creationId="{4A5A3B7E-D8D1-9351-DADF-57DAFEEA89DB}"/>
          </ac:spMkLst>
        </pc:spChg>
        <pc:spChg chg="mod ord modVis">
          <ac:chgData name="Rui Sousa" userId="285bb50d-01dc-4ac6-9db4-995d4d48557e" providerId="ADAL" clId="{46849BC3-4ED1-4F23-BBD8-44E2840BBA72}" dt="2025-12-15T20:30:53.062" v="5123" actId="790"/>
          <ac:spMkLst>
            <pc:docMk/>
            <pc:sldMk cId="3046978176" sldId="736"/>
            <ac:spMk id="3" creationId="{49837E3B-FFD5-3872-3DF7-808EE6B1BD53}"/>
          </ac:spMkLst>
        </pc:spChg>
        <pc:spChg chg="mod">
          <ac:chgData name="Rui Sousa" userId="285bb50d-01dc-4ac6-9db4-995d4d48557e" providerId="ADAL" clId="{46849BC3-4ED1-4F23-BBD8-44E2840BBA72}" dt="2025-12-15T20:30:53.062" v="5123" actId="790"/>
          <ac:spMkLst>
            <pc:docMk/>
            <pc:sldMk cId="3046978176" sldId="736"/>
            <ac:spMk id="4" creationId="{7AD27DF0-14E3-B7EF-F181-D2B3DB09C7B2}"/>
          </ac:spMkLst>
        </pc:spChg>
        <pc:picChg chg="add del mod">
          <ac:chgData name="Rui Sousa" userId="285bb50d-01dc-4ac6-9db4-995d4d48557e" providerId="ADAL" clId="{46849BC3-4ED1-4F23-BBD8-44E2840BBA72}" dt="2025-12-15T12:01:54.423" v="2557" actId="21"/>
          <ac:picMkLst>
            <pc:docMk/>
            <pc:sldMk cId="3046978176" sldId="736"/>
            <ac:picMk id="6" creationId="{20E4274E-50E6-EEA2-A4B8-ECABFD98DFB3}"/>
          </ac:picMkLst>
        </pc:picChg>
        <pc:picChg chg="add del mod">
          <ac:chgData name="Rui Sousa" userId="285bb50d-01dc-4ac6-9db4-995d4d48557e" providerId="ADAL" clId="{46849BC3-4ED1-4F23-BBD8-44E2840BBA72}" dt="2025-12-15T12:01:54.423" v="2557" actId="21"/>
          <ac:picMkLst>
            <pc:docMk/>
            <pc:sldMk cId="3046978176" sldId="736"/>
            <ac:picMk id="8" creationId="{FBD4D5A2-4C98-44BC-E977-097DC1D80F86}"/>
          </ac:picMkLst>
        </pc:picChg>
      </pc:sldChg>
      <pc:sldChg chg="addSp delSp modSp new mod ord">
        <pc:chgData name="Rui Sousa" userId="285bb50d-01dc-4ac6-9db4-995d4d48557e" providerId="ADAL" clId="{46849BC3-4ED1-4F23-BBD8-44E2840BBA72}" dt="2025-12-15T20:30:53.062" v="5123" actId="790"/>
        <pc:sldMkLst>
          <pc:docMk/>
          <pc:sldMk cId="1707030635" sldId="737"/>
        </pc:sldMkLst>
        <pc:spChg chg="add del">
          <ac:chgData name="Rui Sousa" userId="285bb50d-01dc-4ac6-9db4-995d4d48557e" providerId="ADAL" clId="{46849BC3-4ED1-4F23-BBD8-44E2840BBA72}" dt="2025-12-15T11:18:19.836" v="2437" actId="478"/>
          <ac:spMkLst>
            <pc:docMk/>
            <pc:sldMk cId="1707030635" sldId="737"/>
            <ac:spMk id="2" creationId="{6C277B95-5E3B-9208-08EA-4B98C21BF67E}"/>
          </ac:spMkLst>
        </pc:spChg>
        <pc:spChg chg="mod">
          <ac:chgData name="Rui Sousa" userId="285bb50d-01dc-4ac6-9db4-995d4d48557e" providerId="ADAL" clId="{46849BC3-4ED1-4F23-BBD8-44E2840BBA72}" dt="2025-12-15T20:30:53.062" v="5123" actId="790"/>
          <ac:spMkLst>
            <pc:docMk/>
            <pc:sldMk cId="1707030635" sldId="737"/>
            <ac:spMk id="3" creationId="{C401BC13-7A2D-78CC-2EE7-32F35670B7A0}"/>
          </ac:spMkLst>
        </pc:spChg>
        <pc:spChg chg="add del">
          <ac:chgData name="Rui Sousa" userId="285bb50d-01dc-4ac6-9db4-995d4d48557e" providerId="ADAL" clId="{46849BC3-4ED1-4F23-BBD8-44E2840BBA72}" dt="2025-12-15T11:18:17.042" v="2436" actId="478"/>
          <ac:spMkLst>
            <pc:docMk/>
            <pc:sldMk cId="1707030635" sldId="737"/>
            <ac:spMk id="4" creationId="{0A6E35C5-1F25-A233-1B51-0AD013272923}"/>
          </ac:spMkLst>
        </pc:spChg>
        <pc:spChg chg="add mod">
          <ac:chgData name="Rui Sousa" userId="285bb50d-01dc-4ac6-9db4-995d4d48557e" providerId="ADAL" clId="{46849BC3-4ED1-4F23-BBD8-44E2840BBA72}" dt="2025-12-15T11:16:35.338" v="2404"/>
          <ac:spMkLst>
            <pc:docMk/>
            <pc:sldMk cId="1707030635" sldId="737"/>
            <ac:spMk id="5" creationId="{D9747391-C394-7794-F2C7-F4C866105FD1}"/>
          </ac:spMkLst>
        </pc:spChg>
        <pc:spChg chg="add mod">
          <ac:chgData name="Rui Sousa" userId="285bb50d-01dc-4ac6-9db4-995d4d48557e" providerId="ADAL" clId="{46849BC3-4ED1-4F23-BBD8-44E2840BBA72}" dt="2025-12-15T11:16:53.988" v="2414" actId="1035"/>
          <ac:spMkLst>
            <pc:docMk/>
            <pc:sldMk cId="1707030635" sldId="737"/>
            <ac:spMk id="6" creationId="{2B5B9E99-4CD5-D10E-27EE-D9C67E4BCBE7}"/>
          </ac:spMkLst>
        </pc:spChg>
        <pc:spChg chg="add mod">
          <ac:chgData name="Rui Sousa" userId="285bb50d-01dc-4ac6-9db4-995d4d48557e" providerId="ADAL" clId="{46849BC3-4ED1-4F23-BBD8-44E2840BBA72}" dt="2025-12-15T11:16:35.338" v="2404"/>
          <ac:spMkLst>
            <pc:docMk/>
            <pc:sldMk cId="1707030635" sldId="737"/>
            <ac:spMk id="12" creationId="{AE075965-9175-71F5-2FB5-0AA81D9F6998}"/>
          </ac:spMkLst>
        </pc:spChg>
        <pc:spChg chg="add mod">
          <ac:chgData name="Rui Sousa" userId="285bb50d-01dc-4ac6-9db4-995d4d48557e" providerId="ADAL" clId="{46849BC3-4ED1-4F23-BBD8-44E2840BBA72}" dt="2025-12-15T11:16:53.988" v="2414" actId="1035"/>
          <ac:spMkLst>
            <pc:docMk/>
            <pc:sldMk cId="1707030635" sldId="737"/>
            <ac:spMk id="13" creationId="{68566B3A-0B93-DD0B-6713-D9FCC0275171}"/>
          </ac:spMkLst>
        </pc:spChg>
        <pc:spChg chg="add mod">
          <ac:chgData name="Rui Sousa" userId="285bb50d-01dc-4ac6-9db4-995d4d48557e" providerId="ADAL" clId="{46849BC3-4ED1-4F23-BBD8-44E2840BBA72}" dt="2025-12-15T20:30:53.062" v="5123" actId="790"/>
          <ac:spMkLst>
            <pc:docMk/>
            <pc:sldMk cId="1707030635" sldId="737"/>
            <ac:spMk id="14" creationId="{1911E3FC-144E-CC3F-8A22-4FCF82BF977B}"/>
          </ac:spMkLst>
        </pc:spChg>
        <pc:spChg chg="mod">
          <ac:chgData name="Rui Sousa" userId="285bb50d-01dc-4ac6-9db4-995d4d48557e" providerId="ADAL" clId="{46849BC3-4ED1-4F23-BBD8-44E2840BBA72}" dt="2025-12-15T20:30:53.062" v="5123" actId="790"/>
          <ac:spMkLst>
            <pc:docMk/>
            <pc:sldMk cId="1707030635" sldId="737"/>
            <ac:spMk id="16" creationId="{D22D6E98-E67B-36E6-8C6C-6CF2943F2508}"/>
          </ac:spMkLst>
        </pc:spChg>
        <pc:spChg chg="add mod">
          <ac:chgData name="Rui Sousa" userId="285bb50d-01dc-4ac6-9db4-995d4d48557e" providerId="ADAL" clId="{46849BC3-4ED1-4F23-BBD8-44E2840BBA72}" dt="2025-12-15T20:30:53.062" v="5123" actId="790"/>
          <ac:spMkLst>
            <pc:docMk/>
            <pc:sldMk cId="1707030635" sldId="737"/>
            <ac:spMk id="22" creationId="{1763E447-B88C-F246-069C-C283F2326D58}"/>
          </ac:spMkLst>
        </pc:spChg>
        <pc:spChg chg="add mod">
          <ac:chgData name="Rui Sousa" userId="285bb50d-01dc-4ac6-9db4-995d4d48557e" providerId="ADAL" clId="{46849BC3-4ED1-4F23-BBD8-44E2840BBA72}" dt="2025-12-15T20:30:53.062" v="5123" actId="790"/>
          <ac:spMkLst>
            <pc:docMk/>
            <pc:sldMk cId="1707030635" sldId="737"/>
            <ac:spMk id="23" creationId="{C06B4D45-B0A5-8AA7-8BCE-25B736AD6E77}"/>
          </ac:spMkLst>
        </pc:spChg>
        <pc:grpChg chg="add mod">
          <ac:chgData name="Rui Sousa" userId="285bb50d-01dc-4ac6-9db4-995d4d48557e" providerId="ADAL" clId="{46849BC3-4ED1-4F23-BBD8-44E2840BBA72}" dt="2025-12-15T11:18:34.946" v="2440" actId="1076"/>
          <ac:grpSpMkLst>
            <pc:docMk/>
            <pc:sldMk cId="1707030635" sldId="737"/>
            <ac:grpSpMk id="15" creationId="{284E4446-FE72-09FE-4D10-B63A05255291}"/>
          </ac:grpSpMkLst>
        </pc:grpChg>
        <pc:picChg chg="add mod">
          <ac:chgData name="Rui Sousa" userId="285bb50d-01dc-4ac6-9db4-995d4d48557e" providerId="ADAL" clId="{46849BC3-4ED1-4F23-BBD8-44E2840BBA72}" dt="2025-12-15T11:16:53.988" v="2414" actId="1035"/>
          <ac:picMkLst>
            <pc:docMk/>
            <pc:sldMk cId="1707030635" sldId="737"/>
            <ac:picMk id="7" creationId="{A2253820-C5D8-6EEF-63A9-C481D7D90A2E}"/>
          </ac:picMkLst>
        </pc:picChg>
        <pc:picChg chg="add mod">
          <ac:chgData name="Rui Sousa" userId="285bb50d-01dc-4ac6-9db4-995d4d48557e" providerId="ADAL" clId="{46849BC3-4ED1-4F23-BBD8-44E2840BBA72}" dt="2025-12-15T11:16:53.988" v="2414" actId="1035"/>
          <ac:picMkLst>
            <pc:docMk/>
            <pc:sldMk cId="1707030635" sldId="737"/>
            <ac:picMk id="8" creationId="{9CBED432-03A0-F709-C401-E339EED5E856}"/>
          </ac:picMkLst>
        </pc:picChg>
        <pc:picChg chg="add mod">
          <ac:chgData name="Rui Sousa" userId="285bb50d-01dc-4ac6-9db4-995d4d48557e" providerId="ADAL" clId="{46849BC3-4ED1-4F23-BBD8-44E2840BBA72}" dt="2025-12-15T11:16:53.988" v="2414" actId="1035"/>
          <ac:picMkLst>
            <pc:docMk/>
            <pc:sldMk cId="1707030635" sldId="737"/>
            <ac:picMk id="9" creationId="{C95067B3-C4EA-8EED-26E3-32DC8DA83287}"/>
          </ac:picMkLst>
        </pc:picChg>
        <pc:picChg chg="mod">
          <ac:chgData name="Rui Sousa" userId="285bb50d-01dc-4ac6-9db4-995d4d48557e" providerId="ADAL" clId="{46849BC3-4ED1-4F23-BBD8-44E2840BBA72}" dt="2025-12-15T11:18:34.946" v="2440" actId="1076"/>
          <ac:picMkLst>
            <pc:docMk/>
            <pc:sldMk cId="1707030635" sldId="737"/>
            <ac:picMk id="17" creationId="{13B6F604-C9E4-F276-DA4D-280473A5E687}"/>
          </ac:picMkLst>
        </pc:picChg>
        <pc:picChg chg="mod">
          <ac:chgData name="Rui Sousa" userId="285bb50d-01dc-4ac6-9db4-995d4d48557e" providerId="ADAL" clId="{46849BC3-4ED1-4F23-BBD8-44E2840BBA72}" dt="2025-12-15T11:18:34.946" v="2440" actId="1076"/>
          <ac:picMkLst>
            <pc:docMk/>
            <pc:sldMk cId="1707030635" sldId="737"/>
            <ac:picMk id="18" creationId="{711C69B4-8CA0-CF80-419B-B82E1B7E91A7}"/>
          </ac:picMkLst>
        </pc:picChg>
        <pc:picChg chg="mod">
          <ac:chgData name="Rui Sousa" userId="285bb50d-01dc-4ac6-9db4-995d4d48557e" providerId="ADAL" clId="{46849BC3-4ED1-4F23-BBD8-44E2840BBA72}" dt="2025-12-15T11:18:34.946" v="2440" actId="1076"/>
          <ac:picMkLst>
            <pc:docMk/>
            <pc:sldMk cId="1707030635" sldId="737"/>
            <ac:picMk id="19" creationId="{308B0A94-1EF9-284D-602D-AD7E9E8BC274}"/>
          </ac:picMkLst>
        </pc:picChg>
        <pc:cxnChg chg="add mod">
          <ac:chgData name="Rui Sousa" userId="285bb50d-01dc-4ac6-9db4-995d4d48557e" providerId="ADAL" clId="{46849BC3-4ED1-4F23-BBD8-44E2840BBA72}" dt="2025-12-15T11:16:53.988" v="2414" actId="1035"/>
          <ac:cxnSpMkLst>
            <pc:docMk/>
            <pc:sldMk cId="1707030635" sldId="737"/>
            <ac:cxnSpMk id="10" creationId="{C00B3A2E-CD73-8A8D-0927-DABF5E966BC7}"/>
          </ac:cxnSpMkLst>
        </pc:cxnChg>
        <pc:cxnChg chg="add mod">
          <ac:chgData name="Rui Sousa" userId="285bb50d-01dc-4ac6-9db4-995d4d48557e" providerId="ADAL" clId="{46849BC3-4ED1-4F23-BBD8-44E2840BBA72}" dt="2025-12-15T11:16:53.988" v="2414" actId="1035"/>
          <ac:cxnSpMkLst>
            <pc:docMk/>
            <pc:sldMk cId="1707030635" sldId="737"/>
            <ac:cxnSpMk id="11" creationId="{04639737-F4D5-ED95-FFB7-4CF010AD159E}"/>
          </ac:cxnSpMkLst>
        </pc:cxnChg>
        <pc:cxnChg chg="mod">
          <ac:chgData name="Rui Sousa" userId="285bb50d-01dc-4ac6-9db4-995d4d48557e" providerId="ADAL" clId="{46849BC3-4ED1-4F23-BBD8-44E2840BBA72}" dt="2025-12-15T11:18:34.946" v="2440" actId="1076"/>
          <ac:cxnSpMkLst>
            <pc:docMk/>
            <pc:sldMk cId="1707030635" sldId="737"/>
            <ac:cxnSpMk id="20" creationId="{3871EF70-3027-96FF-1F98-099182F109C6}"/>
          </ac:cxnSpMkLst>
        </pc:cxnChg>
        <pc:cxnChg chg="mod">
          <ac:chgData name="Rui Sousa" userId="285bb50d-01dc-4ac6-9db4-995d4d48557e" providerId="ADAL" clId="{46849BC3-4ED1-4F23-BBD8-44E2840BBA72}" dt="2025-12-15T11:18:34.946" v="2440" actId="1076"/>
          <ac:cxnSpMkLst>
            <pc:docMk/>
            <pc:sldMk cId="1707030635" sldId="737"/>
            <ac:cxnSpMk id="21" creationId="{1540557E-85FF-A97E-A9F5-2B9736A519E6}"/>
          </ac:cxnSpMkLst>
        </pc:cxnChg>
      </pc:sldChg>
      <pc:sldChg chg="addSp modSp new mod ord">
        <pc:chgData name="Rui Sousa" userId="285bb50d-01dc-4ac6-9db4-995d4d48557e" providerId="ADAL" clId="{46849BC3-4ED1-4F23-BBD8-44E2840BBA72}" dt="2025-12-15T20:30:53.062" v="5123" actId="790"/>
        <pc:sldMkLst>
          <pc:docMk/>
          <pc:sldMk cId="117068373" sldId="738"/>
        </pc:sldMkLst>
        <pc:spChg chg="mod">
          <ac:chgData name="Rui Sousa" userId="285bb50d-01dc-4ac6-9db4-995d4d48557e" providerId="ADAL" clId="{46849BC3-4ED1-4F23-BBD8-44E2840BBA72}" dt="2025-12-15T20:30:53.062" v="5123" actId="790"/>
          <ac:spMkLst>
            <pc:docMk/>
            <pc:sldMk cId="117068373" sldId="738"/>
            <ac:spMk id="2" creationId="{5E6C6CE2-2085-1E06-E742-4068AAE188EC}"/>
          </ac:spMkLst>
        </pc:spChg>
        <pc:spChg chg="mod">
          <ac:chgData name="Rui Sousa" userId="285bb50d-01dc-4ac6-9db4-995d4d48557e" providerId="ADAL" clId="{46849BC3-4ED1-4F23-BBD8-44E2840BBA72}" dt="2025-12-15T20:30:53.062" v="5123" actId="790"/>
          <ac:spMkLst>
            <pc:docMk/>
            <pc:sldMk cId="117068373" sldId="738"/>
            <ac:spMk id="3" creationId="{095E535B-2E98-9C59-F556-29170B84344E}"/>
          </ac:spMkLst>
        </pc:spChg>
        <pc:spChg chg="mod">
          <ac:chgData name="Rui Sousa" userId="285bb50d-01dc-4ac6-9db4-995d4d48557e" providerId="ADAL" clId="{46849BC3-4ED1-4F23-BBD8-44E2840BBA72}" dt="2025-12-15T20:30:53.062" v="5123" actId="790"/>
          <ac:spMkLst>
            <pc:docMk/>
            <pc:sldMk cId="117068373" sldId="738"/>
            <ac:spMk id="4" creationId="{B553E433-C749-F251-203F-A7CC50E01204}"/>
          </ac:spMkLst>
        </pc:spChg>
        <pc:picChg chg="add mod ord">
          <ac:chgData name="Rui Sousa" userId="285bb50d-01dc-4ac6-9db4-995d4d48557e" providerId="ADAL" clId="{46849BC3-4ED1-4F23-BBD8-44E2840BBA72}" dt="2025-12-15T11:19:08.285" v="2447" actId="167"/>
          <ac:picMkLst>
            <pc:docMk/>
            <pc:sldMk cId="117068373" sldId="738"/>
            <ac:picMk id="5" creationId="{53B3AFAC-B199-869B-EC32-E2971E049A27}"/>
          </ac:picMkLst>
        </pc:picChg>
      </pc:sldChg>
      <pc:sldChg chg="addSp delSp modSp new mod modClrScheme chgLayout">
        <pc:chgData name="Rui Sousa" userId="285bb50d-01dc-4ac6-9db4-995d4d48557e" providerId="ADAL" clId="{46849BC3-4ED1-4F23-BBD8-44E2840BBA72}" dt="2025-12-15T20:30:53.062" v="5123" actId="790"/>
        <pc:sldMkLst>
          <pc:docMk/>
          <pc:sldMk cId="2444220952" sldId="739"/>
        </pc:sldMkLst>
        <pc:spChg chg="del mod ord">
          <ac:chgData name="Rui Sousa" userId="285bb50d-01dc-4ac6-9db4-995d4d48557e" providerId="ADAL" clId="{46849BC3-4ED1-4F23-BBD8-44E2840BBA72}" dt="2025-12-15T11:59:41.443" v="2461" actId="700"/>
          <ac:spMkLst>
            <pc:docMk/>
            <pc:sldMk cId="2444220952" sldId="739"/>
            <ac:spMk id="2" creationId="{08D8BB39-A19C-0C4D-5BF3-83D61DCA6CA7}"/>
          </ac:spMkLst>
        </pc:spChg>
        <pc:spChg chg="mod ord modVis">
          <ac:chgData name="Rui Sousa" userId="285bb50d-01dc-4ac6-9db4-995d4d48557e" providerId="ADAL" clId="{46849BC3-4ED1-4F23-BBD8-44E2840BBA72}" dt="2025-12-15T20:30:53.062" v="5123" actId="790"/>
          <ac:spMkLst>
            <pc:docMk/>
            <pc:sldMk cId="2444220952" sldId="739"/>
            <ac:spMk id="3" creationId="{AD0CDC52-4EAB-2CA7-078B-F0CE2108615E}"/>
          </ac:spMkLst>
        </pc:spChg>
        <pc:spChg chg="del mod ord">
          <ac:chgData name="Rui Sousa" userId="285bb50d-01dc-4ac6-9db4-995d4d48557e" providerId="ADAL" clId="{46849BC3-4ED1-4F23-BBD8-44E2840BBA72}" dt="2025-12-15T11:59:41.443" v="2461" actId="700"/>
          <ac:spMkLst>
            <pc:docMk/>
            <pc:sldMk cId="2444220952" sldId="739"/>
            <ac:spMk id="4" creationId="{ACE4BF38-0580-C5B2-D9C9-221D10CB79A0}"/>
          </ac:spMkLst>
        </pc:spChg>
        <pc:spChg chg="add del mod ord">
          <ac:chgData name="Rui Sousa" userId="285bb50d-01dc-4ac6-9db4-995d4d48557e" providerId="ADAL" clId="{46849BC3-4ED1-4F23-BBD8-44E2840BBA72}" dt="2025-12-15T11:59:47.090" v="2462" actId="26606"/>
          <ac:spMkLst>
            <pc:docMk/>
            <pc:sldMk cId="2444220952" sldId="739"/>
            <ac:spMk id="5" creationId="{757830E6-A8E0-701E-551D-EDAD3BAB3D1E}"/>
          </ac:spMkLst>
        </pc:spChg>
        <pc:spChg chg="add del mod ord">
          <ac:chgData name="Rui Sousa" userId="285bb50d-01dc-4ac6-9db4-995d4d48557e" providerId="ADAL" clId="{46849BC3-4ED1-4F23-BBD8-44E2840BBA72}" dt="2025-12-15T11:59:47.090" v="2462" actId="26606"/>
          <ac:spMkLst>
            <pc:docMk/>
            <pc:sldMk cId="2444220952" sldId="739"/>
            <ac:spMk id="6" creationId="{A6D7210E-7E5F-FBDE-53F3-2FC53D8210A0}"/>
          </ac:spMkLst>
        </pc:spChg>
        <pc:spChg chg="add mod ord">
          <ac:chgData name="Rui Sousa" userId="285bb50d-01dc-4ac6-9db4-995d4d48557e" providerId="ADAL" clId="{46849BC3-4ED1-4F23-BBD8-44E2840BBA72}" dt="2025-12-15T20:30:53.062" v="5123" actId="790"/>
          <ac:spMkLst>
            <pc:docMk/>
            <pc:sldMk cId="2444220952" sldId="739"/>
            <ac:spMk id="7" creationId="{779B586D-8F66-99DA-44F1-C73FB1E5799A}"/>
          </ac:spMkLst>
        </pc:spChg>
        <pc:spChg chg="add mod ord">
          <ac:chgData name="Rui Sousa" userId="285bb50d-01dc-4ac6-9db4-995d4d48557e" providerId="ADAL" clId="{46849BC3-4ED1-4F23-BBD8-44E2840BBA72}" dt="2025-12-15T20:30:53.062" v="5123" actId="790"/>
          <ac:spMkLst>
            <pc:docMk/>
            <pc:sldMk cId="2444220952" sldId="739"/>
            <ac:spMk id="8" creationId="{BA51788E-C821-F62D-348F-46A593606BD6}"/>
          </ac:spMkLst>
        </pc:spChg>
        <pc:spChg chg="add mod ord">
          <ac:chgData name="Rui Sousa" userId="285bb50d-01dc-4ac6-9db4-995d4d48557e" providerId="ADAL" clId="{46849BC3-4ED1-4F23-BBD8-44E2840BBA72}" dt="2025-12-15T20:30:53.062" v="5123" actId="790"/>
          <ac:spMkLst>
            <pc:docMk/>
            <pc:sldMk cId="2444220952" sldId="739"/>
            <ac:spMk id="11" creationId="{36516C66-CC03-5187-52B3-5E9BDBFCBC21}"/>
          </ac:spMkLst>
        </pc:spChg>
        <pc:spChg chg="add del mod ord">
          <ac:chgData name="Rui Sousa" userId="285bb50d-01dc-4ac6-9db4-995d4d48557e" providerId="ADAL" clId="{46849BC3-4ED1-4F23-BBD8-44E2840BBA72}" dt="2025-12-15T16:53:59.099" v="3851" actId="700"/>
          <ac:spMkLst>
            <pc:docMk/>
            <pc:sldMk cId="2444220952" sldId="739"/>
            <ac:spMk id="13" creationId="{8B5ADCD1-A07D-45EE-4247-0F8E10D7D99B}"/>
          </ac:spMkLst>
        </pc:spChg>
      </pc:sldChg>
      <pc:sldChg chg="addSp delSp modSp add mod chgLayout">
        <pc:chgData name="Rui Sousa" userId="285bb50d-01dc-4ac6-9db4-995d4d48557e" providerId="ADAL" clId="{46849BC3-4ED1-4F23-BBD8-44E2840BBA72}" dt="2025-12-15T20:30:53.062" v="5123" actId="790"/>
        <pc:sldMkLst>
          <pc:docMk/>
          <pc:sldMk cId="3997796814" sldId="740"/>
        </pc:sldMkLst>
        <pc:spChg chg="del">
          <ac:chgData name="Rui Sousa" userId="285bb50d-01dc-4ac6-9db4-995d4d48557e" providerId="ADAL" clId="{46849BC3-4ED1-4F23-BBD8-44E2840BBA72}" dt="2025-12-15T12:01:37.543" v="2554" actId="478"/>
          <ac:spMkLst>
            <pc:docMk/>
            <pc:sldMk cId="3997796814" sldId="740"/>
            <ac:spMk id="2" creationId="{E5672B2F-E986-07D5-A19E-3CF63CF4241C}"/>
          </ac:spMkLst>
        </pc:spChg>
        <pc:spChg chg="mod ord">
          <ac:chgData name="Rui Sousa" userId="285bb50d-01dc-4ac6-9db4-995d4d48557e" providerId="ADAL" clId="{46849BC3-4ED1-4F23-BBD8-44E2840BBA72}" dt="2025-12-15T20:30:53.062" v="5123" actId="790"/>
          <ac:spMkLst>
            <pc:docMk/>
            <pc:sldMk cId="3997796814" sldId="740"/>
            <ac:spMk id="3" creationId="{33C23D52-5DAE-0C82-EFFA-6459B70E52A7}"/>
          </ac:spMkLst>
        </pc:spChg>
        <pc:spChg chg="mod ord">
          <ac:chgData name="Rui Sousa" userId="285bb50d-01dc-4ac6-9db4-995d4d48557e" providerId="ADAL" clId="{46849BC3-4ED1-4F23-BBD8-44E2840BBA72}" dt="2025-12-15T20:30:53.062" v="5123" actId="790"/>
          <ac:spMkLst>
            <pc:docMk/>
            <pc:sldMk cId="3997796814" sldId="740"/>
            <ac:spMk id="4" creationId="{9B41E4B5-663C-F54E-CEE7-DD1D56495BC9}"/>
          </ac:spMkLst>
        </pc:spChg>
        <pc:spChg chg="add del mod">
          <ac:chgData name="Rui Sousa" userId="285bb50d-01dc-4ac6-9db4-995d4d48557e" providerId="ADAL" clId="{46849BC3-4ED1-4F23-BBD8-44E2840BBA72}" dt="2025-12-15T12:07:20.768" v="2570"/>
          <ac:spMkLst>
            <pc:docMk/>
            <pc:sldMk cId="3997796814" sldId="740"/>
            <ac:spMk id="12" creationId="{8C9BE128-7971-D501-9E6E-9EFB8D35C9FB}"/>
          </ac:spMkLst>
        </pc:spChg>
        <pc:spChg chg="add mod">
          <ac:chgData name="Rui Sousa" userId="285bb50d-01dc-4ac6-9db4-995d4d48557e" providerId="ADAL" clId="{46849BC3-4ED1-4F23-BBD8-44E2840BBA72}" dt="2025-12-15T20:30:53.062" v="5123" actId="790"/>
          <ac:spMkLst>
            <pc:docMk/>
            <pc:sldMk cId="3997796814" sldId="740"/>
            <ac:spMk id="13" creationId="{C6D21A66-C49B-45AE-58CB-0B9E152959FD}"/>
          </ac:spMkLst>
        </pc:spChg>
        <pc:spChg chg="add del mod ord">
          <ac:chgData name="Rui Sousa" userId="285bb50d-01dc-4ac6-9db4-995d4d48557e" providerId="ADAL" clId="{46849BC3-4ED1-4F23-BBD8-44E2840BBA72}" dt="2025-12-15T12:11:40.192" v="2578" actId="478"/>
          <ac:spMkLst>
            <pc:docMk/>
            <pc:sldMk cId="3997796814" sldId="740"/>
            <ac:spMk id="14" creationId="{CC85C71E-9A2B-4CE4-E9EF-484BA179D23D}"/>
          </ac:spMkLst>
        </pc:spChg>
        <pc:spChg chg="add mod">
          <ac:chgData name="Rui Sousa" userId="285bb50d-01dc-4ac6-9db4-995d4d48557e" providerId="ADAL" clId="{46849BC3-4ED1-4F23-BBD8-44E2840BBA72}" dt="2025-12-15T20:30:53.062" v="5123" actId="790"/>
          <ac:spMkLst>
            <pc:docMk/>
            <pc:sldMk cId="3997796814" sldId="740"/>
            <ac:spMk id="15" creationId="{247755CF-01FB-838C-DBBC-8CFA390D7486}"/>
          </ac:spMkLst>
        </pc:spChg>
        <pc:spChg chg="add mod">
          <ac:chgData name="Rui Sousa" userId="285bb50d-01dc-4ac6-9db4-995d4d48557e" providerId="ADAL" clId="{46849BC3-4ED1-4F23-BBD8-44E2840BBA72}" dt="2025-12-15T20:30:53.062" v="5123" actId="790"/>
          <ac:spMkLst>
            <pc:docMk/>
            <pc:sldMk cId="3997796814" sldId="740"/>
            <ac:spMk id="16" creationId="{F49B4B0B-7545-5C57-A7E6-10B4E80B02F3}"/>
          </ac:spMkLst>
        </pc:spChg>
        <pc:spChg chg="add del mod">
          <ac:chgData name="Rui Sousa" userId="285bb50d-01dc-4ac6-9db4-995d4d48557e" providerId="ADAL" clId="{46849BC3-4ED1-4F23-BBD8-44E2840BBA72}" dt="2025-12-15T12:17:05.004" v="2687" actId="478"/>
          <ac:spMkLst>
            <pc:docMk/>
            <pc:sldMk cId="3997796814" sldId="740"/>
            <ac:spMk id="18" creationId="{ED88C8C7-09BC-515D-7EAD-4C720C10AFA5}"/>
          </ac:spMkLst>
        </pc:spChg>
        <pc:picChg chg="add mod">
          <ac:chgData name="Rui Sousa" userId="285bb50d-01dc-4ac6-9db4-995d4d48557e" providerId="ADAL" clId="{46849BC3-4ED1-4F23-BBD8-44E2840BBA72}" dt="2025-12-15T12:17:41.644" v="2710" actId="1076"/>
          <ac:picMkLst>
            <pc:docMk/>
            <pc:sldMk cId="3997796814" sldId="740"/>
            <ac:picMk id="5" creationId="{E7D92EE4-867F-C4EB-215B-C4771C075C15}"/>
          </ac:picMkLst>
        </pc:picChg>
        <pc:picChg chg="del">
          <ac:chgData name="Rui Sousa" userId="285bb50d-01dc-4ac6-9db4-995d4d48557e" providerId="ADAL" clId="{46849BC3-4ED1-4F23-BBD8-44E2840BBA72}" dt="2025-12-15T12:01:19.757" v="2550" actId="478"/>
          <ac:picMkLst>
            <pc:docMk/>
            <pc:sldMk cId="3997796814" sldId="740"/>
            <ac:picMk id="6" creationId="{1C3DB3DD-A364-3532-58FD-D2BF783D4E8B}"/>
          </ac:picMkLst>
        </pc:picChg>
        <pc:picChg chg="add mod">
          <ac:chgData name="Rui Sousa" userId="285bb50d-01dc-4ac6-9db4-995d4d48557e" providerId="ADAL" clId="{46849BC3-4ED1-4F23-BBD8-44E2840BBA72}" dt="2025-12-15T12:01:51.139" v="2556"/>
          <ac:picMkLst>
            <pc:docMk/>
            <pc:sldMk cId="3997796814" sldId="740"/>
            <ac:picMk id="7" creationId="{20E4274E-50E6-EEA2-A4B8-ECABFD98DFB3}"/>
          </ac:picMkLst>
        </pc:picChg>
        <pc:picChg chg="del">
          <ac:chgData name="Rui Sousa" userId="285bb50d-01dc-4ac6-9db4-995d4d48557e" providerId="ADAL" clId="{46849BC3-4ED1-4F23-BBD8-44E2840BBA72}" dt="2025-12-15T12:01:20.237" v="2551" actId="478"/>
          <ac:picMkLst>
            <pc:docMk/>
            <pc:sldMk cId="3997796814" sldId="740"/>
            <ac:picMk id="8" creationId="{D706FF6C-9428-58A8-7267-C8067F002EB8}"/>
          </ac:picMkLst>
        </pc:picChg>
        <pc:picChg chg="add mod">
          <ac:chgData name="Rui Sousa" userId="285bb50d-01dc-4ac6-9db4-995d4d48557e" providerId="ADAL" clId="{46849BC3-4ED1-4F23-BBD8-44E2840BBA72}" dt="2025-12-15T12:01:51.139" v="2556"/>
          <ac:picMkLst>
            <pc:docMk/>
            <pc:sldMk cId="3997796814" sldId="740"/>
            <ac:picMk id="9" creationId="{FBD4D5A2-4C98-44BC-E977-097DC1D80F86}"/>
          </ac:picMkLst>
        </pc:picChg>
        <pc:picChg chg="add del mod">
          <ac:chgData name="Rui Sousa" userId="285bb50d-01dc-4ac6-9db4-995d4d48557e" providerId="ADAL" clId="{46849BC3-4ED1-4F23-BBD8-44E2840BBA72}" dt="2025-12-15T12:15:47.443" v="2676" actId="478"/>
          <ac:picMkLst>
            <pc:docMk/>
            <pc:sldMk cId="3997796814" sldId="740"/>
            <ac:picMk id="11" creationId="{D44026EA-BFBF-5403-40FE-ACB214CC6CE4}"/>
          </ac:picMkLst>
        </pc:picChg>
      </pc:sldChg>
      <pc:sldChg chg="addSp delSp modSp add del mod">
        <pc:chgData name="Rui Sousa" userId="285bb50d-01dc-4ac6-9db4-995d4d48557e" providerId="ADAL" clId="{46849BC3-4ED1-4F23-BBD8-44E2840BBA72}" dt="2025-12-15T12:27:24.421" v="2876" actId="47"/>
        <pc:sldMkLst>
          <pc:docMk/>
          <pc:sldMk cId="682377631" sldId="741"/>
        </pc:sldMkLst>
        <pc:spChg chg="mod">
          <ac:chgData name="Rui Sousa" userId="285bb50d-01dc-4ac6-9db4-995d4d48557e" providerId="ADAL" clId="{46849BC3-4ED1-4F23-BBD8-44E2840BBA72}" dt="2025-12-15T12:23:40.445" v="2721" actId="790"/>
          <ac:spMkLst>
            <pc:docMk/>
            <pc:sldMk cId="682377631" sldId="741"/>
            <ac:spMk id="3" creationId="{C5203D47-2F71-A523-DC68-A63F420868D1}"/>
          </ac:spMkLst>
        </pc:spChg>
        <pc:spChg chg="mod">
          <ac:chgData name="Rui Sousa" userId="285bb50d-01dc-4ac6-9db4-995d4d48557e" providerId="ADAL" clId="{46849BC3-4ED1-4F23-BBD8-44E2840BBA72}" dt="2025-12-15T12:23:40.445" v="2721" actId="790"/>
          <ac:spMkLst>
            <pc:docMk/>
            <pc:sldMk cId="682377631" sldId="741"/>
            <ac:spMk id="4" creationId="{651F5EAF-D76E-9720-B87E-56143DACDCF5}"/>
          </ac:spMkLst>
        </pc:spChg>
        <pc:spChg chg="add del">
          <ac:chgData name="Rui Sousa" userId="285bb50d-01dc-4ac6-9db4-995d4d48557e" providerId="ADAL" clId="{46849BC3-4ED1-4F23-BBD8-44E2840BBA72}" dt="2025-12-15T12:25:55.496" v="2866" actId="22"/>
          <ac:spMkLst>
            <pc:docMk/>
            <pc:sldMk cId="682377631" sldId="741"/>
            <ac:spMk id="6" creationId="{29FFECC8-70DC-48D5-D9D0-B89A21DDE2FD}"/>
          </ac:spMkLst>
        </pc:spChg>
        <pc:spChg chg="add del mod">
          <ac:chgData name="Rui Sousa" userId="285bb50d-01dc-4ac6-9db4-995d4d48557e" providerId="ADAL" clId="{46849BC3-4ED1-4F23-BBD8-44E2840BBA72}" dt="2025-12-15T12:26:06.369" v="2869" actId="478"/>
          <ac:spMkLst>
            <pc:docMk/>
            <pc:sldMk cId="682377631" sldId="741"/>
            <ac:spMk id="7" creationId="{ABBE5794-2542-0CEA-4C4D-764362192359}"/>
          </ac:spMkLst>
        </pc:spChg>
        <pc:spChg chg="mod">
          <ac:chgData name="Rui Sousa" userId="285bb50d-01dc-4ac6-9db4-995d4d48557e" providerId="ADAL" clId="{46849BC3-4ED1-4F23-BBD8-44E2840BBA72}" dt="2025-12-15T12:26:50.532" v="2875" actId="113"/>
          <ac:spMkLst>
            <pc:docMk/>
            <pc:sldMk cId="682377631" sldId="741"/>
            <ac:spMk id="8" creationId="{B55162F1-ABE7-5B5B-5558-F3285E9978DE}"/>
          </ac:spMkLst>
        </pc:spChg>
        <pc:spChg chg="add mod">
          <ac:chgData name="Rui Sousa" userId="285bb50d-01dc-4ac6-9db4-995d4d48557e" providerId="ADAL" clId="{46849BC3-4ED1-4F23-BBD8-44E2840BBA72}" dt="2025-12-15T12:26:02.400" v="2867"/>
          <ac:spMkLst>
            <pc:docMk/>
            <pc:sldMk cId="682377631" sldId="741"/>
            <ac:spMk id="9" creationId="{CA6CF442-CE69-853B-478D-040C138C565E}"/>
          </ac:spMkLst>
        </pc:spChg>
        <pc:spChg chg="add mod">
          <ac:chgData name="Rui Sousa" userId="285bb50d-01dc-4ac6-9db4-995d4d48557e" providerId="ADAL" clId="{46849BC3-4ED1-4F23-BBD8-44E2840BBA72}" dt="2025-12-15T12:26:02.400" v="2867"/>
          <ac:spMkLst>
            <pc:docMk/>
            <pc:sldMk cId="682377631" sldId="741"/>
            <ac:spMk id="11" creationId="{1BA41B4C-0C64-4D31-591C-09DEB301FF35}"/>
          </ac:spMkLst>
        </pc:spChg>
        <pc:spChg chg="add mod">
          <ac:chgData name="Rui Sousa" userId="285bb50d-01dc-4ac6-9db4-995d4d48557e" providerId="ADAL" clId="{46849BC3-4ED1-4F23-BBD8-44E2840BBA72}" dt="2025-12-15T12:26:02.400" v="2867"/>
          <ac:spMkLst>
            <pc:docMk/>
            <pc:sldMk cId="682377631" sldId="741"/>
            <ac:spMk id="12" creationId="{A6B46E9A-398B-01DB-C9DD-4EE98375AF78}"/>
          </ac:spMkLst>
        </pc:spChg>
        <pc:spChg chg="del">
          <ac:chgData name="Rui Sousa" userId="285bb50d-01dc-4ac6-9db4-995d4d48557e" providerId="ADAL" clId="{46849BC3-4ED1-4F23-BBD8-44E2840BBA72}" dt="2025-12-15T12:23:19.688" v="2717" actId="478"/>
          <ac:spMkLst>
            <pc:docMk/>
            <pc:sldMk cId="682377631" sldId="741"/>
            <ac:spMk id="13" creationId="{08D28BD1-EFCD-AC77-AF11-5629A7B5ADA2}"/>
          </ac:spMkLst>
        </pc:spChg>
        <pc:spChg chg="add mod">
          <ac:chgData name="Rui Sousa" userId="285bb50d-01dc-4ac6-9db4-995d4d48557e" providerId="ADAL" clId="{46849BC3-4ED1-4F23-BBD8-44E2840BBA72}" dt="2025-12-15T12:26:02.400" v="2867"/>
          <ac:spMkLst>
            <pc:docMk/>
            <pc:sldMk cId="682377631" sldId="741"/>
            <ac:spMk id="14" creationId="{3039A0ED-5346-46A2-BA45-AD3027106731}"/>
          </ac:spMkLst>
        </pc:spChg>
        <pc:spChg chg="del">
          <ac:chgData name="Rui Sousa" userId="285bb50d-01dc-4ac6-9db4-995d4d48557e" providerId="ADAL" clId="{46849BC3-4ED1-4F23-BBD8-44E2840BBA72}" dt="2025-12-15T12:23:21.482" v="2719" actId="478"/>
          <ac:spMkLst>
            <pc:docMk/>
            <pc:sldMk cId="682377631" sldId="741"/>
            <ac:spMk id="15" creationId="{4C47F216-6A65-07D1-424E-7519AAE46F10}"/>
          </ac:spMkLst>
        </pc:spChg>
        <pc:spChg chg="del">
          <ac:chgData name="Rui Sousa" userId="285bb50d-01dc-4ac6-9db4-995d4d48557e" providerId="ADAL" clId="{46849BC3-4ED1-4F23-BBD8-44E2840BBA72}" dt="2025-12-15T12:23:23.728" v="2720" actId="478"/>
          <ac:spMkLst>
            <pc:docMk/>
            <pc:sldMk cId="682377631" sldId="741"/>
            <ac:spMk id="16" creationId="{719B64F4-457A-255E-5E8E-9E7E5B2D627A}"/>
          </ac:spMkLst>
        </pc:spChg>
        <pc:spChg chg="add mod">
          <ac:chgData name="Rui Sousa" userId="285bb50d-01dc-4ac6-9db4-995d4d48557e" providerId="ADAL" clId="{46849BC3-4ED1-4F23-BBD8-44E2840BBA72}" dt="2025-12-15T12:26:02.400" v="2867"/>
          <ac:spMkLst>
            <pc:docMk/>
            <pc:sldMk cId="682377631" sldId="741"/>
            <ac:spMk id="17" creationId="{8004DDE2-2E5C-8A5A-B947-C5B86C38075D}"/>
          </ac:spMkLst>
        </pc:spChg>
        <pc:spChg chg="add del mod">
          <ac:chgData name="Rui Sousa" userId="285bb50d-01dc-4ac6-9db4-995d4d48557e" providerId="ADAL" clId="{46849BC3-4ED1-4F23-BBD8-44E2840BBA72}" dt="2025-12-15T12:26:18.521" v="2871" actId="478"/>
          <ac:spMkLst>
            <pc:docMk/>
            <pc:sldMk cId="682377631" sldId="741"/>
            <ac:spMk id="18" creationId="{74A3EA0A-61F4-7D54-5550-91F7857FBB93}"/>
          </ac:spMkLst>
        </pc:spChg>
        <pc:spChg chg="add mod">
          <ac:chgData name="Rui Sousa" userId="285bb50d-01dc-4ac6-9db4-995d4d48557e" providerId="ADAL" clId="{46849BC3-4ED1-4F23-BBD8-44E2840BBA72}" dt="2025-12-15T12:26:02.400" v="2867"/>
          <ac:spMkLst>
            <pc:docMk/>
            <pc:sldMk cId="682377631" sldId="741"/>
            <ac:spMk id="19" creationId="{893249F9-C0D5-B538-F9D6-C6FA373A747A}"/>
          </ac:spMkLst>
        </pc:spChg>
        <pc:spChg chg="add mod">
          <ac:chgData name="Rui Sousa" userId="285bb50d-01dc-4ac6-9db4-995d4d48557e" providerId="ADAL" clId="{46849BC3-4ED1-4F23-BBD8-44E2840BBA72}" dt="2025-12-15T12:26:02.400" v="2867"/>
          <ac:spMkLst>
            <pc:docMk/>
            <pc:sldMk cId="682377631" sldId="741"/>
            <ac:spMk id="22" creationId="{62B4E934-9090-D845-1C3F-33618708A653}"/>
          </ac:spMkLst>
        </pc:spChg>
        <pc:spChg chg="add mod">
          <ac:chgData name="Rui Sousa" userId="285bb50d-01dc-4ac6-9db4-995d4d48557e" providerId="ADAL" clId="{46849BC3-4ED1-4F23-BBD8-44E2840BBA72}" dt="2025-12-15T12:26:02.400" v="2867"/>
          <ac:spMkLst>
            <pc:docMk/>
            <pc:sldMk cId="682377631" sldId="741"/>
            <ac:spMk id="27" creationId="{EEA1DAD0-C7B1-7459-0DA5-2D1AC747FBA7}"/>
          </ac:spMkLst>
        </pc:spChg>
        <pc:picChg chg="del">
          <ac:chgData name="Rui Sousa" userId="285bb50d-01dc-4ac6-9db4-995d4d48557e" providerId="ADAL" clId="{46849BC3-4ED1-4F23-BBD8-44E2840BBA72}" dt="2025-12-15T12:23:20.211" v="2718" actId="478"/>
          <ac:picMkLst>
            <pc:docMk/>
            <pc:sldMk cId="682377631" sldId="741"/>
            <ac:picMk id="5" creationId="{A1AE0CE8-3B56-E425-78A2-3B13AC35B363}"/>
          </ac:picMkLst>
        </pc:picChg>
      </pc:sldChg>
      <pc:sldChg chg="addSp delSp modSp add del mod">
        <pc:chgData name="Rui Sousa" userId="285bb50d-01dc-4ac6-9db4-995d4d48557e" providerId="ADAL" clId="{46849BC3-4ED1-4F23-BBD8-44E2840BBA72}" dt="2025-12-15T13:47:33.617" v="2900" actId="47"/>
        <pc:sldMkLst>
          <pc:docMk/>
          <pc:sldMk cId="1882658805" sldId="741"/>
        </pc:sldMkLst>
        <pc:spChg chg="add del">
          <ac:chgData name="Rui Sousa" userId="285bb50d-01dc-4ac6-9db4-995d4d48557e" providerId="ADAL" clId="{46849BC3-4ED1-4F23-BBD8-44E2840BBA72}" dt="2025-12-15T13:47:09.999" v="2899" actId="478"/>
          <ac:spMkLst>
            <pc:docMk/>
            <pc:sldMk cId="1882658805" sldId="741"/>
            <ac:spMk id="4" creationId="{544C3A7E-BC4A-D959-25CF-097613A8FCEC}"/>
          </ac:spMkLst>
        </pc:spChg>
        <pc:spChg chg="add del">
          <ac:chgData name="Rui Sousa" userId="285bb50d-01dc-4ac6-9db4-995d4d48557e" providerId="ADAL" clId="{46849BC3-4ED1-4F23-BBD8-44E2840BBA72}" dt="2025-12-15T13:47:09.999" v="2899" actId="478"/>
          <ac:spMkLst>
            <pc:docMk/>
            <pc:sldMk cId="1882658805" sldId="741"/>
            <ac:spMk id="5" creationId="{8BDE9AA3-ABC4-A99C-7876-43D7219C6D6E}"/>
          </ac:spMkLst>
        </pc:spChg>
        <pc:spChg chg="add del">
          <ac:chgData name="Rui Sousa" userId="285bb50d-01dc-4ac6-9db4-995d4d48557e" providerId="ADAL" clId="{46849BC3-4ED1-4F23-BBD8-44E2840BBA72}" dt="2025-12-15T13:47:09.999" v="2899" actId="478"/>
          <ac:spMkLst>
            <pc:docMk/>
            <pc:sldMk cId="1882658805" sldId="741"/>
            <ac:spMk id="8" creationId="{296CA43F-9710-CD38-68FE-3126A127FED5}"/>
          </ac:spMkLst>
        </pc:spChg>
        <pc:spChg chg="add del">
          <ac:chgData name="Rui Sousa" userId="285bb50d-01dc-4ac6-9db4-995d4d48557e" providerId="ADAL" clId="{46849BC3-4ED1-4F23-BBD8-44E2840BBA72}" dt="2025-12-15T13:47:09.999" v="2899" actId="478"/>
          <ac:spMkLst>
            <pc:docMk/>
            <pc:sldMk cId="1882658805" sldId="741"/>
            <ac:spMk id="11" creationId="{D716CEF7-1202-C0F8-C59C-CEC46ED46799}"/>
          </ac:spMkLst>
        </pc:spChg>
        <pc:spChg chg="add del mod">
          <ac:chgData name="Rui Sousa" userId="285bb50d-01dc-4ac6-9db4-995d4d48557e" providerId="ADAL" clId="{46849BC3-4ED1-4F23-BBD8-44E2840BBA72}" dt="2025-12-15T13:47:09.999" v="2899" actId="478"/>
          <ac:spMkLst>
            <pc:docMk/>
            <pc:sldMk cId="1882658805" sldId="741"/>
            <ac:spMk id="12" creationId="{C724D9E0-5D3E-D9D4-09DF-0A39D8B60904}"/>
          </ac:spMkLst>
        </pc:spChg>
        <pc:spChg chg="add mod">
          <ac:chgData name="Rui Sousa" userId="285bb50d-01dc-4ac6-9db4-995d4d48557e" providerId="ADAL" clId="{46849BC3-4ED1-4F23-BBD8-44E2840BBA72}" dt="2025-12-15T13:46:39.862" v="2896"/>
          <ac:spMkLst>
            <pc:docMk/>
            <pc:sldMk cId="1882658805" sldId="741"/>
            <ac:spMk id="13" creationId="{93ECA225-1B84-2C67-C47A-AED5D3D76F98}"/>
          </ac:spMkLst>
        </pc:spChg>
        <pc:spChg chg="add mod">
          <ac:chgData name="Rui Sousa" userId="285bb50d-01dc-4ac6-9db4-995d4d48557e" providerId="ADAL" clId="{46849BC3-4ED1-4F23-BBD8-44E2840BBA72}" dt="2025-12-15T13:46:38.452" v="2895"/>
          <ac:spMkLst>
            <pc:docMk/>
            <pc:sldMk cId="1882658805" sldId="741"/>
            <ac:spMk id="15" creationId="{801D182C-EE40-C7B1-D898-F1E37ED13E45}"/>
          </ac:spMkLst>
        </pc:spChg>
        <pc:spChg chg="add mod">
          <ac:chgData name="Rui Sousa" userId="285bb50d-01dc-4ac6-9db4-995d4d48557e" providerId="ADAL" clId="{46849BC3-4ED1-4F23-BBD8-44E2840BBA72}" dt="2025-12-15T13:46:38.452" v="2895"/>
          <ac:spMkLst>
            <pc:docMk/>
            <pc:sldMk cId="1882658805" sldId="741"/>
            <ac:spMk id="17" creationId="{38E07660-6C64-D5B4-E08E-CEB5F9153D3F}"/>
          </ac:spMkLst>
        </pc:spChg>
        <pc:spChg chg="add mod">
          <ac:chgData name="Rui Sousa" userId="285bb50d-01dc-4ac6-9db4-995d4d48557e" providerId="ADAL" clId="{46849BC3-4ED1-4F23-BBD8-44E2840BBA72}" dt="2025-12-15T13:46:38.452" v="2895"/>
          <ac:spMkLst>
            <pc:docMk/>
            <pc:sldMk cId="1882658805" sldId="741"/>
            <ac:spMk id="18" creationId="{09815CEC-5E13-9A26-09F5-ADEF6D46EF7B}"/>
          </ac:spMkLst>
        </pc:spChg>
        <pc:spChg chg="add mod">
          <ac:chgData name="Rui Sousa" userId="285bb50d-01dc-4ac6-9db4-995d4d48557e" providerId="ADAL" clId="{46849BC3-4ED1-4F23-BBD8-44E2840BBA72}" dt="2025-12-15T13:46:38.452" v="2895"/>
          <ac:spMkLst>
            <pc:docMk/>
            <pc:sldMk cId="1882658805" sldId="741"/>
            <ac:spMk id="19" creationId="{05BD99CE-E7E8-F95D-68BA-FC4E4513ACD9}"/>
          </ac:spMkLst>
        </pc:spChg>
        <pc:spChg chg="add del">
          <ac:chgData name="Rui Sousa" userId="285bb50d-01dc-4ac6-9db4-995d4d48557e" providerId="ADAL" clId="{46849BC3-4ED1-4F23-BBD8-44E2840BBA72}" dt="2025-12-15T13:47:09.999" v="2899" actId="478"/>
          <ac:spMkLst>
            <pc:docMk/>
            <pc:sldMk cId="1882658805" sldId="741"/>
            <ac:spMk id="20" creationId="{33454F8C-E5C8-2B5D-9D5B-2C7936507E0C}"/>
          </ac:spMkLst>
        </pc:spChg>
        <pc:spChg chg="add del">
          <ac:chgData name="Rui Sousa" userId="285bb50d-01dc-4ac6-9db4-995d4d48557e" providerId="ADAL" clId="{46849BC3-4ED1-4F23-BBD8-44E2840BBA72}" dt="2025-12-15T13:47:09.999" v="2899" actId="478"/>
          <ac:spMkLst>
            <pc:docMk/>
            <pc:sldMk cId="1882658805" sldId="741"/>
            <ac:spMk id="22" creationId="{4C802753-4095-3F99-18D3-F85CD4CE9EE6}"/>
          </ac:spMkLst>
        </pc:spChg>
        <pc:spChg chg="add del">
          <ac:chgData name="Rui Sousa" userId="285bb50d-01dc-4ac6-9db4-995d4d48557e" providerId="ADAL" clId="{46849BC3-4ED1-4F23-BBD8-44E2840BBA72}" dt="2025-12-15T13:47:09.999" v="2899" actId="478"/>
          <ac:spMkLst>
            <pc:docMk/>
            <pc:sldMk cId="1882658805" sldId="741"/>
            <ac:spMk id="23" creationId="{30A3E29B-56B9-C301-86D8-AABB6E6FF0BD}"/>
          </ac:spMkLst>
        </pc:spChg>
        <pc:spChg chg="add del">
          <ac:chgData name="Rui Sousa" userId="285bb50d-01dc-4ac6-9db4-995d4d48557e" providerId="ADAL" clId="{46849BC3-4ED1-4F23-BBD8-44E2840BBA72}" dt="2025-12-15T13:47:09.999" v="2899" actId="478"/>
          <ac:spMkLst>
            <pc:docMk/>
            <pc:sldMk cId="1882658805" sldId="741"/>
            <ac:spMk id="27" creationId="{F77104F9-8930-377C-98E7-1510EFAA9E7B}"/>
          </ac:spMkLst>
        </pc:spChg>
        <pc:spChg chg="add del">
          <ac:chgData name="Rui Sousa" userId="285bb50d-01dc-4ac6-9db4-995d4d48557e" providerId="ADAL" clId="{46849BC3-4ED1-4F23-BBD8-44E2840BBA72}" dt="2025-12-15T13:47:09.999" v="2899" actId="478"/>
          <ac:spMkLst>
            <pc:docMk/>
            <pc:sldMk cId="1882658805" sldId="741"/>
            <ac:spMk id="29" creationId="{BF354C09-60A4-0E14-8910-5F400D78BA69}"/>
          </ac:spMkLst>
        </pc:spChg>
        <pc:spChg chg="add mod">
          <ac:chgData name="Rui Sousa" userId="285bb50d-01dc-4ac6-9db4-995d4d48557e" providerId="ADAL" clId="{46849BC3-4ED1-4F23-BBD8-44E2840BBA72}" dt="2025-12-15T13:46:38.452" v="2895"/>
          <ac:spMkLst>
            <pc:docMk/>
            <pc:sldMk cId="1882658805" sldId="741"/>
            <ac:spMk id="31" creationId="{7DE0BAAF-B093-C11F-F4E8-613E977A68A6}"/>
          </ac:spMkLst>
        </pc:spChg>
        <pc:spChg chg="add mod">
          <ac:chgData name="Rui Sousa" userId="285bb50d-01dc-4ac6-9db4-995d4d48557e" providerId="ADAL" clId="{46849BC3-4ED1-4F23-BBD8-44E2840BBA72}" dt="2025-12-15T13:46:38.452" v="2895"/>
          <ac:spMkLst>
            <pc:docMk/>
            <pc:sldMk cId="1882658805" sldId="741"/>
            <ac:spMk id="32" creationId="{7038C2D9-4ACD-F100-75DF-B68E14B7F420}"/>
          </ac:spMkLst>
        </pc:spChg>
        <pc:spChg chg="add mod">
          <ac:chgData name="Rui Sousa" userId="285bb50d-01dc-4ac6-9db4-995d4d48557e" providerId="ADAL" clId="{46849BC3-4ED1-4F23-BBD8-44E2840BBA72}" dt="2025-12-15T13:46:38.452" v="2895"/>
          <ac:spMkLst>
            <pc:docMk/>
            <pc:sldMk cId="1882658805" sldId="741"/>
            <ac:spMk id="33" creationId="{7A57DCDE-548F-9185-810D-EA122C44B367}"/>
          </ac:spMkLst>
        </pc:spChg>
        <pc:spChg chg="add mod">
          <ac:chgData name="Rui Sousa" userId="285bb50d-01dc-4ac6-9db4-995d4d48557e" providerId="ADAL" clId="{46849BC3-4ED1-4F23-BBD8-44E2840BBA72}" dt="2025-12-15T13:46:38.452" v="2895"/>
          <ac:spMkLst>
            <pc:docMk/>
            <pc:sldMk cId="1882658805" sldId="741"/>
            <ac:spMk id="34" creationId="{072A01C0-96DA-D820-5CA4-943117A38ACC}"/>
          </ac:spMkLst>
        </pc:spChg>
        <pc:spChg chg="add mod">
          <ac:chgData name="Rui Sousa" userId="285bb50d-01dc-4ac6-9db4-995d4d48557e" providerId="ADAL" clId="{46849BC3-4ED1-4F23-BBD8-44E2840BBA72}" dt="2025-12-15T13:46:38.452" v="2895"/>
          <ac:spMkLst>
            <pc:docMk/>
            <pc:sldMk cId="1882658805" sldId="741"/>
            <ac:spMk id="35" creationId="{87D6EEC0-280A-5E56-37A9-455FFAFF7675}"/>
          </ac:spMkLst>
        </pc:spChg>
      </pc:sldChg>
      <pc:sldChg chg="addSp delSp modSp add mod chgLayout">
        <pc:chgData name="Rui Sousa" userId="285bb50d-01dc-4ac6-9db4-995d4d48557e" providerId="ADAL" clId="{46849BC3-4ED1-4F23-BBD8-44E2840BBA72}" dt="2025-12-15T20:30:53.062" v="5123" actId="790"/>
        <pc:sldMkLst>
          <pc:docMk/>
          <pc:sldMk cId="1886538068" sldId="741"/>
        </pc:sldMkLst>
        <pc:spChg chg="add mod ord">
          <ac:chgData name="Rui Sousa" userId="285bb50d-01dc-4ac6-9db4-995d4d48557e" providerId="ADAL" clId="{46849BC3-4ED1-4F23-BBD8-44E2840BBA72}" dt="2025-12-15T20:30:53.062" v="5123" actId="790"/>
          <ac:spMkLst>
            <pc:docMk/>
            <pc:sldMk cId="1886538068" sldId="741"/>
            <ac:spMk id="2" creationId="{1F8FC450-9D23-44FF-4251-46189D87F5D6}"/>
          </ac:spMkLst>
        </pc:spChg>
        <pc:spChg chg="mod ord">
          <ac:chgData name="Rui Sousa" userId="285bb50d-01dc-4ac6-9db4-995d4d48557e" providerId="ADAL" clId="{46849BC3-4ED1-4F23-BBD8-44E2840BBA72}" dt="2025-12-15T20:30:53.062" v="5123" actId="790"/>
          <ac:spMkLst>
            <pc:docMk/>
            <pc:sldMk cId="1886538068" sldId="741"/>
            <ac:spMk id="3" creationId="{55218EDE-4782-7E6F-537A-C38E01ADBDBE}"/>
          </ac:spMkLst>
        </pc:spChg>
        <pc:spChg chg="add mod ord">
          <ac:chgData name="Rui Sousa" userId="285bb50d-01dc-4ac6-9db4-995d4d48557e" providerId="ADAL" clId="{46849BC3-4ED1-4F23-BBD8-44E2840BBA72}" dt="2025-12-15T20:30:53.062" v="5123" actId="790"/>
          <ac:spMkLst>
            <pc:docMk/>
            <pc:sldMk cId="1886538068" sldId="741"/>
            <ac:spMk id="4" creationId="{618473DC-80C5-FF21-AD94-2E988F159A26}"/>
          </ac:spMkLst>
        </pc:spChg>
        <pc:spChg chg="mod ord">
          <ac:chgData name="Rui Sousa" userId="285bb50d-01dc-4ac6-9db4-995d4d48557e" providerId="ADAL" clId="{46849BC3-4ED1-4F23-BBD8-44E2840BBA72}" dt="2025-12-15T20:30:53.062" v="5123" actId="790"/>
          <ac:spMkLst>
            <pc:docMk/>
            <pc:sldMk cId="1886538068" sldId="741"/>
            <ac:spMk id="11" creationId="{DAA593B6-393C-D25A-8694-3ECFBB6B0BF8}"/>
          </ac:spMkLst>
        </pc:spChg>
        <pc:spChg chg="del mod ord">
          <ac:chgData name="Rui Sousa" userId="285bb50d-01dc-4ac6-9db4-995d4d48557e" providerId="ADAL" clId="{46849BC3-4ED1-4F23-BBD8-44E2840BBA72}" dt="2025-12-15T16:54:12.377" v="3854" actId="700"/>
          <ac:spMkLst>
            <pc:docMk/>
            <pc:sldMk cId="1886538068" sldId="741"/>
            <ac:spMk id="13" creationId="{4EBAE593-9929-6B4C-44E5-23AF8F81521A}"/>
          </ac:spMkLst>
        </pc:spChg>
      </pc:sldChg>
      <pc:sldChg chg="modSp add mod">
        <pc:chgData name="Rui Sousa" userId="285bb50d-01dc-4ac6-9db4-995d4d48557e" providerId="ADAL" clId="{46849BC3-4ED1-4F23-BBD8-44E2840BBA72}" dt="2025-12-15T20:51:59.899" v="5328" actId="20577"/>
        <pc:sldMkLst>
          <pc:docMk/>
          <pc:sldMk cId="1084155793" sldId="742"/>
        </pc:sldMkLst>
        <pc:spChg chg="mod">
          <ac:chgData name="Rui Sousa" userId="285bb50d-01dc-4ac6-9db4-995d4d48557e" providerId="ADAL" clId="{46849BC3-4ED1-4F23-BBD8-44E2840BBA72}" dt="2025-12-15T20:51:59.899" v="5328" actId="20577"/>
          <ac:spMkLst>
            <pc:docMk/>
            <pc:sldMk cId="1084155793" sldId="742"/>
            <ac:spMk id="2" creationId="{E856C5C1-44BB-572C-7E72-588F444613D2}"/>
          </ac:spMkLst>
        </pc:spChg>
        <pc:spChg chg="mod">
          <ac:chgData name="Rui Sousa" userId="285bb50d-01dc-4ac6-9db4-995d4d48557e" providerId="ADAL" clId="{46849BC3-4ED1-4F23-BBD8-44E2840BBA72}" dt="2025-12-15T20:30:53.062" v="5123" actId="790"/>
          <ac:spMkLst>
            <pc:docMk/>
            <pc:sldMk cId="1084155793" sldId="742"/>
            <ac:spMk id="4" creationId="{CE5226D8-8524-BFDC-965C-FE631DBFD9C1}"/>
          </ac:spMkLst>
        </pc:spChg>
        <pc:spChg chg="mod">
          <ac:chgData name="Rui Sousa" userId="285bb50d-01dc-4ac6-9db4-995d4d48557e" providerId="ADAL" clId="{46849BC3-4ED1-4F23-BBD8-44E2840BBA72}" dt="2025-12-15T20:30:53.062" v="5123" actId="790"/>
          <ac:spMkLst>
            <pc:docMk/>
            <pc:sldMk cId="1084155793" sldId="742"/>
            <ac:spMk id="5" creationId="{0061EB7C-0055-039D-4BCA-E783A3718DB1}"/>
          </ac:spMkLst>
        </pc:spChg>
      </pc:sldChg>
      <pc:sldChg chg="addSp modSp new mod">
        <pc:chgData name="Rui Sousa" userId="285bb50d-01dc-4ac6-9db4-995d4d48557e" providerId="ADAL" clId="{46849BC3-4ED1-4F23-BBD8-44E2840BBA72}" dt="2025-12-16T11:56:15.839" v="5636" actId="14100"/>
        <pc:sldMkLst>
          <pc:docMk/>
          <pc:sldMk cId="2929154258" sldId="743"/>
        </pc:sldMkLst>
        <pc:spChg chg="mod">
          <ac:chgData name="Rui Sousa" userId="285bb50d-01dc-4ac6-9db4-995d4d48557e" providerId="ADAL" clId="{46849BC3-4ED1-4F23-BBD8-44E2840BBA72}" dt="2025-12-16T11:54:14.467" v="5588"/>
          <ac:spMkLst>
            <pc:docMk/>
            <pc:sldMk cId="2929154258" sldId="743"/>
            <ac:spMk id="4" creationId="{25073F8C-D5BE-28BC-AC93-A0016E43202F}"/>
          </ac:spMkLst>
        </pc:spChg>
        <pc:spChg chg="add mod">
          <ac:chgData name="Rui Sousa" userId="285bb50d-01dc-4ac6-9db4-995d4d48557e" providerId="ADAL" clId="{46849BC3-4ED1-4F23-BBD8-44E2840BBA72}" dt="2025-12-16T11:56:15.839" v="5636" actId="14100"/>
          <ac:spMkLst>
            <pc:docMk/>
            <pc:sldMk cId="2929154258" sldId="743"/>
            <ac:spMk id="7" creationId="{43653F14-DA2D-240D-666B-97736BDEDB99}"/>
          </ac:spMkLst>
        </pc:spChg>
        <pc:picChg chg="add mod modCrop">
          <ac:chgData name="Rui Sousa" userId="285bb50d-01dc-4ac6-9db4-995d4d48557e" providerId="ADAL" clId="{46849BC3-4ED1-4F23-BBD8-44E2840BBA72}" dt="2025-12-16T11:56:07.389" v="5631" actId="1076"/>
          <ac:picMkLst>
            <pc:docMk/>
            <pc:sldMk cId="2929154258" sldId="743"/>
            <ac:picMk id="6" creationId="{D53EA2B1-044C-32C5-A3B5-875C1BBAFD0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9EAECE7-74A5-E964-C02A-551C7F07BE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PT"/>
          </a:p>
        </p:txBody>
      </p:sp>
      <p:sp>
        <p:nvSpPr>
          <p:cNvPr id="3" name="Date Placeholder 2">
            <a:extLst>
              <a:ext uri="{FF2B5EF4-FFF2-40B4-BE49-F238E27FC236}">
                <a16:creationId xmlns:a16="http://schemas.microsoft.com/office/drawing/2014/main" id="{9B154E9A-11C3-C034-37B7-190A347E8B2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82D99943-47BB-9943-BB28-C0B5F6A25770}" type="datetimeFigureOut">
              <a:rPr lang="en-PT"/>
              <a:pPr>
                <a:defRPr/>
              </a:pPr>
              <a:t>12/17/2025</a:t>
            </a:fld>
            <a:endParaRPr lang="en-PT"/>
          </a:p>
        </p:txBody>
      </p:sp>
      <p:sp>
        <p:nvSpPr>
          <p:cNvPr id="4" name="Footer Placeholder 3">
            <a:extLst>
              <a:ext uri="{FF2B5EF4-FFF2-40B4-BE49-F238E27FC236}">
                <a16:creationId xmlns:a16="http://schemas.microsoft.com/office/drawing/2014/main" id="{0D798CE7-F572-1A5E-9210-912F240CEA7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PT"/>
          </a:p>
        </p:txBody>
      </p:sp>
      <p:sp>
        <p:nvSpPr>
          <p:cNvPr id="5" name="Slide Number Placeholder 4">
            <a:extLst>
              <a:ext uri="{FF2B5EF4-FFF2-40B4-BE49-F238E27FC236}">
                <a16:creationId xmlns:a16="http://schemas.microsoft.com/office/drawing/2014/main" id="{8BE4F40A-0A2C-731F-035F-D67707E3E9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5A8FE286-13E2-C54F-9CFD-2470A90823AA}" type="slidenum">
              <a:rPr lang="en-PT"/>
              <a:pPr>
                <a:defRPr/>
              </a:pPr>
              <a:t>‹#›</a:t>
            </a:fld>
            <a:endParaRPr lang="en-PT"/>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E770A6-71CC-B4EF-60A0-3584E33D574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C4916D54-AA3D-FDD1-A687-504377CF7B2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FDFEB374-AFFF-264E-A1CB-2286B1FB5A00}" type="datetimeFigureOut">
              <a:rPr lang="en-US"/>
              <a:pPr>
                <a:defRPr/>
              </a:pPr>
              <a:t>12/17/2025</a:t>
            </a:fld>
            <a:endParaRPr lang="en-US"/>
          </a:p>
        </p:txBody>
      </p:sp>
      <p:sp>
        <p:nvSpPr>
          <p:cNvPr id="4" name="Slide Image Placeholder 3">
            <a:extLst>
              <a:ext uri="{FF2B5EF4-FFF2-40B4-BE49-F238E27FC236}">
                <a16:creationId xmlns:a16="http://schemas.microsoft.com/office/drawing/2014/main" id="{1E6AE096-4BEB-59B4-2CC0-80E3F2216FC7}"/>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FF3E3A3-E763-0C81-F321-48B51A0C06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F5BE256B-12CC-D34E-29F0-8CDBF7CFD444}"/>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F75724B0-4336-26BB-4ED3-4490F4418FC3}"/>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06B41BB2-8F88-4840-AF43-890FD2445F26}"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CBDAC-303D-0AB3-795D-D70200C5E0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0729BD-696A-DCD8-2051-EF273BF9C2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82C663-0084-F086-646B-C61A9B785395}"/>
              </a:ext>
            </a:extLst>
          </p:cNvPr>
          <p:cNvSpPr>
            <a:spLocks noGrp="1"/>
          </p:cNvSpPr>
          <p:nvPr>
            <p:ph type="body" idx="1"/>
          </p:nvPr>
        </p:nvSpPr>
        <p:spPr/>
        <p:txBody>
          <a:bodyPr/>
          <a:lstStyle/>
          <a:p>
            <a:endParaRPr lang="en-PT" dirty="0"/>
          </a:p>
        </p:txBody>
      </p:sp>
      <p:sp>
        <p:nvSpPr>
          <p:cNvPr id="4" name="Slide Number Placeholder 3">
            <a:extLst>
              <a:ext uri="{FF2B5EF4-FFF2-40B4-BE49-F238E27FC236}">
                <a16:creationId xmlns:a16="http://schemas.microsoft.com/office/drawing/2014/main" id="{2CB46593-17BC-D169-6872-D1D09EA86C3E}"/>
              </a:ext>
            </a:extLst>
          </p:cNvPr>
          <p:cNvSpPr>
            <a:spLocks noGrp="1"/>
          </p:cNvSpPr>
          <p:nvPr>
            <p:ph type="sldNum" sz="quarter" idx="5"/>
          </p:nvPr>
        </p:nvSpPr>
        <p:spPr/>
        <p:txBody>
          <a:bodyPr/>
          <a:lstStyle/>
          <a:p>
            <a:pPr>
              <a:defRPr/>
            </a:pPr>
            <a:fld id="{06B41BB2-8F88-4840-AF43-890FD2445F26}" type="slidenum">
              <a:rPr lang="en-US" smtClean="0"/>
              <a:pPr>
                <a:defRPr/>
              </a:pPr>
              <a:t>10</a:t>
            </a:fld>
            <a:endParaRPr lang="en-US"/>
          </a:p>
        </p:txBody>
      </p:sp>
    </p:spTree>
    <p:extLst>
      <p:ext uri="{BB962C8B-B14F-4D97-AF65-F5344CB8AC3E}">
        <p14:creationId xmlns:p14="http://schemas.microsoft.com/office/powerpoint/2010/main" val="916806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9314F-DB1F-D153-A0B8-BA259D2ECD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BDAF98-B722-0769-A6F2-FB37085F72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27EBEC-A284-803A-69F8-E1C4328D126B}"/>
              </a:ext>
            </a:extLst>
          </p:cNvPr>
          <p:cNvSpPr>
            <a:spLocks noGrp="1"/>
          </p:cNvSpPr>
          <p:nvPr>
            <p:ph type="body" idx="1"/>
          </p:nvPr>
        </p:nvSpPr>
        <p:spPr/>
        <p:txBody>
          <a:bodyPr/>
          <a:lstStyle/>
          <a:p>
            <a:endParaRPr lang="en-PT" dirty="0"/>
          </a:p>
        </p:txBody>
      </p:sp>
      <p:sp>
        <p:nvSpPr>
          <p:cNvPr id="4" name="Slide Number Placeholder 3">
            <a:extLst>
              <a:ext uri="{FF2B5EF4-FFF2-40B4-BE49-F238E27FC236}">
                <a16:creationId xmlns:a16="http://schemas.microsoft.com/office/drawing/2014/main" id="{543967E9-B361-2340-F88B-410F6462A804}"/>
              </a:ext>
            </a:extLst>
          </p:cNvPr>
          <p:cNvSpPr>
            <a:spLocks noGrp="1"/>
          </p:cNvSpPr>
          <p:nvPr>
            <p:ph type="sldNum" sz="quarter" idx="5"/>
          </p:nvPr>
        </p:nvSpPr>
        <p:spPr/>
        <p:txBody>
          <a:bodyPr/>
          <a:lstStyle/>
          <a:p>
            <a:pPr>
              <a:defRPr/>
            </a:pPr>
            <a:fld id="{06B41BB2-8F88-4840-AF43-890FD2445F26}" type="slidenum">
              <a:rPr lang="en-US" smtClean="0"/>
              <a:pPr>
                <a:defRPr/>
              </a:pPr>
              <a:t>13</a:t>
            </a:fld>
            <a:endParaRPr lang="en-US"/>
          </a:p>
        </p:txBody>
      </p:sp>
    </p:spTree>
    <p:extLst>
      <p:ext uri="{BB962C8B-B14F-4D97-AF65-F5344CB8AC3E}">
        <p14:creationId xmlns:p14="http://schemas.microsoft.com/office/powerpoint/2010/main" val="75517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T" dirty="0"/>
          </a:p>
        </p:txBody>
      </p:sp>
      <p:sp>
        <p:nvSpPr>
          <p:cNvPr id="4" name="Slide Number Placeholder 3"/>
          <p:cNvSpPr>
            <a:spLocks noGrp="1"/>
          </p:cNvSpPr>
          <p:nvPr>
            <p:ph type="sldNum" sz="quarter" idx="5"/>
          </p:nvPr>
        </p:nvSpPr>
        <p:spPr/>
        <p:txBody>
          <a:bodyPr/>
          <a:lstStyle/>
          <a:p>
            <a:pPr>
              <a:defRPr/>
            </a:pPr>
            <a:fld id="{06B41BB2-8F88-4840-AF43-890FD2445F26}" type="slidenum">
              <a:rPr lang="en-US" smtClean="0"/>
              <a:pPr>
                <a:defRPr/>
              </a:pPr>
              <a:t>15</a:t>
            </a:fld>
            <a:endParaRPr lang="en-US"/>
          </a:p>
        </p:txBody>
      </p:sp>
    </p:spTree>
    <p:extLst>
      <p:ext uri="{BB962C8B-B14F-4D97-AF65-F5344CB8AC3E}">
        <p14:creationId xmlns:p14="http://schemas.microsoft.com/office/powerpoint/2010/main" val="2906517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32AB02-4565-4C10-9743-D1506E058633}" type="slidenum">
              <a:rPr lang="pt-PT" smtClean="0"/>
              <a:t>18</a:t>
            </a:fld>
            <a:endParaRPr lang="pt-PT"/>
          </a:p>
        </p:txBody>
      </p:sp>
    </p:spTree>
    <p:extLst>
      <p:ext uri="{BB962C8B-B14F-4D97-AF65-F5344CB8AC3E}">
        <p14:creationId xmlns:p14="http://schemas.microsoft.com/office/powerpoint/2010/main" val="3495953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T" dirty="0"/>
          </a:p>
        </p:txBody>
      </p:sp>
      <p:sp>
        <p:nvSpPr>
          <p:cNvPr id="4" name="Slide Number Placeholder 3"/>
          <p:cNvSpPr>
            <a:spLocks noGrp="1"/>
          </p:cNvSpPr>
          <p:nvPr>
            <p:ph type="sldNum" sz="quarter" idx="5"/>
          </p:nvPr>
        </p:nvSpPr>
        <p:spPr/>
        <p:txBody>
          <a:bodyPr/>
          <a:lstStyle/>
          <a:p>
            <a:pPr>
              <a:defRPr/>
            </a:pPr>
            <a:fld id="{06B41BB2-8F88-4840-AF43-890FD2445F26}" type="slidenum">
              <a:rPr lang="en-US" smtClean="0"/>
              <a:pPr>
                <a:defRPr/>
              </a:pPr>
              <a:t>20</a:t>
            </a:fld>
            <a:endParaRPr lang="en-US"/>
          </a:p>
        </p:txBody>
      </p:sp>
    </p:spTree>
    <p:extLst>
      <p:ext uri="{BB962C8B-B14F-4D97-AF65-F5344CB8AC3E}">
        <p14:creationId xmlns:p14="http://schemas.microsoft.com/office/powerpoint/2010/main" val="897667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32AB02-4565-4C10-9743-D1506E058633}" type="slidenum">
              <a:rPr lang="pt-PT" smtClean="0"/>
              <a:t>22</a:t>
            </a:fld>
            <a:endParaRPr lang="pt-PT"/>
          </a:p>
        </p:txBody>
      </p:sp>
    </p:spTree>
    <p:extLst>
      <p:ext uri="{BB962C8B-B14F-4D97-AF65-F5344CB8AC3E}">
        <p14:creationId xmlns:p14="http://schemas.microsoft.com/office/powerpoint/2010/main" val="4147532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5C2B0-36AD-021A-BF95-7FCEB8CB05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6CE988-2FA7-F125-068E-D8D93792CA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BBF19D-CEDE-38B1-D258-9FC5DA6CAD0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59846BE-54F7-11BF-C67D-B0D0D39C61E6}"/>
              </a:ext>
            </a:extLst>
          </p:cNvPr>
          <p:cNvSpPr>
            <a:spLocks noGrp="1"/>
          </p:cNvSpPr>
          <p:nvPr>
            <p:ph type="sldNum" sz="quarter" idx="5"/>
          </p:nvPr>
        </p:nvSpPr>
        <p:spPr/>
        <p:txBody>
          <a:bodyPr/>
          <a:lstStyle/>
          <a:p>
            <a:fld id="{0132AB02-4565-4C10-9743-D1506E058633}" type="slidenum">
              <a:rPr lang="pt-PT" smtClean="0"/>
              <a:t>25</a:t>
            </a:fld>
            <a:endParaRPr lang="pt-PT"/>
          </a:p>
        </p:txBody>
      </p:sp>
    </p:spTree>
    <p:extLst>
      <p:ext uri="{BB962C8B-B14F-4D97-AF65-F5344CB8AC3E}">
        <p14:creationId xmlns:p14="http://schemas.microsoft.com/office/powerpoint/2010/main" val="772400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A4E09-4C92-EA96-5B41-D1D2688D28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12AFBE-F970-B132-1BC3-C2B1FCC63D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1CEEF9-A895-B7FE-1C3B-8DFCB5B9E9F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9555520-A0DA-D998-633C-B88EB3D447A5}"/>
              </a:ext>
            </a:extLst>
          </p:cNvPr>
          <p:cNvSpPr>
            <a:spLocks noGrp="1"/>
          </p:cNvSpPr>
          <p:nvPr>
            <p:ph type="sldNum" sz="quarter" idx="5"/>
          </p:nvPr>
        </p:nvSpPr>
        <p:spPr/>
        <p:txBody>
          <a:bodyPr/>
          <a:lstStyle/>
          <a:p>
            <a:fld id="{0132AB02-4565-4C10-9743-D1506E058633}" type="slidenum">
              <a:rPr lang="pt-PT" smtClean="0"/>
              <a:t>26</a:t>
            </a:fld>
            <a:endParaRPr lang="pt-PT"/>
          </a:p>
        </p:txBody>
      </p:sp>
    </p:spTree>
    <p:extLst>
      <p:ext uri="{BB962C8B-B14F-4D97-AF65-F5344CB8AC3E}">
        <p14:creationId xmlns:p14="http://schemas.microsoft.com/office/powerpoint/2010/main" val="3051034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4071B-1806-7471-C79B-C112D24116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CB2256-6483-63F4-11E2-801B464F6D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A6C443-0BEF-3C39-0E74-CAAFF191817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C9E48B4-B608-C747-4FDB-662AA4F149C6}"/>
              </a:ext>
            </a:extLst>
          </p:cNvPr>
          <p:cNvSpPr>
            <a:spLocks noGrp="1"/>
          </p:cNvSpPr>
          <p:nvPr>
            <p:ph type="sldNum" sz="quarter" idx="5"/>
          </p:nvPr>
        </p:nvSpPr>
        <p:spPr/>
        <p:txBody>
          <a:bodyPr/>
          <a:lstStyle/>
          <a:p>
            <a:fld id="{0132AB02-4565-4C10-9743-D1506E058633}" type="slidenum">
              <a:rPr lang="pt-PT" smtClean="0"/>
              <a:t>27</a:t>
            </a:fld>
            <a:endParaRPr lang="pt-PT"/>
          </a:p>
        </p:txBody>
      </p:sp>
    </p:spTree>
    <p:extLst>
      <p:ext uri="{BB962C8B-B14F-4D97-AF65-F5344CB8AC3E}">
        <p14:creationId xmlns:p14="http://schemas.microsoft.com/office/powerpoint/2010/main" val="4244032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wwwinesctecpt">
            <a:extLst>
              <a:ext uri="{FF2B5EF4-FFF2-40B4-BE49-F238E27FC236}">
                <a16:creationId xmlns:a16="http://schemas.microsoft.com/office/drawing/2014/main" id="{FFD0D6DC-83CE-E168-26E1-8900C9A38105}"/>
              </a:ext>
            </a:extLst>
          </p:cNvPr>
          <p:cNvSpPr/>
          <p:nvPr/>
        </p:nvSpPr>
        <p:spPr>
          <a:xfrm>
            <a:off x="10006013" y="6075363"/>
            <a:ext cx="1590675" cy="123825"/>
          </a:xfrm>
          <a:prstGeom prst="rect">
            <a:avLst/>
          </a:prstGeom>
          <a:noFill/>
          <a:ln/>
        </p:spPr>
        <p:txBody>
          <a:bodyPr lIns="0" tIns="0" rIns="0" bIns="0" anchor="ctr"/>
          <a:lstStyle/>
          <a:p>
            <a:pPr algn="r" eaLnBrk="1" fontAlgn="auto" hangingPunct="1">
              <a:lnSpc>
                <a:spcPts val="1365"/>
              </a:lnSpc>
              <a:spcBef>
                <a:spcPts val="0"/>
              </a:spcBef>
              <a:spcAft>
                <a:spcPts val="0"/>
              </a:spcAft>
              <a:defRPr/>
            </a:pPr>
            <a:r>
              <a:rPr lang="en-US" sz="1050" b="0" i="0" spc="100" baseline="0" dirty="0">
                <a:solidFill>
                  <a:srgbClr val="FFFFFF"/>
                </a:solidFill>
                <a:latin typeface="Aptos" panose="020B0004020202020204" pitchFamily="34" charset="0"/>
                <a:ea typeface="Poppins Light" pitchFamily="34" charset="-122"/>
                <a:cs typeface="JetBrains Mono ExtraLight" panose="02000009000000000000" pitchFamily="49" charset="0"/>
              </a:rPr>
              <a:t>www.inesctec.pt  —</a:t>
            </a:r>
            <a:endParaRPr lang="en-US" sz="1050" b="0" i="0" spc="100" baseline="0" dirty="0">
              <a:latin typeface="Aptos" panose="020B0004020202020204" pitchFamily="34" charset="0"/>
              <a:cs typeface="JetBrains Mono ExtraLight" panose="02000009000000000000" pitchFamily="49" charset="0"/>
            </a:endParaRPr>
          </a:p>
        </p:txBody>
      </p:sp>
      <p:pic>
        <p:nvPicPr>
          <p:cNvPr id="4" name="Graphic 5">
            <a:extLst>
              <a:ext uri="{FF2B5EF4-FFF2-40B4-BE49-F238E27FC236}">
                <a16:creationId xmlns:a16="http://schemas.microsoft.com/office/drawing/2014/main" id="{4E5F9466-A3EF-0E13-8448-BAB154EA9530}"/>
              </a:ext>
            </a:extLst>
          </p:cNvPr>
          <p:cNvPicPr>
            <a:picLocks noChangeAspect="1"/>
          </p:cNvPicPr>
          <p:nvPr/>
        </p:nvPicPr>
        <p:blipFill>
          <a:blip r:embed="rId3"/>
          <a:stretch>
            <a:fillRect/>
          </a:stretch>
        </p:blipFill>
        <p:spPr>
          <a:xfrm>
            <a:off x="487363" y="421350"/>
            <a:ext cx="2800350" cy="392113"/>
          </a:xfrm>
          <a:prstGeom prst="rect">
            <a:avLst/>
          </a:prstGeom>
        </p:spPr>
      </p:pic>
      <p:pic>
        <p:nvPicPr>
          <p:cNvPr id="5" name="Picture 7">
            <a:extLst>
              <a:ext uri="{FF2B5EF4-FFF2-40B4-BE49-F238E27FC236}">
                <a16:creationId xmlns:a16="http://schemas.microsoft.com/office/drawing/2014/main" id="{214C04B2-8EAD-191F-FC4B-9B0B05CA1A0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56813" y="470563"/>
            <a:ext cx="1647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993A051F-75D5-A202-548C-1A1F34765DAE}"/>
              </a:ext>
            </a:extLst>
          </p:cNvPr>
          <p:cNvSpPr>
            <a:spLocks noGrp="1"/>
          </p:cNvSpPr>
          <p:nvPr>
            <p:ph type="title"/>
          </p:nvPr>
        </p:nvSpPr>
        <p:spPr>
          <a:xfrm>
            <a:off x="2409177" y="1215342"/>
            <a:ext cx="8801750" cy="2583083"/>
          </a:xfrm>
          <a:noFill/>
          <a:ln>
            <a:noFill/>
          </a:ln>
        </p:spPr>
        <p:txBody>
          <a:bodyPr anchor="b">
            <a:normAutofit/>
          </a:bodyPr>
          <a:lstStyle>
            <a:lvl1pPr algn="r">
              <a:defRPr lang="en-US" sz="3600" b="1" i="0" dirty="0">
                <a:solidFill>
                  <a:schemeClr val="tx1"/>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7" name="Text Placeholder 2">
            <a:extLst>
              <a:ext uri="{FF2B5EF4-FFF2-40B4-BE49-F238E27FC236}">
                <a16:creationId xmlns:a16="http://schemas.microsoft.com/office/drawing/2014/main" id="{B1F2C3F3-925D-86A7-61FC-A295C5E678E0}"/>
              </a:ext>
            </a:extLst>
          </p:cNvPr>
          <p:cNvSpPr>
            <a:spLocks noGrp="1"/>
          </p:cNvSpPr>
          <p:nvPr>
            <p:ph type="body" idx="1"/>
          </p:nvPr>
        </p:nvSpPr>
        <p:spPr>
          <a:xfrm>
            <a:off x="2409176" y="3987423"/>
            <a:ext cx="8801749" cy="228600"/>
          </a:xfrm>
          <a:noFill/>
          <a:ln/>
        </p:spPr>
        <p:txBody>
          <a:bodyPr lIns="0" tIns="0" rIns="0" bIns="0" rtlCol="0" anchor="b"/>
          <a:lstStyle>
            <a:lvl1pPr marL="0" indent="0" algn="r">
              <a:spcBef>
                <a:spcPts val="0"/>
              </a:spcBef>
              <a:spcAft>
                <a:spcPts val="1200"/>
              </a:spcAft>
              <a:buNone/>
              <a:defRPr kumimoji="0" lang="en-US" sz="1650" b="0" i="0" u="none" strike="noStrike" cap="none" spc="50" normalizeH="0" baseline="0">
                <a:ln>
                  <a:noFill/>
                </a:ln>
                <a:solidFill>
                  <a:schemeClr val="tx1"/>
                </a:solidFill>
                <a:effectLst/>
                <a:uLnTx/>
                <a:uFillTx/>
                <a:latin typeface="Aptos Light" panose="020B0004020202020204" pitchFamily="34" charset="0"/>
                <a:ea typeface="Aptos Light" panose="020B0004020202020204" pitchFamily="34" charset="0"/>
                <a:cs typeface="JetBrains Mono Regular" pitchFamily="34" charset="-120"/>
              </a:defRPr>
            </a:lvl1pPr>
          </a:lstStyle>
          <a:p>
            <a:pPr lvl="0"/>
            <a:r>
              <a:rPr lang="en-GB" dirty="0">
                <a:latin typeface="Aptos Regular"/>
              </a:rPr>
              <a:t>Click to edit Master text styles</a:t>
            </a:r>
          </a:p>
        </p:txBody>
      </p:sp>
    </p:spTree>
    <p:extLst>
      <p:ext uri="{BB962C8B-B14F-4D97-AF65-F5344CB8AC3E}">
        <p14:creationId xmlns:p14="http://schemas.microsoft.com/office/powerpoint/2010/main" val="230993422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7" name="Picture Placeholder 8"/>
          <p:cNvSpPr>
            <a:spLocks noGrp="1"/>
          </p:cNvSpPr>
          <p:nvPr>
            <p:ph type="pic" sz="quarter" idx="15"/>
          </p:nvPr>
        </p:nvSpPr>
        <p:spPr>
          <a:xfrm>
            <a:off x="6792000" y="0"/>
            <a:ext cx="5400000" cy="6858000"/>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pic>
        <p:nvPicPr>
          <p:cNvPr id="4" name="Picture 9">
            <a:extLst>
              <a:ext uri="{FF2B5EF4-FFF2-40B4-BE49-F238E27FC236}">
                <a16:creationId xmlns:a16="http://schemas.microsoft.com/office/drawing/2014/main" id="{2E5D7066-C31C-0309-1DC6-0DAB5D0CFB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A7DA747F-4324-B7A0-FCF1-16ED14B592E2}"/>
              </a:ext>
            </a:extLst>
          </p:cNvPr>
          <p:cNvSpPr>
            <a:spLocks noGrp="1"/>
          </p:cNvSpPr>
          <p:nvPr>
            <p:ph type="title"/>
          </p:nvPr>
        </p:nvSpPr>
        <p:spPr>
          <a:xfrm>
            <a:off x="907867" y="333375"/>
            <a:ext cx="5188133" cy="1603777"/>
          </a:xfrm>
          <a:noFill/>
          <a:ln>
            <a:noFill/>
          </a:ln>
        </p:spPr>
        <p:txBody>
          <a:bodyPr anchor="b"/>
          <a:lstStyle>
            <a:lvl1pPr>
              <a:defRPr lang="en-US" sz="3450" b="1" i="0" dirty="0">
                <a:solidFill>
                  <a:srgbClr val="002540"/>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8" name="Rectangle 7">
            <a:extLst>
              <a:ext uri="{FF2B5EF4-FFF2-40B4-BE49-F238E27FC236}">
                <a16:creationId xmlns:a16="http://schemas.microsoft.com/office/drawing/2014/main" id="{9BDBDD30-7F61-5972-2DEC-BD150212CE75}"/>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9" name="Slide Number Placeholder 5">
            <a:extLst>
              <a:ext uri="{FF2B5EF4-FFF2-40B4-BE49-F238E27FC236}">
                <a16:creationId xmlns:a16="http://schemas.microsoft.com/office/drawing/2014/main" id="{2A953599-AEEB-7A6A-6B93-B38F5044C3C2}"/>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14" name="Content Placeholder 19">
            <a:extLst>
              <a:ext uri="{FF2B5EF4-FFF2-40B4-BE49-F238E27FC236}">
                <a16:creationId xmlns:a16="http://schemas.microsoft.com/office/drawing/2014/main" id="{5353B52D-AEA1-64D7-84ED-228B38498A91}"/>
              </a:ext>
            </a:extLst>
          </p:cNvPr>
          <p:cNvSpPr>
            <a:spLocks noGrp="1"/>
          </p:cNvSpPr>
          <p:nvPr>
            <p:ph sz="quarter" idx="14"/>
          </p:nvPr>
        </p:nvSpPr>
        <p:spPr>
          <a:xfrm>
            <a:off x="907868" y="2259874"/>
            <a:ext cx="5188132" cy="3638198"/>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1868586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0"/>
            <a:ext cx="5400675" cy="6858000"/>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 name="Rectangle 1">
            <a:extLst>
              <a:ext uri="{FF2B5EF4-FFF2-40B4-BE49-F238E27FC236}">
                <a16:creationId xmlns:a16="http://schemas.microsoft.com/office/drawing/2014/main" id="{1119A2B9-182B-468B-AF69-F6701711AC43}"/>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6" name="Slide Number Placeholder 5">
            <a:extLst>
              <a:ext uri="{FF2B5EF4-FFF2-40B4-BE49-F238E27FC236}">
                <a16:creationId xmlns:a16="http://schemas.microsoft.com/office/drawing/2014/main" id="{5B0C284D-C682-7305-F60D-27FEEE68BCFA}"/>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4" name="Content Placeholder 19">
            <a:extLst>
              <a:ext uri="{FF2B5EF4-FFF2-40B4-BE49-F238E27FC236}">
                <a16:creationId xmlns:a16="http://schemas.microsoft.com/office/drawing/2014/main" id="{684BE306-EB68-6306-EE18-08E4248B5622}"/>
              </a:ext>
            </a:extLst>
          </p:cNvPr>
          <p:cNvSpPr>
            <a:spLocks noGrp="1"/>
          </p:cNvSpPr>
          <p:nvPr>
            <p:ph sz="quarter" idx="14"/>
          </p:nvPr>
        </p:nvSpPr>
        <p:spPr>
          <a:xfrm>
            <a:off x="6095999" y="1143000"/>
            <a:ext cx="5470693" cy="4755072"/>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6110502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6788506" y="0"/>
            <a:ext cx="5403494" cy="6005514"/>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pic>
        <p:nvPicPr>
          <p:cNvPr id="4" name="Picture 9">
            <a:extLst>
              <a:ext uri="{FF2B5EF4-FFF2-40B4-BE49-F238E27FC236}">
                <a16:creationId xmlns:a16="http://schemas.microsoft.com/office/drawing/2014/main" id="{512274EE-89C9-711D-F048-2EAA5147B7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07868" y="333375"/>
            <a:ext cx="5188132" cy="1603777"/>
          </a:xfrm>
          <a:noFill/>
          <a:ln>
            <a:noFill/>
          </a:ln>
        </p:spPr>
        <p:txBody>
          <a:bodyPr anchor="b"/>
          <a:lstStyle>
            <a:lvl1pPr>
              <a:defRPr lang="en-US" sz="3450" b="1" i="0" dirty="0">
                <a:solidFill>
                  <a:srgbClr val="002540"/>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6" name="Rectangle 5">
            <a:extLst>
              <a:ext uri="{FF2B5EF4-FFF2-40B4-BE49-F238E27FC236}">
                <a16:creationId xmlns:a16="http://schemas.microsoft.com/office/drawing/2014/main" id="{59AD7770-1199-6F7C-E776-7EC8B9864381}"/>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7" name="Slide Number Placeholder 5">
            <a:extLst>
              <a:ext uri="{FF2B5EF4-FFF2-40B4-BE49-F238E27FC236}">
                <a16:creationId xmlns:a16="http://schemas.microsoft.com/office/drawing/2014/main" id="{D6D2A395-056D-A6F3-3F2E-E457D1139FC1}"/>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3" name="Content Placeholder 19">
            <a:extLst>
              <a:ext uri="{FF2B5EF4-FFF2-40B4-BE49-F238E27FC236}">
                <a16:creationId xmlns:a16="http://schemas.microsoft.com/office/drawing/2014/main" id="{11705675-3000-80FE-85CC-D45D71585CEB}"/>
              </a:ext>
            </a:extLst>
          </p:cNvPr>
          <p:cNvSpPr>
            <a:spLocks noGrp="1"/>
          </p:cNvSpPr>
          <p:nvPr>
            <p:ph sz="quarter" idx="14"/>
          </p:nvPr>
        </p:nvSpPr>
        <p:spPr>
          <a:xfrm>
            <a:off x="907868" y="2259874"/>
            <a:ext cx="5188132" cy="3638198"/>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2403971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 y="-1"/>
            <a:ext cx="5400674" cy="5972175"/>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pic>
        <p:nvPicPr>
          <p:cNvPr id="4" name="Picture 11">
            <a:extLst>
              <a:ext uri="{FF2B5EF4-FFF2-40B4-BE49-F238E27FC236}">
                <a16:creationId xmlns:a16="http://schemas.microsoft.com/office/drawing/2014/main" id="{112A74EF-2952-C798-DD8E-CB46B3C9F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1504" t="46242" r="12343" b="46384"/>
          <a:stretch>
            <a:fillRect/>
          </a:stretch>
        </p:blipFill>
        <p:spPr bwMode="auto">
          <a:xfrm rot="16200000">
            <a:off x="-340518" y="958056"/>
            <a:ext cx="15224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0C302913-658F-344A-A3BD-9E9CEE7C783F}"/>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3" name="Slide Number Placeholder 5">
            <a:extLst>
              <a:ext uri="{FF2B5EF4-FFF2-40B4-BE49-F238E27FC236}">
                <a16:creationId xmlns:a16="http://schemas.microsoft.com/office/drawing/2014/main" id="{C2B4BD41-8A8F-54A8-7300-066FD305A5DE}"/>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11" name="Title 1">
            <a:extLst>
              <a:ext uri="{FF2B5EF4-FFF2-40B4-BE49-F238E27FC236}">
                <a16:creationId xmlns:a16="http://schemas.microsoft.com/office/drawing/2014/main" id="{5ACF10A6-10EB-4A4D-2977-CB02A7CE5A1E}"/>
              </a:ext>
            </a:extLst>
          </p:cNvPr>
          <p:cNvSpPr>
            <a:spLocks noGrp="1"/>
          </p:cNvSpPr>
          <p:nvPr>
            <p:ph type="title"/>
          </p:nvPr>
        </p:nvSpPr>
        <p:spPr>
          <a:xfrm>
            <a:off x="6096001" y="333375"/>
            <a:ext cx="5470692" cy="1603777"/>
          </a:xfrm>
          <a:noFill/>
          <a:ln>
            <a:noFill/>
          </a:ln>
        </p:spPr>
        <p:txBody>
          <a:bodyPr anchor="b"/>
          <a:lstStyle>
            <a:lvl1pPr>
              <a:defRPr lang="en-US" sz="3450" b="1" i="0" dirty="0">
                <a:solidFill>
                  <a:srgbClr val="002540"/>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16" name="Content Placeholder 19">
            <a:extLst>
              <a:ext uri="{FF2B5EF4-FFF2-40B4-BE49-F238E27FC236}">
                <a16:creationId xmlns:a16="http://schemas.microsoft.com/office/drawing/2014/main" id="{0D756154-58E2-D7B2-D374-6482E54AAE8A}"/>
              </a:ext>
            </a:extLst>
          </p:cNvPr>
          <p:cNvSpPr>
            <a:spLocks noGrp="1"/>
          </p:cNvSpPr>
          <p:nvPr>
            <p:ph sz="quarter" idx="15"/>
          </p:nvPr>
        </p:nvSpPr>
        <p:spPr>
          <a:xfrm>
            <a:off x="6096000" y="2259874"/>
            <a:ext cx="5470693" cy="3638198"/>
          </a:xfrm>
        </p:spPr>
        <p:txBody>
          <a:bodyPr>
            <a:normAutofit/>
          </a:bodyPr>
          <a:lstStyle>
            <a:lvl1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05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27575482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id="{4638C437-A152-46B7-AEEE-C59DD81865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8"/>
          <p:cNvSpPr>
            <a:spLocks noGrp="1"/>
          </p:cNvSpPr>
          <p:nvPr>
            <p:ph type="pic" sz="quarter" idx="15"/>
          </p:nvPr>
        </p:nvSpPr>
        <p:spPr>
          <a:xfrm>
            <a:off x="6792000" y="852486"/>
            <a:ext cx="5400000" cy="6005514"/>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3" name="Rectangle 2">
            <a:extLst>
              <a:ext uri="{FF2B5EF4-FFF2-40B4-BE49-F238E27FC236}">
                <a16:creationId xmlns:a16="http://schemas.microsoft.com/office/drawing/2014/main" id="{E8250893-82D9-6369-F562-CD72875D22CB}"/>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8" name="Slide Number Placeholder 5">
            <a:extLst>
              <a:ext uri="{FF2B5EF4-FFF2-40B4-BE49-F238E27FC236}">
                <a16:creationId xmlns:a16="http://schemas.microsoft.com/office/drawing/2014/main" id="{2E5DE62D-5B3A-4682-E1CC-1312710BB9F0}"/>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6" name="Title 1">
            <a:extLst>
              <a:ext uri="{FF2B5EF4-FFF2-40B4-BE49-F238E27FC236}">
                <a16:creationId xmlns:a16="http://schemas.microsoft.com/office/drawing/2014/main" id="{5A5660B9-0F0D-9104-14F9-C0F9523506A9}"/>
              </a:ext>
            </a:extLst>
          </p:cNvPr>
          <p:cNvSpPr>
            <a:spLocks noGrp="1"/>
          </p:cNvSpPr>
          <p:nvPr>
            <p:ph type="title"/>
          </p:nvPr>
        </p:nvSpPr>
        <p:spPr>
          <a:xfrm>
            <a:off x="907868" y="333375"/>
            <a:ext cx="5188132" cy="1603777"/>
          </a:xfrm>
          <a:noFill/>
          <a:ln>
            <a:noFill/>
          </a:ln>
        </p:spPr>
        <p:txBody>
          <a:bodyPr anchor="b"/>
          <a:lstStyle>
            <a:lvl1pPr>
              <a:defRPr lang="en-US" sz="3450" b="1" i="0" dirty="0">
                <a:solidFill>
                  <a:srgbClr val="002540"/>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9" name="Content Placeholder 19">
            <a:extLst>
              <a:ext uri="{FF2B5EF4-FFF2-40B4-BE49-F238E27FC236}">
                <a16:creationId xmlns:a16="http://schemas.microsoft.com/office/drawing/2014/main" id="{CCE87735-BAD4-97CE-6E2D-876B48FCB2ED}"/>
              </a:ext>
            </a:extLst>
          </p:cNvPr>
          <p:cNvSpPr>
            <a:spLocks noGrp="1"/>
          </p:cNvSpPr>
          <p:nvPr>
            <p:ph sz="quarter" idx="14"/>
          </p:nvPr>
        </p:nvSpPr>
        <p:spPr>
          <a:xfrm>
            <a:off x="907868" y="2259874"/>
            <a:ext cx="5188132" cy="3638198"/>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620804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3" name="Vector" descr="preencoded.png">
            <a:extLst>
              <a:ext uri="{FF2B5EF4-FFF2-40B4-BE49-F238E27FC236}">
                <a16:creationId xmlns:a16="http://schemas.microsoft.com/office/drawing/2014/main" id="{AC8ABF6D-67C7-8A64-5184-AD61BF71AAFB}"/>
              </a:ext>
            </a:extLst>
          </p:cNvPr>
          <p:cNvPicPr>
            <a:picLocks noChangeAspect="1"/>
          </p:cNvPicPr>
          <p:nvPr/>
        </p:nvPicPr>
        <p:blipFill>
          <a:blip r:embed="rId2"/>
          <a:srcRect/>
          <a:stretch/>
        </p:blipFill>
        <p:spPr>
          <a:xfrm>
            <a:off x="6528216" y="0"/>
            <a:ext cx="5663784" cy="6858000"/>
          </a:xfrm>
          <a:prstGeom prst="rect">
            <a:avLst/>
          </a:prstGeom>
        </p:spPr>
      </p:pic>
      <p:pic>
        <p:nvPicPr>
          <p:cNvPr id="5" name="Picture 9">
            <a:extLst>
              <a:ext uri="{FF2B5EF4-FFF2-40B4-BE49-F238E27FC236}">
                <a16:creationId xmlns:a16="http://schemas.microsoft.com/office/drawing/2014/main" id="{CC10AF38-DE80-DF31-B4D6-01E88FC22A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Picture Placeholder 8"/>
          <p:cNvSpPr>
            <a:spLocks noGrp="1"/>
          </p:cNvSpPr>
          <p:nvPr>
            <p:ph type="pic" sz="quarter" idx="13"/>
          </p:nvPr>
        </p:nvSpPr>
        <p:spPr>
          <a:xfrm>
            <a:off x="7141720" y="1076446"/>
            <a:ext cx="4409775" cy="4821626"/>
          </a:xfrm>
          <a:no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4" name="Rectangle 3">
            <a:extLst>
              <a:ext uri="{FF2B5EF4-FFF2-40B4-BE49-F238E27FC236}">
                <a16:creationId xmlns:a16="http://schemas.microsoft.com/office/drawing/2014/main" id="{BCBBFE18-AF9C-7E1E-E405-8A5E8623AF61}"/>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8" name="Slide Number Placeholder 5">
            <a:extLst>
              <a:ext uri="{FF2B5EF4-FFF2-40B4-BE49-F238E27FC236}">
                <a16:creationId xmlns:a16="http://schemas.microsoft.com/office/drawing/2014/main" id="{B2960671-839A-873F-7969-5629606FEAB6}"/>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12" name="Title 1">
            <a:extLst>
              <a:ext uri="{FF2B5EF4-FFF2-40B4-BE49-F238E27FC236}">
                <a16:creationId xmlns:a16="http://schemas.microsoft.com/office/drawing/2014/main" id="{965F8E94-BF8F-25DB-DD14-14E530B7615A}"/>
              </a:ext>
            </a:extLst>
          </p:cNvPr>
          <p:cNvSpPr>
            <a:spLocks noGrp="1"/>
          </p:cNvSpPr>
          <p:nvPr>
            <p:ph type="title"/>
          </p:nvPr>
        </p:nvSpPr>
        <p:spPr>
          <a:xfrm>
            <a:off x="907868" y="333375"/>
            <a:ext cx="5188132" cy="1603777"/>
          </a:xfrm>
          <a:noFill/>
          <a:ln>
            <a:noFill/>
          </a:ln>
        </p:spPr>
        <p:txBody>
          <a:bodyPr anchor="b">
            <a:normAutofit/>
          </a:bodyPr>
          <a:lstStyle>
            <a:lvl1pPr>
              <a:defRPr lang="en-US" sz="3450" b="1" i="0" kern="1200" dirty="0">
                <a:solidFill>
                  <a:srgbClr val="002540"/>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lgn="l" rtl="0" fontAlgn="base">
              <a:lnSpc>
                <a:spcPct val="90000"/>
              </a:lnSpc>
              <a:spcBef>
                <a:spcPct val="0"/>
              </a:spcBef>
              <a:spcAft>
                <a:spcPct val="0"/>
              </a:spcAft>
            </a:pPr>
            <a:r>
              <a:rPr lang="en-GB" dirty="0">
                <a:latin typeface="Aptos Regular"/>
              </a:rPr>
              <a:t>Click to edit Master title style</a:t>
            </a:r>
            <a:endParaRPr lang="en-US" dirty="0"/>
          </a:p>
        </p:txBody>
      </p:sp>
      <p:sp>
        <p:nvSpPr>
          <p:cNvPr id="2" name="Content Placeholder 19">
            <a:extLst>
              <a:ext uri="{FF2B5EF4-FFF2-40B4-BE49-F238E27FC236}">
                <a16:creationId xmlns:a16="http://schemas.microsoft.com/office/drawing/2014/main" id="{58A22130-E2AB-D071-85DD-199037707323}"/>
              </a:ext>
            </a:extLst>
          </p:cNvPr>
          <p:cNvSpPr>
            <a:spLocks noGrp="1"/>
          </p:cNvSpPr>
          <p:nvPr>
            <p:ph sz="quarter" idx="14"/>
          </p:nvPr>
        </p:nvSpPr>
        <p:spPr>
          <a:xfrm>
            <a:off x="907868" y="2259874"/>
            <a:ext cx="5188132" cy="3638198"/>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4112217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id="{319AF314-01A8-5104-0DAF-AEFDA517A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06540382-1EBB-5EC4-7A68-C3F35BA05C84}"/>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3" name="Slide Number Placeholder 5">
            <a:extLst>
              <a:ext uri="{FF2B5EF4-FFF2-40B4-BE49-F238E27FC236}">
                <a16:creationId xmlns:a16="http://schemas.microsoft.com/office/drawing/2014/main" id="{B4DE45DD-D337-3DC0-92D0-7234F4E4DC90}"/>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10" name="Title 1">
            <a:extLst>
              <a:ext uri="{FF2B5EF4-FFF2-40B4-BE49-F238E27FC236}">
                <a16:creationId xmlns:a16="http://schemas.microsoft.com/office/drawing/2014/main" id="{653DF253-5867-25FF-EC35-958FE84FE3CF}"/>
              </a:ext>
            </a:extLst>
          </p:cNvPr>
          <p:cNvSpPr>
            <a:spLocks noGrp="1"/>
          </p:cNvSpPr>
          <p:nvPr>
            <p:ph type="title"/>
          </p:nvPr>
        </p:nvSpPr>
        <p:spPr>
          <a:xfrm>
            <a:off x="907867" y="333375"/>
            <a:ext cx="10636133" cy="1603777"/>
          </a:xfrm>
          <a:noFill/>
          <a:ln>
            <a:noFill/>
          </a:ln>
        </p:spPr>
        <p:txBody>
          <a:bodyPr anchor="b">
            <a:normAutofit/>
          </a:bodyPr>
          <a:lstStyle>
            <a:lvl1pPr>
              <a:defRPr lang="en-US" sz="3450" b="1" i="0" kern="1200" dirty="0">
                <a:solidFill>
                  <a:srgbClr val="002540"/>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lgn="l" rtl="0" fontAlgn="base">
              <a:lnSpc>
                <a:spcPct val="90000"/>
              </a:lnSpc>
              <a:spcBef>
                <a:spcPct val="0"/>
              </a:spcBef>
              <a:spcAft>
                <a:spcPct val="0"/>
              </a:spcAft>
            </a:pPr>
            <a:r>
              <a:rPr lang="en-GB" dirty="0">
                <a:latin typeface="Aptos Regular"/>
              </a:rPr>
              <a:t>Click to edit Master title style</a:t>
            </a:r>
            <a:endParaRPr lang="en-US" dirty="0"/>
          </a:p>
        </p:txBody>
      </p:sp>
      <p:sp>
        <p:nvSpPr>
          <p:cNvPr id="14" name="Content Placeholder 19">
            <a:extLst>
              <a:ext uri="{FF2B5EF4-FFF2-40B4-BE49-F238E27FC236}">
                <a16:creationId xmlns:a16="http://schemas.microsoft.com/office/drawing/2014/main" id="{9ED3AEF4-D028-C5A1-8C9A-7E4694216C83}"/>
              </a:ext>
            </a:extLst>
          </p:cNvPr>
          <p:cNvSpPr>
            <a:spLocks noGrp="1"/>
          </p:cNvSpPr>
          <p:nvPr>
            <p:ph sz="quarter" idx="15"/>
          </p:nvPr>
        </p:nvSpPr>
        <p:spPr>
          <a:xfrm>
            <a:off x="6872990" y="2657856"/>
            <a:ext cx="4671010" cy="2901696"/>
          </a:xfrm>
        </p:spPr>
        <p:txBody>
          <a:bodyPr>
            <a:normAutofit/>
          </a:bodyPr>
          <a:lstStyle>
            <a:lvl1pPr>
              <a:lnSpc>
                <a:spcPct val="100000"/>
              </a:lnSpc>
              <a:spcBef>
                <a:spcPts val="0"/>
              </a:spcBef>
              <a:spcAft>
                <a:spcPts val="0"/>
              </a:spcAft>
              <a:defRPr sz="1400" b="0" i="0" spc="80" baseline="0">
                <a:solidFill>
                  <a:schemeClr val="accent3"/>
                </a:solidFill>
                <a:latin typeface="Aptos Light" panose="020B0004020202020204" pitchFamily="34" charset="0"/>
                <a:cs typeface="JetBrains Mono" panose="02000009000000000000" pitchFamily="49" charset="0"/>
              </a:defRPr>
            </a:lvl1pPr>
            <a:lvl2pPr>
              <a:lnSpc>
                <a:spcPct val="100000"/>
              </a:lnSpc>
              <a:spcBef>
                <a:spcPts val="0"/>
              </a:spcBef>
              <a:spcAft>
                <a:spcPts val="0"/>
              </a:spcAft>
              <a:defRPr sz="1400" b="0" i="0" spc="80" baseline="0">
                <a:solidFill>
                  <a:schemeClr val="accent3"/>
                </a:solidFill>
                <a:latin typeface="Aptos Light" panose="020B0004020202020204" pitchFamily="34" charset="0"/>
                <a:cs typeface="JetBrains Mono" panose="02000009000000000000" pitchFamily="49" charset="0"/>
              </a:defRPr>
            </a:lvl2pPr>
            <a:lvl3pPr>
              <a:lnSpc>
                <a:spcPct val="100000"/>
              </a:lnSpc>
              <a:spcBef>
                <a:spcPts val="0"/>
              </a:spcBef>
              <a:spcAft>
                <a:spcPts val="0"/>
              </a:spcAft>
              <a:defRPr sz="1400" b="0" i="0" spc="80" baseline="0">
                <a:solidFill>
                  <a:schemeClr val="accent3"/>
                </a:solidFill>
                <a:latin typeface="Aptos Light" panose="020B0004020202020204" pitchFamily="34" charset="0"/>
                <a:cs typeface="JetBrains Mono" panose="02000009000000000000" pitchFamily="49" charset="0"/>
              </a:defRPr>
            </a:lvl3pPr>
            <a:lvl4pPr>
              <a:lnSpc>
                <a:spcPct val="100000"/>
              </a:lnSpc>
              <a:spcBef>
                <a:spcPts val="0"/>
              </a:spcBef>
              <a:spcAft>
                <a:spcPts val="0"/>
              </a:spcAft>
              <a:defRPr sz="1400" b="0" i="0" spc="80" baseline="0">
                <a:solidFill>
                  <a:schemeClr val="accent3"/>
                </a:solidFill>
                <a:latin typeface="Aptos Light" panose="020B0004020202020204" pitchFamily="34" charset="0"/>
                <a:cs typeface="JetBrains Mono" panose="02000009000000000000" pitchFamily="49" charset="0"/>
              </a:defRPr>
            </a:lvl4pPr>
            <a:lvl5pPr>
              <a:lnSpc>
                <a:spcPct val="100000"/>
              </a:lnSpc>
              <a:spcBef>
                <a:spcPts val="0"/>
              </a:spcBef>
              <a:spcAft>
                <a:spcPts val="0"/>
              </a:spcAft>
              <a:defRPr sz="1400" b="0" i="0" spc="80" baseline="0">
                <a:solidFill>
                  <a:schemeClr val="accent3"/>
                </a:solidFill>
                <a:latin typeface="Aptos Light"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
        <p:nvSpPr>
          <p:cNvPr id="4" name="Content Placeholder 19">
            <a:extLst>
              <a:ext uri="{FF2B5EF4-FFF2-40B4-BE49-F238E27FC236}">
                <a16:creationId xmlns:a16="http://schemas.microsoft.com/office/drawing/2014/main" id="{504A481B-FD68-1061-A07A-BA63A6DDD4F2}"/>
              </a:ext>
            </a:extLst>
          </p:cNvPr>
          <p:cNvSpPr>
            <a:spLocks noGrp="1"/>
          </p:cNvSpPr>
          <p:nvPr>
            <p:ph sz="quarter" idx="14"/>
          </p:nvPr>
        </p:nvSpPr>
        <p:spPr>
          <a:xfrm>
            <a:off x="907868" y="2259874"/>
            <a:ext cx="5188132" cy="3638198"/>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12435818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B9EE1B51-C47D-4AEC-AB06-0BA236F46B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tulo inspirador do tema em questo  Julho 2024">
            <a:extLst>
              <a:ext uri="{FF2B5EF4-FFF2-40B4-BE49-F238E27FC236}">
                <a16:creationId xmlns:a16="http://schemas.microsoft.com/office/drawing/2014/main" id="{44123996-A6F4-7BFB-CA76-CBADE9F0DCD7}"/>
              </a:ext>
            </a:extLst>
          </p:cNvPr>
          <p:cNvSpPr/>
          <p:nvPr userDrawn="1"/>
        </p:nvSpPr>
        <p:spPr>
          <a:xfrm>
            <a:off x="7858125" y="333375"/>
            <a:ext cx="3429000" cy="95250"/>
          </a:xfrm>
          <a:prstGeom prst="rect">
            <a:avLst/>
          </a:prstGeom>
          <a:noFill/>
          <a:ln/>
        </p:spPr>
        <p:txBody>
          <a:bodyPr lIns="0" tIns="0" rIns="0" bIns="0" anchor="ctr"/>
          <a:lstStyle/>
          <a:p>
            <a:pPr algn="r" eaLnBrk="1" fontAlgn="auto" hangingPunct="1">
              <a:lnSpc>
                <a:spcPts val="1365"/>
              </a:lnSpc>
              <a:spcBef>
                <a:spcPts val="0"/>
              </a:spcBef>
              <a:spcAft>
                <a:spcPts val="0"/>
              </a:spcAft>
              <a:defRPr/>
            </a:pPr>
            <a:endParaRPr lang="en-US" sz="1050" dirty="0">
              <a:solidFill>
                <a:schemeClr val="accent1"/>
              </a:solidFill>
              <a:latin typeface="Calibri" panose="020F0502020204030204"/>
            </a:endParaRPr>
          </a:p>
        </p:txBody>
      </p:sp>
      <p:sp>
        <p:nvSpPr>
          <p:cNvPr id="2" name="Rectangle 1">
            <a:extLst>
              <a:ext uri="{FF2B5EF4-FFF2-40B4-BE49-F238E27FC236}">
                <a16:creationId xmlns:a16="http://schemas.microsoft.com/office/drawing/2014/main" id="{712CE02E-E475-E34E-A17B-689934E65FC8}"/>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3" name="Slide Number Placeholder 5">
            <a:extLst>
              <a:ext uri="{FF2B5EF4-FFF2-40B4-BE49-F238E27FC236}">
                <a16:creationId xmlns:a16="http://schemas.microsoft.com/office/drawing/2014/main" id="{B2278FA0-7D38-253E-45FB-6476BE1673D4}"/>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11" name="Title 1">
            <a:extLst>
              <a:ext uri="{FF2B5EF4-FFF2-40B4-BE49-F238E27FC236}">
                <a16:creationId xmlns:a16="http://schemas.microsoft.com/office/drawing/2014/main" id="{A0C2B433-6CC7-E545-F284-E0A42DC46098}"/>
              </a:ext>
            </a:extLst>
          </p:cNvPr>
          <p:cNvSpPr>
            <a:spLocks noGrp="1"/>
          </p:cNvSpPr>
          <p:nvPr>
            <p:ph type="title"/>
          </p:nvPr>
        </p:nvSpPr>
        <p:spPr>
          <a:xfrm>
            <a:off x="907868" y="333375"/>
            <a:ext cx="10636132" cy="1603777"/>
          </a:xfrm>
          <a:noFill/>
          <a:ln>
            <a:noFill/>
          </a:ln>
        </p:spPr>
        <p:txBody>
          <a:bodyPr anchor="b">
            <a:normAutofit/>
          </a:bodyPr>
          <a:lstStyle>
            <a:lvl1pPr>
              <a:defRPr lang="en-US" sz="3450" b="1" i="0" kern="1200" dirty="0">
                <a:solidFill>
                  <a:srgbClr val="002540"/>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lgn="l" rtl="0" fontAlgn="base">
              <a:lnSpc>
                <a:spcPct val="90000"/>
              </a:lnSpc>
              <a:spcBef>
                <a:spcPct val="0"/>
              </a:spcBef>
              <a:spcAft>
                <a:spcPct val="0"/>
              </a:spcAft>
            </a:pPr>
            <a:r>
              <a:rPr lang="en-GB" dirty="0">
                <a:latin typeface="Aptos Regular"/>
              </a:rPr>
              <a:t>Click to edit Master title style</a:t>
            </a:r>
            <a:endParaRPr lang="en-US" dirty="0"/>
          </a:p>
        </p:txBody>
      </p:sp>
      <p:sp>
        <p:nvSpPr>
          <p:cNvPr id="5" name="Content Placeholder 19">
            <a:extLst>
              <a:ext uri="{FF2B5EF4-FFF2-40B4-BE49-F238E27FC236}">
                <a16:creationId xmlns:a16="http://schemas.microsoft.com/office/drawing/2014/main" id="{593848B9-4E99-EE33-8FD8-DA095E1A38E6}"/>
              </a:ext>
            </a:extLst>
          </p:cNvPr>
          <p:cNvSpPr>
            <a:spLocks noGrp="1"/>
          </p:cNvSpPr>
          <p:nvPr>
            <p:ph sz="quarter" idx="14"/>
          </p:nvPr>
        </p:nvSpPr>
        <p:spPr>
          <a:xfrm>
            <a:off x="907867" y="2259874"/>
            <a:ext cx="10636131" cy="3638198"/>
          </a:xfrm>
        </p:spPr>
        <p:txBody>
          <a:bodyPr>
            <a:normAutofit/>
          </a:bodyPr>
          <a:lstStyle>
            <a:lvl1pPr>
              <a:lnSpc>
                <a:spcPct val="100000"/>
              </a:lnSpc>
              <a:spcAft>
                <a:spcPts val="600"/>
              </a:spcAft>
              <a:defRPr sz="1600" b="0" i="0">
                <a:solidFill>
                  <a:srgbClr val="000000"/>
                </a:solidFill>
                <a:latin typeface="Aptos" panose="020B0004020202020204" pitchFamily="34" charset="0"/>
                <a:cs typeface="JetBrains Mono" panose="02000009000000000000" pitchFamily="49" charset="0"/>
              </a:defRPr>
            </a:lvl1pPr>
            <a:lvl2pPr>
              <a:lnSpc>
                <a:spcPct val="100000"/>
              </a:lnSpc>
              <a:spcAft>
                <a:spcPts val="600"/>
              </a:spcAft>
              <a:defRPr sz="1400" b="0" i="0">
                <a:solidFill>
                  <a:srgbClr val="000000"/>
                </a:solidFill>
                <a:latin typeface="Aptos" panose="020B0004020202020204" pitchFamily="34" charset="0"/>
                <a:cs typeface="JetBrains Mono" panose="02000009000000000000" pitchFamily="49" charset="0"/>
              </a:defRPr>
            </a:lvl2pPr>
            <a:lvl3pPr>
              <a:lnSpc>
                <a:spcPct val="100000"/>
              </a:lnSpc>
              <a:spcAft>
                <a:spcPts val="600"/>
              </a:spcAft>
              <a:defRPr sz="1200" b="0" i="0">
                <a:solidFill>
                  <a:srgbClr val="000000"/>
                </a:solidFill>
                <a:latin typeface="Aptos" panose="020B0004020202020204" pitchFamily="34" charset="0"/>
                <a:cs typeface="JetBrains Mono" panose="02000009000000000000" pitchFamily="49" charset="0"/>
              </a:defRPr>
            </a:lvl3pPr>
            <a:lvl4pPr>
              <a:lnSpc>
                <a:spcPct val="100000"/>
              </a:lnSpc>
              <a:spcAft>
                <a:spcPts val="600"/>
              </a:spcAft>
              <a:defRPr sz="1100" b="0" i="0">
                <a:solidFill>
                  <a:srgbClr val="000000"/>
                </a:solidFill>
                <a:latin typeface="Aptos" panose="020B0004020202020204" pitchFamily="34" charset="0"/>
                <a:cs typeface="JetBrains Mono" panose="02000009000000000000" pitchFamily="49" charset="0"/>
              </a:defRPr>
            </a:lvl4pPr>
            <a:lvl5pPr>
              <a:lnSpc>
                <a:spcPct val="100000"/>
              </a:lnSpc>
              <a:spcAft>
                <a:spcPts val="600"/>
              </a:spcAft>
              <a:defRPr sz="1000" b="0" i="0">
                <a:solidFill>
                  <a:srgbClr val="000000"/>
                </a:solidFill>
                <a:latin typeface="Aptos" panose="020B0004020202020204" pitchFamily="34" charset="0"/>
                <a:cs typeface="JetBrains Mono" panose="02000009000000000000" pitchFamily="49" charset="0"/>
              </a:defRPr>
            </a:lvl5pPr>
          </a:lstStyle>
          <a:p>
            <a:pPr lvl="0"/>
            <a:r>
              <a:rPr lang="en-GB" dirty="0">
                <a:latin typeface="Aptos Regular"/>
              </a:rPr>
              <a:t>Click to edit Master text styles</a:t>
            </a:r>
          </a:p>
          <a:p>
            <a:pPr lvl="1"/>
            <a:r>
              <a:rPr lang="en-GB" dirty="0">
                <a:latin typeface="Aptos Regular"/>
              </a:rPr>
              <a:t>Second level</a:t>
            </a:r>
          </a:p>
          <a:p>
            <a:pPr lvl="2"/>
            <a:r>
              <a:rPr lang="en-GB" dirty="0">
                <a:latin typeface="Aptos Regular"/>
              </a:rPr>
              <a:t>Third level</a:t>
            </a:r>
          </a:p>
          <a:p>
            <a:pPr lvl="3"/>
            <a:r>
              <a:rPr lang="en-GB" dirty="0">
                <a:latin typeface="Aptos Regular"/>
              </a:rPr>
              <a:t>Fourth level</a:t>
            </a:r>
          </a:p>
          <a:p>
            <a:pPr lvl="4"/>
            <a:r>
              <a:rPr lang="en-GB" dirty="0">
                <a:latin typeface="Aptos Regular"/>
              </a:rPr>
              <a:t>Fifth level</a:t>
            </a:r>
            <a:endParaRPr lang="en-US" dirty="0"/>
          </a:p>
        </p:txBody>
      </p:sp>
    </p:spTree>
    <p:extLst>
      <p:ext uri="{BB962C8B-B14F-4D97-AF65-F5344CB8AC3E}">
        <p14:creationId xmlns:p14="http://schemas.microsoft.com/office/powerpoint/2010/main" val="644895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37E02E83-B102-00EB-CEDE-E26B64C6AEB6}"/>
              </a:ext>
            </a:extLst>
          </p:cNvPr>
          <p:cNvSpPr>
            <a:spLocks noGrp="1"/>
          </p:cNvSpPr>
          <p:nvPr>
            <p:ph type="pic" sz="quarter" idx="19"/>
          </p:nvPr>
        </p:nvSpPr>
        <p:spPr>
          <a:xfrm>
            <a:off x="933451" y="1246909"/>
            <a:ext cx="10299104" cy="5115214"/>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7" name="Rectangle 6">
            <a:extLst>
              <a:ext uri="{FF2B5EF4-FFF2-40B4-BE49-F238E27FC236}">
                <a16:creationId xmlns:a16="http://schemas.microsoft.com/office/drawing/2014/main" id="{50418DD0-4059-9A11-B352-39B3D2FAE767}"/>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pic>
        <p:nvPicPr>
          <p:cNvPr id="3" name="Picture 9">
            <a:extLst>
              <a:ext uri="{FF2B5EF4-FFF2-40B4-BE49-F238E27FC236}">
                <a16:creationId xmlns:a16="http://schemas.microsoft.com/office/drawing/2014/main" id="{3DDD32BC-8928-BE44-FB62-C5F84298B6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5">
            <a:extLst>
              <a:ext uri="{FF2B5EF4-FFF2-40B4-BE49-F238E27FC236}">
                <a16:creationId xmlns:a16="http://schemas.microsoft.com/office/drawing/2014/main" id="{174892B4-B3F0-D0C5-E89F-DAB9F7B343D3}"/>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4" name="Title 1">
            <a:extLst>
              <a:ext uri="{FF2B5EF4-FFF2-40B4-BE49-F238E27FC236}">
                <a16:creationId xmlns:a16="http://schemas.microsoft.com/office/drawing/2014/main" id="{B622F367-6ADA-6701-910E-C7ACC88130C2}"/>
              </a:ext>
            </a:extLst>
          </p:cNvPr>
          <p:cNvSpPr>
            <a:spLocks noGrp="1"/>
          </p:cNvSpPr>
          <p:nvPr>
            <p:ph type="title"/>
          </p:nvPr>
        </p:nvSpPr>
        <p:spPr>
          <a:xfrm>
            <a:off x="907868" y="333376"/>
            <a:ext cx="10636132" cy="913534"/>
          </a:xfrm>
          <a:noFill/>
          <a:ln>
            <a:noFill/>
          </a:ln>
        </p:spPr>
        <p:txBody>
          <a:bodyPr anchor="t">
            <a:normAutofit/>
          </a:bodyPr>
          <a:lstStyle>
            <a:lvl1pPr>
              <a:defRPr lang="en-US" sz="3450" b="1" i="0" kern="1200" dirty="0">
                <a:solidFill>
                  <a:srgbClr val="002540"/>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lgn="l" rtl="0" fontAlgn="base">
              <a:lnSpc>
                <a:spcPct val="90000"/>
              </a:lnSpc>
              <a:spcBef>
                <a:spcPct val="0"/>
              </a:spcBef>
              <a:spcAft>
                <a:spcPct val="0"/>
              </a:spcAft>
            </a:pPr>
            <a:r>
              <a:rPr lang="en-GB" dirty="0">
                <a:latin typeface="Aptos Regular"/>
              </a:rPr>
              <a:t>Click to edit Master title style</a:t>
            </a:r>
            <a:endParaRPr lang="en-US" dirty="0"/>
          </a:p>
        </p:txBody>
      </p:sp>
    </p:spTree>
    <p:extLst>
      <p:ext uri="{BB962C8B-B14F-4D97-AF65-F5344CB8AC3E}">
        <p14:creationId xmlns:p14="http://schemas.microsoft.com/office/powerpoint/2010/main" val="16752005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3" name="Picture 9">
            <a:extLst>
              <a:ext uri="{FF2B5EF4-FFF2-40B4-BE49-F238E27FC236}">
                <a16:creationId xmlns:a16="http://schemas.microsoft.com/office/drawing/2014/main" id="{3954EEFD-2045-FB4A-A1A6-1B07BE631A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Picture Placeholder 8"/>
          <p:cNvSpPr>
            <a:spLocks noGrp="1"/>
          </p:cNvSpPr>
          <p:nvPr>
            <p:ph type="pic" sz="quarter" idx="13"/>
          </p:nvPr>
        </p:nvSpPr>
        <p:spPr>
          <a:xfrm>
            <a:off x="933450" y="1246910"/>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3" name="Picture Placeholder 8"/>
          <p:cNvSpPr>
            <a:spLocks noGrp="1"/>
          </p:cNvSpPr>
          <p:nvPr>
            <p:ph type="pic" sz="quarter" idx="14"/>
          </p:nvPr>
        </p:nvSpPr>
        <p:spPr>
          <a:xfrm>
            <a:off x="933450" y="3724103"/>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6" name="Picture Placeholder 8"/>
          <p:cNvSpPr>
            <a:spLocks noGrp="1"/>
          </p:cNvSpPr>
          <p:nvPr>
            <p:ph type="pic" sz="quarter" idx="15"/>
          </p:nvPr>
        </p:nvSpPr>
        <p:spPr>
          <a:xfrm>
            <a:off x="3568585" y="1246910"/>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7" name="Picture Placeholder 8"/>
          <p:cNvSpPr>
            <a:spLocks noGrp="1"/>
          </p:cNvSpPr>
          <p:nvPr>
            <p:ph type="pic" sz="quarter" idx="16"/>
          </p:nvPr>
        </p:nvSpPr>
        <p:spPr>
          <a:xfrm>
            <a:off x="3568585" y="3724103"/>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8" name="Picture Placeholder 8"/>
          <p:cNvSpPr>
            <a:spLocks noGrp="1"/>
          </p:cNvSpPr>
          <p:nvPr>
            <p:ph type="pic" sz="quarter" idx="17"/>
          </p:nvPr>
        </p:nvSpPr>
        <p:spPr>
          <a:xfrm>
            <a:off x="6187094" y="1246910"/>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9" name="Picture Placeholder 8"/>
          <p:cNvSpPr>
            <a:spLocks noGrp="1"/>
          </p:cNvSpPr>
          <p:nvPr>
            <p:ph type="pic" sz="quarter" idx="18"/>
          </p:nvPr>
        </p:nvSpPr>
        <p:spPr>
          <a:xfrm>
            <a:off x="6187094" y="3724103"/>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30" name="Picture Placeholder 8"/>
          <p:cNvSpPr>
            <a:spLocks noGrp="1"/>
          </p:cNvSpPr>
          <p:nvPr>
            <p:ph type="pic" sz="quarter" idx="19"/>
          </p:nvPr>
        </p:nvSpPr>
        <p:spPr>
          <a:xfrm>
            <a:off x="8822229" y="1246910"/>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31" name="Picture Placeholder 8"/>
          <p:cNvSpPr>
            <a:spLocks noGrp="1"/>
          </p:cNvSpPr>
          <p:nvPr>
            <p:ph type="pic" sz="quarter" idx="20"/>
          </p:nvPr>
        </p:nvSpPr>
        <p:spPr>
          <a:xfrm>
            <a:off x="8822229" y="3724103"/>
            <a:ext cx="2410325" cy="2248246"/>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 name="Rectangle 1">
            <a:extLst>
              <a:ext uri="{FF2B5EF4-FFF2-40B4-BE49-F238E27FC236}">
                <a16:creationId xmlns:a16="http://schemas.microsoft.com/office/drawing/2014/main" id="{C33AE5A3-E619-9F5F-BA7F-1B0C31DF8C94}"/>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7" name="Slide Number Placeholder 5">
            <a:extLst>
              <a:ext uri="{FF2B5EF4-FFF2-40B4-BE49-F238E27FC236}">
                <a16:creationId xmlns:a16="http://schemas.microsoft.com/office/drawing/2014/main" id="{F340E94B-BE85-EC62-E0CF-570AD0F46219}"/>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5" name="Title 1">
            <a:extLst>
              <a:ext uri="{FF2B5EF4-FFF2-40B4-BE49-F238E27FC236}">
                <a16:creationId xmlns:a16="http://schemas.microsoft.com/office/drawing/2014/main" id="{E47D3AD6-850F-4937-EF3B-9390A36B8430}"/>
              </a:ext>
            </a:extLst>
          </p:cNvPr>
          <p:cNvSpPr>
            <a:spLocks noGrp="1"/>
          </p:cNvSpPr>
          <p:nvPr>
            <p:ph type="title"/>
          </p:nvPr>
        </p:nvSpPr>
        <p:spPr>
          <a:xfrm>
            <a:off x="907868" y="333376"/>
            <a:ext cx="10636132" cy="913534"/>
          </a:xfrm>
          <a:noFill/>
          <a:ln>
            <a:noFill/>
          </a:ln>
        </p:spPr>
        <p:txBody>
          <a:bodyPr anchor="t">
            <a:normAutofit/>
          </a:bodyPr>
          <a:lstStyle>
            <a:lvl1pPr>
              <a:defRPr lang="en-US" sz="3450" b="1" i="0" kern="1200" dirty="0">
                <a:solidFill>
                  <a:srgbClr val="002540"/>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lgn="l" rtl="0" fontAlgn="base">
              <a:lnSpc>
                <a:spcPct val="90000"/>
              </a:lnSpc>
              <a:spcBef>
                <a:spcPct val="0"/>
              </a:spcBef>
              <a:spcAft>
                <a:spcPct val="0"/>
              </a:spcAft>
            </a:pPr>
            <a:r>
              <a:rPr lang="en-GB" dirty="0">
                <a:latin typeface="Aptos Regular"/>
              </a:rPr>
              <a:t>Click to edit Master title style</a:t>
            </a:r>
            <a:endParaRPr lang="en-US" dirty="0"/>
          </a:p>
        </p:txBody>
      </p:sp>
    </p:spTree>
    <p:extLst>
      <p:ext uri="{BB962C8B-B14F-4D97-AF65-F5344CB8AC3E}">
        <p14:creationId xmlns:p14="http://schemas.microsoft.com/office/powerpoint/2010/main" val="2443936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EFAUL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Graphic 5">
            <a:extLst>
              <a:ext uri="{FF2B5EF4-FFF2-40B4-BE49-F238E27FC236}">
                <a16:creationId xmlns:a16="http://schemas.microsoft.com/office/drawing/2014/main" id="{D12BE20D-1C31-253C-589A-7DEC78A2F53F}"/>
              </a:ext>
            </a:extLst>
          </p:cNvPr>
          <p:cNvPicPr>
            <a:picLocks noChangeAspect="1"/>
          </p:cNvPicPr>
          <p:nvPr/>
        </p:nvPicPr>
        <p:blipFill>
          <a:blip r:embed="rId3"/>
          <a:stretch>
            <a:fillRect/>
          </a:stretch>
        </p:blipFill>
        <p:spPr>
          <a:xfrm rot="16200000">
            <a:off x="-716755" y="1697831"/>
            <a:ext cx="2800350" cy="392113"/>
          </a:xfrm>
          <a:prstGeom prst="rect">
            <a:avLst/>
          </a:prstGeom>
        </p:spPr>
      </p:pic>
      <p:pic>
        <p:nvPicPr>
          <p:cNvPr id="3" name="Picture 6">
            <a:extLst>
              <a:ext uri="{FF2B5EF4-FFF2-40B4-BE49-F238E27FC236}">
                <a16:creationId xmlns:a16="http://schemas.microsoft.com/office/drawing/2014/main" id="{149388BA-8B51-2161-BEB3-D4A27DC3E7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56813" y="493713"/>
            <a:ext cx="1647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34224BBF-C978-05E3-3A39-01486BAA58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b="63020"/>
          <a:stretch>
            <a:fillRect/>
          </a:stretch>
        </p:blipFill>
        <p:spPr bwMode="auto">
          <a:xfrm>
            <a:off x="487363" y="5721350"/>
            <a:ext cx="11217275"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3197652F-81B5-7B9A-D246-F4CF56C04BB4}"/>
              </a:ext>
            </a:extLst>
          </p:cNvPr>
          <p:cNvSpPr>
            <a:spLocks noGrp="1"/>
          </p:cNvSpPr>
          <p:nvPr>
            <p:ph type="title"/>
          </p:nvPr>
        </p:nvSpPr>
        <p:spPr>
          <a:xfrm>
            <a:off x="2027212" y="1215342"/>
            <a:ext cx="8801750" cy="2583083"/>
          </a:xfrm>
          <a:noFill/>
          <a:ln>
            <a:noFill/>
          </a:ln>
        </p:spPr>
        <p:txBody>
          <a:bodyPr anchor="b">
            <a:normAutofit/>
          </a:bodyPr>
          <a:lstStyle>
            <a:lvl1pPr>
              <a:defRPr lang="en-US" sz="3600" b="1" i="0" dirty="0">
                <a:solidFill>
                  <a:schemeClr val="bg1"/>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8" name="Text Placeholder 2">
            <a:extLst>
              <a:ext uri="{FF2B5EF4-FFF2-40B4-BE49-F238E27FC236}">
                <a16:creationId xmlns:a16="http://schemas.microsoft.com/office/drawing/2014/main" id="{B616BF53-7B70-34FB-51DC-AA42B75B3BD4}"/>
              </a:ext>
            </a:extLst>
          </p:cNvPr>
          <p:cNvSpPr>
            <a:spLocks noGrp="1"/>
          </p:cNvSpPr>
          <p:nvPr>
            <p:ph type="body" idx="1"/>
          </p:nvPr>
        </p:nvSpPr>
        <p:spPr>
          <a:xfrm>
            <a:off x="2027211" y="3987423"/>
            <a:ext cx="8801749" cy="228600"/>
          </a:xfrm>
          <a:noFill/>
          <a:ln/>
        </p:spPr>
        <p:txBody>
          <a:bodyPr lIns="0" tIns="0" rIns="0" bIns="0" rtlCol="0" anchor="b"/>
          <a:lstStyle>
            <a:lvl1pPr marL="0" indent="0">
              <a:spcBef>
                <a:spcPts val="0"/>
              </a:spcBef>
              <a:spcAft>
                <a:spcPts val="1200"/>
              </a:spcAft>
              <a:buNone/>
              <a:defRPr kumimoji="0" lang="en-US" sz="1650" b="0" i="0" u="none" strike="noStrike" cap="none" spc="50" normalizeH="0" baseline="0">
                <a:ln>
                  <a:noFill/>
                </a:ln>
                <a:solidFill>
                  <a:schemeClr val="bg1"/>
                </a:solidFill>
                <a:effectLst/>
                <a:uLnTx/>
                <a:uFillTx/>
                <a:latin typeface="Aptos Light" panose="020B0004020202020204" pitchFamily="34" charset="0"/>
                <a:ea typeface="Aptos Light" panose="020B0004020202020204" pitchFamily="34" charset="0"/>
                <a:cs typeface="JetBrains Mono Regular" pitchFamily="34" charset="-120"/>
              </a:defRPr>
            </a:lvl1pPr>
          </a:lstStyle>
          <a:p>
            <a:pPr lvl="0"/>
            <a:r>
              <a:rPr lang="en-GB" dirty="0">
                <a:latin typeface="Aptos Regular"/>
              </a:rPr>
              <a:t>Click to edit Master text styles</a:t>
            </a:r>
          </a:p>
        </p:txBody>
      </p:sp>
      <p:sp>
        <p:nvSpPr>
          <p:cNvPr id="9" name="Slide Number Placeholder 5">
            <a:extLst>
              <a:ext uri="{FF2B5EF4-FFF2-40B4-BE49-F238E27FC236}">
                <a16:creationId xmlns:a16="http://schemas.microsoft.com/office/drawing/2014/main" id="{CD78B900-ABF7-E45D-6E0A-526DD8BBFE4F}"/>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Tree>
    <p:extLst>
      <p:ext uri="{BB962C8B-B14F-4D97-AF65-F5344CB8AC3E}">
        <p14:creationId xmlns:p14="http://schemas.microsoft.com/office/powerpoint/2010/main" val="399082628"/>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CC6EAC05-99D9-CA02-C6C2-A89A3A6895F8}"/>
              </a:ext>
            </a:extLst>
          </p:cNvPr>
          <p:cNvSpPr>
            <a:spLocks noGrp="1"/>
          </p:cNvSpPr>
          <p:nvPr>
            <p:ph type="pic" sz="quarter" idx="22"/>
          </p:nvPr>
        </p:nvSpPr>
        <p:spPr>
          <a:xfrm>
            <a:off x="7989115" y="1246909"/>
            <a:ext cx="3243439" cy="4725439"/>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pic>
        <p:nvPicPr>
          <p:cNvPr id="3" name="Picture 9">
            <a:extLst>
              <a:ext uri="{FF2B5EF4-FFF2-40B4-BE49-F238E27FC236}">
                <a16:creationId xmlns:a16="http://schemas.microsoft.com/office/drawing/2014/main" id="{3954EEFD-2045-FB4A-A1A6-1B07BE631A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Picture Placeholder 8"/>
          <p:cNvSpPr>
            <a:spLocks noGrp="1"/>
          </p:cNvSpPr>
          <p:nvPr>
            <p:ph type="pic" sz="quarter" idx="13"/>
          </p:nvPr>
        </p:nvSpPr>
        <p:spPr>
          <a:xfrm>
            <a:off x="933450" y="1246909"/>
            <a:ext cx="3243439" cy="4725439"/>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 name="Rectangle 1">
            <a:extLst>
              <a:ext uri="{FF2B5EF4-FFF2-40B4-BE49-F238E27FC236}">
                <a16:creationId xmlns:a16="http://schemas.microsoft.com/office/drawing/2014/main" id="{C33AE5A3-E619-9F5F-BA7F-1B0C31DF8C94}"/>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7" name="Slide Number Placeholder 5">
            <a:extLst>
              <a:ext uri="{FF2B5EF4-FFF2-40B4-BE49-F238E27FC236}">
                <a16:creationId xmlns:a16="http://schemas.microsoft.com/office/drawing/2014/main" id="{F340E94B-BE85-EC62-E0CF-570AD0F46219}"/>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4" name="Picture Placeholder 8">
            <a:extLst>
              <a:ext uri="{FF2B5EF4-FFF2-40B4-BE49-F238E27FC236}">
                <a16:creationId xmlns:a16="http://schemas.microsoft.com/office/drawing/2014/main" id="{C0EA8E9C-D72A-AB1C-8ADA-09125E521D51}"/>
              </a:ext>
            </a:extLst>
          </p:cNvPr>
          <p:cNvSpPr>
            <a:spLocks noGrp="1"/>
          </p:cNvSpPr>
          <p:nvPr>
            <p:ph type="pic" sz="quarter" idx="21"/>
          </p:nvPr>
        </p:nvSpPr>
        <p:spPr>
          <a:xfrm>
            <a:off x="4461283" y="1246909"/>
            <a:ext cx="3243439" cy="4725439"/>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9" name="Title 1">
            <a:extLst>
              <a:ext uri="{FF2B5EF4-FFF2-40B4-BE49-F238E27FC236}">
                <a16:creationId xmlns:a16="http://schemas.microsoft.com/office/drawing/2014/main" id="{A8E61871-5484-2433-8DFB-87799C16F8C4}"/>
              </a:ext>
            </a:extLst>
          </p:cNvPr>
          <p:cNvSpPr>
            <a:spLocks noGrp="1"/>
          </p:cNvSpPr>
          <p:nvPr>
            <p:ph type="title"/>
          </p:nvPr>
        </p:nvSpPr>
        <p:spPr>
          <a:xfrm>
            <a:off x="907868" y="333376"/>
            <a:ext cx="10636132" cy="913534"/>
          </a:xfrm>
          <a:noFill/>
          <a:ln>
            <a:noFill/>
          </a:ln>
        </p:spPr>
        <p:txBody>
          <a:bodyPr anchor="t">
            <a:normAutofit/>
          </a:bodyPr>
          <a:lstStyle>
            <a:lvl1pPr>
              <a:defRPr lang="en-US" sz="3450" b="1" i="0" kern="1200" dirty="0">
                <a:solidFill>
                  <a:srgbClr val="002540"/>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lgn="l" rtl="0" fontAlgn="base">
              <a:lnSpc>
                <a:spcPct val="90000"/>
              </a:lnSpc>
              <a:spcBef>
                <a:spcPct val="0"/>
              </a:spcBef>
              <a:spcAft>
                <a:spcPct val="0"/>
              </a:spcAft>
            </a:pPr>
            <a:r>
              <a:rPr lang="en-GB" dirty="0">
                <a:latin typeface="Aptos Regular"/>
              </a:rPr>
              <a:t>Click to edit Master title style</a:t>
            </a:r>
            <a:endParaRPr lang="en-US" dirty="0"/>
          </a:p>
        </p:txBody>
      </p:sp>
    </p:spTree>
    <p:extLst>
      <p:ext uri="{BB962C8B-B14F-4D97-AF65-F5344CB8AC3E}">
        <p14:creationId xmlns:p14="http://schemas.microsoft.com/office/powerpoint/2010/main" val="36196607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8ED857-81BE-AB04-8814-33865F0D6E75}"/>
              </a:ext>
            </a:extLst>
          </p:cNvPr>
          <p:cNvSpPr>
            <a:spLocks noGrp="1"/>
          </p:cNvSpPr>
          <p:nvPr>
            <p:ph type="pic" sz="quarter" idx="22"/>
          </p:nvPr>
        </p:nvSpPr>
        <p:spPr>
          <a:xfrm>
            <a:off x="933450" y="3713770"/>
            <a:ext cx="5045460" cy="2789762"/>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8" name="Picture Placeholder 8">
            <a:extLst>
              <a:ext uri="{FF2B5EF4-FFF2-40B4-BE49-F238E27FC236}">
                <a16:creationId xmlns:a16="http://schemas.microsoft.com/office/drawing/2014/main" id="{57B4E825-3041-3CA2-EAEF-313AE3C36371}"/>
              </a:ext>
            </a:extLst>
          </p:cNvPr>
          <p:cNvSpPr>
            <a:spLocks noGrp="1"/>
          </p:cNvSpPr>
          <p:nvPr>
            <p:ph type="pic" sz="quarter" idx="23"/>
          </p:nvPr>
        </p:nvSpPr>
        <p:spPr>
          <a:xfrm>
            <a:off x="6187094" y="3713770"/>
            <a:ext cx="5045460" cy="2789762"/>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4" name="Picture Placeholder 8">
            <a:extLst>
              <a:ext uri="{FF2B5EF4-FFF2-40B4-BE49-F238E27FC236}">
                <a16:creationId xmlns:a16="http://schemas.microsoft.com/office/drawing/2014/main" id="{4C54950B-CFE8-2825-920F-61297FB58FF5}"/>
              </a:ext>
            </a:extLst>
          </p:cNvPr>
          <p:cNvSpPr>
            <a:spLocks noGrp="1"/>
          </p:cNvSpPr>
          <p:nvPr>
            <p:ph type="pic" sz="quarter" idx="21"/>
          </p:nvPr>
        </p:nvSpPr>
        <p:spPr>
          <a:xfrm>
            <a:off x="6187094" y="705394"/>
            <a:ext cx="5045460" cy="2789762"/>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pic>
        <p:nvPicPr>
          <p:cNvPr id="3" name="Picture 9">
            <a:extLst>
              <a:ext uri="{FF2B5EF4-FFF2-40B4-BE49-F238E27FC236}">
                <a16:creationId xmlns:a16="http://schemas.microsoft.com/office/drawing/2014/main" id="{3954EEFD-2045-FB4A-A1A6-1B07BE631A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Picture Placeholder 8"/>
          <p:cNvSpPr>
            <a:spLocks noGrp="1"/>
          </p:cNvSpPr>
          <p:nvPr>
            <p:ph type="pic" sz="quarter" idx="13"/>
          </p:nvPr>
        </p:nvSpPr>
        <p:spPr>
          <a:xfrm>
            <a:off x="933450" y="705394"/>
            <a:ext cx="5045460" cy="2789762"/>
          </a:xfrm>
          <a:solidFill>
            <a:srgbClr val="D5F6FF"/>
          </a:solidFill>
        </p:spPr>
        <p:txBody>
          <a:bodyPr rtlCol="0" anchor="ctr">
            <a:normAutofit/>
          </a:bodyPr>
          <a:lstStyle>
            <a:lvl1pPr marL="0" indent="0" algn="ctr">
              <a:buNone/>
              <a:defRPr b="0" i="0">
                <a:latin typeface="Aptos" panose="020B0004020202020204" pitchFamily="34" charset="0"/>
              </a:defRPr>
            </a:lvl1pPr>
          </a:lstStyle>
          <a:p>
            <a:pPr lvl="0"/>
            <a:r>
              <a:rPr lang="en-GB" noProof="0" dirty="0">
                <a:latin typeface="Aptos Regular"/>
              </a:rPr>
              <a:t>Click icon to add picture</a:t>
            </a:r>
            <a:endParaRPr lang="en-US" noProof="0" dirty="0"/>
          </a:p>
        </p:txBody>
      </p:sp>
      <p:sp>
        <p:nvSpPr>
          <p:cNvPr id="2" name="Rectangle 1">
            <a:extLst>
              <a:ext uri="{FF2B5EF4-FFF2-40B4-BE49-F238E27FC236}">
                <a16:creationId xmlns:a16="http://schemas.microsoft.com/office/drawing/2014/main" id="{C33AE5A3-E619-9F5F-BA7F-1B0C31DF8C94}"/>
              </a:ext>
            </a:extLst>
          </p:cNvPr>
          <p:cNvSpPr/>
          <p:nvPr userDrawn="1"/>
        </p:nvSpPr>
        <p:spPr>
          <a:xfrm>
            <a:off x="11544000" y="6534000"/>
            <a:ext cx="648000" cy="324000"/>
          </a:xfrm>
          <a:prstGeom prst="rect">
            <a:avLst/>
          </a:prstGeom>
          <a:gradFill>
            <a:gsLst>
              <a:gs pos="0">
                <a:schemeClr val="accent5"/>
              </a:gs>
              <a:gs pos="100000">
                <a:schemeClr val="accent3"/>
              </a:gs>
            </a:gsLst>
            <a:lin ang="15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7" name="Slide Number Placeholder 5">
            <a:extLst>
              <a:ext uri="{FF2B5EF4-FFF2-40B4-BE49-F238E27FC236}">
                <a16:creationId xmlns:a16="http://schemas.microsoft.com/office/drawing/2014/main" id="{F340E94B-BE85-EC62-E0CF-570AD0F46219}"/>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Tree>
    <p:extLst>
      <p:ext uri="{BB962C8B-B14F-4D97-AF65-F5344CB8AC3E}">
        <p14:creationId xmlns:p14="http://schemas.microsoft.com/office/powerpoint/2010/main" val="34643906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EFAUL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9A86512-CA14-28E8-AA8E-93095D9F26C9}"/>
              </a:ext>
            </a:extLst>
          </p:cNvPr>
          <p:cNvSpPr>
            <a:spLocks noChangeArrowheads="1"/>
          </p:cNvSpPr>
          <p:nvPr/>
        </p:nvSpPr>
        <p:spPr bwMode="auto">
          <a:xfrm>
            <a:off x="9639300" y="5353050"/>
            <a:ext cx="16383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fontAlgn="base">
              <a:spcBef>
                <a:spcPct val="0"/>
              </a:spcBef>
              <a:spcAft>
                <a:spcPct val="0"/>
              </a:spcAft>
              <a:defRPr>
                <a:solidFill>
                  <a:schemeClr val="tx1"/>
                </a:solidFill>
                <a:latin typeface="Aptos" panose="020B0004020202020204" pitchFamily="34" charset="0"/>
              </a:defRPr>
            </a:lvl6pPr>
            <a:lvl7pPr marL="2971800" indent="-228600" fontAlgn="base">
              <a:spcBef>
                <a:spcPct val="0"/>
              </a:spcBef>
              <a:spcAft>
                <a:spcPct val="0"/>
              </a:spcAft>
              <a:defRPr>
                <a:solidFill>
                  <a:schemeClr val="tx1"/>
                </a:solidFill>
                <a:latin typeface="Aptos" panose="020B0004020202020204" pitchFamily="34" charset="0"/>
              </a:defRPr>
            </a:lvl7pPr>
            <a:lvl8pPr marL="3429000" indent="-228600" fontAlgn="base">
              <a:spcBef>
                <a:spcPct val="0"/>
              </a:spcBef>
              <a:spcAft>
                <a:spcPct val="0"/>
              </a:spcAft>
              <a:defRPr>
                <a:solidFill>
                  <a:schemeClr val="tx1"/>
                </a:solidFill>
                <a:latin typeface="Aptos" panose="020B0004020202020204" pitchFamily="34" charset="0"/>
              </a:defRPr>
            </a:lvl8pPr>
            <a:lvl9pPr marL="3886200" indent="-228600" fontAlgn="base">
              <a:spcBef>
                <a:spcPct val="0"/>
              </a:spcBef>
              <a:spcAft>
                <a:spcPct val="0"/>
              </a:spcAft>
              <a:defRPr>
                <a:solidFill>
                  <a:schemeClr val="tx1"/>
                </a:solidFill>
                <a:latin typeface="Aptos" panose="020B0004020202020204" pitchFamily="34" charset="0"/>
              </a:defRPr>
            </a:lvl9pPr>
          </a:lstStyle>
          <a:p>
            <a:pPr eaLnBrk="1" hangingPunct="1">
              <a:lnSpc>
                <a:spcPts val="5938"/>
              </a:lnSpc>
            </a:pPr>
            <a:endParaRPr lang="en-PT" altLang="en-PT" sz="5400">
              <a:solidFill>
                <a:srgbClr val="000000"/>
              </a:solidFill>
              <a:latin typeface="Red Hat Display Black" panose="02010303040201060303" pitchFamily="2" charset="0"/>
              <a:ea typeface="Red Hat Display Black" panose="02010303040201060303" pitchFamily="2" charset="0"/>
              <a:cs typeface="Red Hat Display Black" panose="02010303040201060303" pitchFamily="2" charset="0"/>
            </a:endParaRPr>
          </a:p>
        </p:txBody>
      </p:sp>
      <p:pic>
        <p:nvPicPr>
          <p:cNvPr id="3" name="Picture 6">
            <a:extLst>
              <a:ext uri="{FF2B5EF4-FFF2-40B4-BE49-F238E27FC236}">
                <a16:creationId xmlns:a16="http://schemas.microsoft.com/office/drawing/2014/main" id="{D4A15939-47AE-AF35-3371-BC2DCE7529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1113" y="5989638"/>
            <a:ext cx="200977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51FC8E39-BAD9-7701-EB42-6077CF227E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32200" y="2501900"/>
            <a:ext cx="4927600" cy="185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635188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parador_branc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AD2D4-2295-7A58-2585-F850F9545DC8}"/>
              </a:ext>
            </a:extLst>
          </p:cNvPr>
          <p:cNvSpPr>
            <a:spLocks noGrp="1"/>
          </p:cNvSpPr>
          <p:nvPr>
            <p:ph type="ctrTitle" hasCustomPrompt="1"/>
          </p:nvPr>
        </p:nvSpPr>
        <p:spPr>
          <a:xfrm>
            <a:off x="1524000" y="1122363"/>
            <a:ext cx="9144000" cy="2387600"/>
          </a:xfrm>
        </p:spPr>
        <p:txBody>
          <a:bodyPr anchor="b">
            <a:normAutofit/>
          </a:bodyPr>
          <a:lstStyle>
            <a:lvl1pPr algn="l">
              <a:defRPr sz="3600">
                <a:solidFill>
                  <a:srgbClr val="002540"/>
                </a:solidFill>
                <a:latin typeface="+mj-lt"/>
              </a:defRPr>
            </a:lvl1pPr>
          </a:lstStyle>
          <a:p>
            <a:r>
              <a:rPr lang="en-GB" dirty="0" err="1"/>
              <a:t>Introdução</a:t>
            </a:r>
            <a:endParaRPr lang="pt-PT" dirty="0"/>
          </a:p>
        </p:txBody>
      </p:sp>
      <p:pic>
        <p:nvPicPr>
          <p:cNvPr id="4" name="Picture 7">
            <a:extLst>
              <a:ext uri="{FF2B5EF4-FFF2-40B4-BE49-F238E27FC236}">
                <a16:creationId xmlns:a16="http://schemas.microsoft.com/office/drawing/2014/main" id="{9F75DFE3-C79E-2ABC-8423-BB66D4A507F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42259" b="62849"/>
          <a:stretch/>
        </p:blipFill>
        <p:spPr bwMode="auto">
          <a:xfrm rot="5400000">
            <a:off x="-2670177" y="3051177"/>
            <a:ext cx="6477002"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a:extLst>
              <a:ext uri="{FF2B5EF4-FFF2-40B4-BE49-F238E27FC236}">
                <a16:creationId xmlns:a16="http://schemas.microsoft.com/office/drawing/2014/main" id="{DB08A02A-0DB7-40BB-663B-8E8346D6B47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4804" t="40891" r="14948" b="40707"/>
          <a:stretch>
            <a:fillRect/>
          </a:stretch>
        </p:blipFill>
        <p:spPr bwMode="auto">
          <a:xfrm>
            <a:off x="1528279" y="381000"/>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a:extLst>
              <a:ext uri="{FF2B5EF4-FFF2-40B4-BE49-F238E27FC236}">
                <a16:creationId xmlns:a16="http://schemas.microsoft.com/office/drawing/2014/main" id="{2E0B880E-C65E-66D1-6739-2359C3064B82}"/>
              </a:ext>
            </a:extLst>
          </p:cNvPr>
          <p:cNvSpPr>
            <a:spLocks noGrp="1"/>
          </p:cNvSpPr>
          <p:nvPr>
            <p:ph type="sldNum" sz="quarter" idx="12"/>
          </p:nvPr>
        </p:nvSpPr>
        <p:spPr>
          <a:xfrm>
            <a:off x="8961438" y="6204874"/>
            <a:ext cx="2743200" cy="255561"/>
          </a:xfrm>
          <a:prstGeom prst="rect">
            <a:avLst/>
          </a:prstGeom>
        </p:spPr>
        <p:txBody>
          <a:bodyPr/>
          <a:lstStyle>
            <a:lvl1pPr>
              <a:defRPr sz="1100">
                <a:solidFill>
                  <a:srgbClr val="002540"/>
                </a:solidFill>
              </a:defRPr>
            </a:lvl1pPr>
          </a:lstStyle>
          <a:p>
            <a:r>
              <a:rPr lang="en-US" spc="100" dirty="0">
                <a:ea typeface="Poppins Light" pitchFamily="34" charset="-122"/>
                <a:cs typeface="JetBrains Mono ExtraLight" panose="02000009000000000000" pitchFamily="49" charset="0"/>
              </a:rPr>
              <a:t>www.inesctec.pt  —</a:t>
            </a:r>
            <a:endParaRPr lang="en-US" spc="100" dirty="0">
              <a:cs typeface="JetBrains Mono ExtraLight" panose="02000009000000000000" pitchFamily="49" charset="0"/>
            </a:endParaRPr>
          </a:p>
        </p:txBody>
      </p:sp>
      <p:sp>
        <p:nvSpPr>
          <p:cNvPr id="13" name="Text Placeholder 13">
            <a:extLst>
              <a:ext uri="{FF2B5EF4-FFF2-40B4-BE49-F238E27FC236}">
                <a16:creationId xmlns:a16="http://schemas.microsoft.com/office/drawing/2014/main" id="{32C092FA-1B2A-B49D-A67C-D9D2479420CC}"/>
              </a:ext>
            </a:extLst>
          </p:cNvPr>
          <p:cNvSpPr>
            <a:spLocks noGrp="1"/>
          </p:cNvSpPr>
          <p:nvPr>
            <p:ph type="body" sz="quarter" idx="13" hasCustomPrompt="1"/>
          </p:nvPr>
        </p:nvSpPr>
        <p:spPr>
          <a:xfrm>
            <a:off x="1524000" y="3605213"/>
            <a:ext cx="9144000" cy="251750"/>
          </a:xfrm>
        </p:spPr>
        <p:txBody>
          <a:bodyPr/>
          <a:lstStyle>
            <a:lvl1pPr marL="0" indent="0" algn="l">
              <a:buNone/>
              <a:defRPr sz="1600">
                <a:solidFill>
                  <a:srgbClr val="002540"/>
                </a:solidFill>
              </a:defRPr>
            </a:lvl1pPr>
          </a:lstStyle>
          <a:p>
            <a:pPr lvl="0"/>
            <a:r>
              <a:rPr lang="en-GB" dirty="0" err="1"/>
              <a:t>Subtítulo</a:t>
            </a:r>
            <a:endParaRPr lang="en-GB" dirty="0"/>
          </a:p>
        </p:txBody>
      </p:sp>
    </p:spTree>
    <p:extLst>
      <p:ext uri="{BB962C8B-B14F-4D97-AF65-F5344CB8AC3E}">
        <p14:creationId xmlns:p14="http://schemas.microsoft.com/office/powerpoint/2010/main" val="15140309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ítulo e texto">
    <p:spTree>
      <p:nvGrpSpPr>
        <p:cNvPr id="1" name=""/>
        <p:cNvGrpSpPr/>
        <p:nvPr/>
      </p:nvGrpSpPr>
      <p:grpSpPr>
        <a:xfrm>
          <a:off x="0" y="0"/>
          <a:ext cx="0" cy="0"/>
          <a:chOff x="0" y="0"/>
          <a:chExt cx="0" cy="0"/>
        </a:xfrm>
      </p:grpSpPr>
      <p:pic>
        <p:nvPicPr>
          <p:cNvPr id="6" name="Picture 9">
            <a:extLst>
              <a:ext uri="{FF2B5EF4-FFF2-40B4-BE49-F238E27FC236}">
                <a16:creationId xmlns:a16="http://schemas.microsoft.com/office/drawing/2014/main" id="{65B51785-184E-1E8D-ED1E-AB470CAED7F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9">
            <a:extLst>
              <a:ext uri="{FF2B5EF4-FFF2-40B4-BE49-F238E27FC236}">
                <a16:creationId xmlns:a16="http://schemas.microsoft.com/office/drawing/2014/main" id="{AFFA2693-8F5B-2A9F-9A81-EAD53A60726C}"/>
              </a:ext>
            </a:extLst>
          </p:cNvPr>
          <p:cNvSpPr>
            <a:spLocks noGrp="1"/>
          </p:cNvSpPr>
          <p:nvPr>
            <p:ph type="body" sz="quarter" idx="13"/>
          </p:nvPr>
        </p:nvSpPr>
        <p:spPr>
          <a:xfrm>
            <a:off x="838200" y="1822450"/>
            <a:ext cx="10515600" cy="44037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pt-PT" dirty="0"/>
          </a:p>
        </p:txBody>
      </p:sp>
      <p:sp>
        <p:nvSpPr>
          <p:cNvPr id="11" name="Date Placeholder 3">
            <a:extLst>
              <a:ext uri="{FF2B5EF4-FFF2-40B4-BE49-F238E27FC236}">
                <a16:creationId xmlns:a16="http://schemas.microsoft.com/office/drawing/2014/main" id="{C3C14595-0560-DFD8-16AB-167E53D52D15}"/>
              </a:ext>
            </a:extLst>
          </p:cNvPr>
          <p:cNvSpPr>
            <a:spLocks noGrp="1"/>
          </p:cNvSpPr>
          <p:nvPr>
            <p:ph type="dt" sz="half" idx="2"/>
          </p:nvPr>
        </p:nvSpPr>
        <p:spPr>
          <a:xfrm>
            <a:off x="838200" y="6439991"/>
            <a:ext cx="2743200" cy="324000"/>
          </a:xfrm>
          <a:prstGeom prst="rect">
            <a:avLst/>
          </a:prstGeom>
        </p:spPr>
        <p:txBody>
          <a:bodyPr vert="horz" lIns="91440" tIns="45720" rIns="91440" bIns="45720" rtlCol="0" anchor="b"/>
          <a:lstStyle>
            <a:lvl1pPr algn="l">
              <a:defRPr sz="1200">
                <a:solidFill>
                  <a:schemeClr val="tx1">
                    <a:tint val="82000"/>
                  </a:schemeClr>
                </a:solidFill>
                <a:latin typeface="Arial" panose="020B0604020202020204" pitchFamily="34" charset="0"/>
                <a:cs typeface="Arial" panose="020B0604020202020204" pitchFamily="34" charset="0"/>
              </a:defRPr>
            </a:lvl1pPr>
          </a:lstStyle>
          <a:p>
            <a:fld id="{BB36889F-854C-5E42-A0D3-97B2FC93B96F}" type="datetime1">
              <a:rPr lang="en-US" smtClean="0"/>
              <a:t>12/17/2025</a:t>
            </a:fld>
            <a:endParaRPr lang="pt-PT" dirty="0"/>
          </a:p>
        </p:txBody>
      </p:sp>
      <p:sp>
        <p:nvSpPr>
          <p:cNvPr id="13" name="Footer Placeholder 7">
            <a:extLst>
              <a:ext uri="{FF2B5EF4-FFF2-40B4-BE49-F238E27FC236}">
                <a16:creationId xmlns:a16="http://schemas.microsoft.com/office/drawing/2014/main" id="{E96472B5-FE48-66FF-6E73-9E2E28F81831}"/>
              </a:ext>
            </a:extLst>
          </p:cNvPr>
          <p:cNvSpPr>
            <a:spLocks noGrp="1"/>
          </p:cNvSpPr>
          <p:nvPr>
            <p:ph type="ftr" sz="quarter" idx="3"/>
          </p:nvPr>
        </p:nvSpPr>
        <p:spPr>
          <a:xfrm>
            <a:off x="4038600" y="6439991"/>
            <a:ext cx="6851754" cy="324000"/>
          </a:xfrm>
          <a:prstGeom prst="rect">
            <a:avLst/>
          </a:prstGeom>
        </p:spPr>
        <p:txBody>
          <a:bodyPr vert="horz" lIns="91440" tIns="45720" rIns="91440" bIns="45720" rtlCol="0" anchor="b"/>
          <a:lstStyle>
            <a:lvl1pPr algn="ctr">
              <a:defRPr lang="pt-PT" sz="1200">
                <a:solidFill>
                  <a:schemeClr val="tx1">
                    <a:tint val="82000"/>
                  </a:schemeClr>
                </a:solidFill>
                <a:latin typeface="Arial" panose="020B0604020202020204" pitchFamily="34" charset="0"/>
                <a:cs typeface="Arial" panose="020B0604020202020204" pitchFamily="34" charset="0"/>
              </a:defRPr>
            </a:lvl1pPr>
          </a:lstStyle>
          <a:p>
            <a:endParaRPr lang="pt-PT" dirty="0"/>
          </a:p>
        </p:txBody>
      </p:sp>
      <p:sp>
        <p:nvSpPr>
          <p:cNvPr id="14" name="Slide Number Placeholder 4">
            <a:extLst>
              <a:ext uri="{FF2B5EF4-FFF2-40B4-BE49-F238E27FC236}">
                <a16:creationId xmlns:a16="http://schemas.microsoft.com/office/drawing/2014/main" id="{7696644D-A5CF-C0FD-7518-AB5176CBE4C0}"/>
              </a:ext>
            </a:extLst>
          </p:cNvPr>
          <p:cNvSpPr>
            <a:spLocks noGrp="1"/>
          </p:cNvSpPr>
          <p:nvPr>
            <p:ph type="sldNum" sz="quarter" idx="12"/>
          </p:nvPr>
        </p:nvSpPr>
        <p:spPr>
          <a:xfrm>
            <a:off x="11353798" y="6420741"/>
            <a:ext cx="838201" cy="437259"/>
          </a:xfrm>
          <a:prstGeom prst="rect">
            <a:avLst/>
          </a:prstGeom>
          <a:gradFill>
            <a:gsLst>
              <a:gs pos="0">
                <a:srgbClr val="64CDED"/>
              </a:gs>
              <a:gs pos="90000">
                <a:srgbClr val="008CBF"/>
              </a:gs>
            </a:gsLst>
            <a:lin ang="1500000" scaled="0"/>
          </a:gradFill>
        </p:spPr>
        <p:txBody>
          <a:bodyPr/>
          <a:lstStyle>
            <a:lvl1pPr>
              <a:defRPr>
                <a:solidFill>
                  <a:schemeClr val="bg1"/>
                </a:solidFill>
              </a:defRPr>
            </a:lvl1pPr>
          </a:lstStyle>
          <a:p>
            <a:fld id="{393ADBA8-77A2-4533-9BC5-08370409A084}" type="slidenum">
              <a:rPr lang="pt-PT" smtClean="0"/>
              <a:pPr/>
              <a:t>‹#›</a:t>
            </a:fld>
            <a:endParaRPr lang="pt-PT" dirty="0"/>
          </a:p>
        </p:txBody>
      </p:sp>
      <p:sp>
        <p:nvSpPr>
          <p:cNvPr id="4" name="Title Placeholder 1">
            <a:extLst>
              <a:ext uri="{FF2B5EF4-FFF2-40B4-BE49-F238E27FC236}">
                <a16:creationId xmlns:a16="http://schemas.microsoft.com/office/drawing/2014/main" id="{DB55CABF-0323-87F3-32F3-49F3DE49F7A9}"/>
              </a:ext>
            </a:extLst>
          </p:cNvPr>
          <p:cNvSpPr>
            <a:spLocks noGrp="1"/>
          </p:cNvSpPr>
          <p:nvPr>
            <p:ph type="title"/>
          </p:nvPr>
        </p:nvSpPr>
        <p:spPr>
          <a:xfrm>
            <a:off x="838200" y="333375"/>
            <a:ext cx="10515600" cy="1327754"/>
          </a:xfrm>
          <a:prstGeom prst="rect">
            <a:avLst/>
          </a:prstGeom>
        </p:spPr>
        <p:txBody>
          <a:bodyPr vert="horz" lIns="91440" tIns="45720" rIns="91440" bIns="45720" rtlCol="0" anchor="t">
            <a:normAutofit/>
          </a:bodyPr>
          <a:lstStyle>
            <a:lvl1pPr>
              <a:defRPr>
                <a:solidFill>
                  <a:schemeClr val="accent1"/>
                </a:solidFill>
              </a:defRPr>
            </a:lvl1pPr>
          </a:lstStyle>
          <a:p>
            <a:r>
              <a:rPr lang="en-GB" dirty="0"/>
              <a:t>Click to edit Master title style</a:t>
            </a:r>
            <a:endParaRPr lang="pt-PT" dirty="0"/>
          </a:p>
        </p:txBody>
      </p:sp>
    </p:spTree>
    <p:extLst>
      <p:ext uri="{BB962C8B-B14F-4D97-AF65-F5344CB8AC3E}">
        <p14:creationId xmlns:p14="http://schemas.microsoft.com/office/powerpoint/2010/main" val="1557444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Every1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98A72-0B6C-D119-5F4D-A23A44FADAA5}"/>
              </a:ext>
            </a:extLst>
          </p:cNvPr>
          <p:cNvSpPr>
            <a:spLocks noGrp="1"/>
          </p:cNvSpPr>
          <p:nvPr>
            <p:ph type="title"/>
          </p:nvPr>
        </p:nvSpPr>
        <p:spPr>
          <a:xfrm>
            <a:off x="838202" y="2252750"/>
            <a:ext cx="5421282" cy="939337"/>
          </a:xfrm>
        </p:spPr>
        <p:txBody>
          <a:bodyPr anchor="b">
            <a:normAutofit/>
          </a:bodyPr>
          <a:lstStyle>
            <a:lvl1pPr>
              <a:lnSpc>
                <a:spcPct val="80000"/>
              </a:lnSpc>
              <a:defRPr sz="3200" b="0">
                <a:latin typeface="+mn-lt"/>
              </a:defRPr>
            </a:lvl1pPr>
          </a:lstStyle>
          <a:p>
            <a:r>
              <a:rPr lang="en-US" dirty="0"/>
              <a:t>Click to edit Master title style</a:t>
            </a:r>
          </a:p>
        </p:txBody>
      </p:sp>
      <p:sp>
        <p:nvSpPr>
          <p:cNvPr id="3" name="Date Placeholder 2">
            <a:extLst>
              <a:ext uri="{FF2B5EF4-FFF2-40B4-BE49-F238E27FC236}">
                <a16:creationId xmlns:a16="http://schemas.microsoft.com/office/drawing/2014/main" id="{7A22B05B-A9E6-B545-7CB7-4945AF26D38B}"/>
              </a:ext>
            </a:extLst>
          </p:cNvPr>
          <p:cNvSpPr>
            <a:spLocks noGrp="1"/>
          </p:cNvSpPr>
          <p:nvPr>
            <p:ph type="dt" sz="half" idx="10"/>
          </p:nvPr>
        </p:nvSpPr>
        <p:spPr/>
        <p:txBody>
          <a:bodyPr/>
          <a:lstStyle/>
          <a:p>
            <a:fld id="{688AA42D-C808-4D27-8647-A55BFEEE78FA}" type="datetimeFigureOut">
              <a:rPr lang="en-US" smtClean="0"/>
              <a:t>12/17/2025</a:t>
            </a:fld>
            <a:endParaRPr lang="en-US"/>
          </a:p>
        </p:txBody>
      </p:sp>
      <p:sp>
        <p:nvSpPr>
          <p:cNvPr id="4" name="Footer Placeholder 3">
            <a:extLst>
              <a:ext uri="{FF2B5EF4-FFF2-40B4-BE49-F238E27FC236}">
                <a16:creationId xmlns:a16="http://schemas.microsoft.com/office/drawing/2014/main" id="{EB8CDD1D-8AAA-B450-9C01-C1B83C5E8B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4EDBAE1-304E-85B0-357B-7F029B021D9C}"/>
              </a:ext>
            </a:extLst>
          </p:cNvPr>
          <p:cNvSpPr>
            <a:spLocks noGrp="1"/>
          </p:cNvSpPr>
          <p:nvPr>
            <p:ph type="sldNum" sz="quarter" idx="12"/>
          </p:nvPr>
        </p:nvSpPr>
        <p:spPr/>
        <p:txBody>
          <a:bodyPr/>
          <a:lstStyle/>
          <a:p>
            <a:fld id="{210DDEDE-78EC-4E85-8D5A-640565948182}" type="slidenum">
              <a:rPr lang="en-US" smtClean="0"/>
              <a:t>‹#›</a:t>
            </a:fld>
            <a:endParaRPr lang="en-US"/>
          </a:p>
        </p:txBody>
      </p:sp>
      <p:pic>
        <p:nvPicPr>
          <p:cNvPr id="6" name="Graphic 5">
            <a:extLst>
              <a:ext uri="{FF2B5EF4-FFF2-40B4-BE49-F238E27FC236}">
                <a16:creationId xmlns:a16="http://schemas.microsoft.com/office/drawing/2014/main" id="{9CD04703-3BF9-2B0B-6DB1-54018A6927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70737" y="1886988"/>
            <a:ext cx="5621263" cy="4974850"/>
          </a:xfrm>
          <a:prstGeom prst="rect">
            <a:avLst/>
          </a:prstGeom>
        </p:spPr>
      </p:pic>
      <p:sp>
        <p:nvSpPr>
          <p:cNvPr id="9" name="Text Placeholder 2">
            <a:extLst>
              <a:ext uri="{FF2B5EF4-FFF2-40B4-BE49-F238E27FC236}">
                <a16:creationId xmlns:a16="http://schemas.microsoft.com/office/drawing/2014/main" id="{C87C95BC-21A9-4120-9948-9D94B8F2EF92}"/>
              </a:ext>
            </a:extLst>
          </p:cNvPr>
          <p:cNvSpPr>
            <a:spLocks noGrp="1"/>
          </p:cNvSpPr>
          <p:nvPr>
            <p:ph type="body" idx="1"/>
          </p:nvPr>
        </p:nvSpPr>
        <p:spPr>
          <a:xfrm>
            <a:off x="838200" y="3250276"/>
            <a:ext cx="5421282" cy="2996894"/>
          </a:xfrm>
        </p:spPr>
        <p:txBody>
          <a:bodyPr>
            <a:normAutofit/>
          </a:bodyPr>
          <a:lstStyle>
            <a:lvl1pPr marL="0" indent="0">
              <a:lnSpc>
                <a:spcPct val="100000"/>
              </a:lnSpc>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1464610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DEFAULT">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1472FC47-3D99-C916-B840-303B0F1042B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2259" b="62849"/>
          <a:stretch/>
        </p:blipFill>
        <p:spPr bwMode="auto">
          <a:xfrm rot="5400000">
            <a:off x="-2670177" y="3051177"/>
            <a:ext cx="6477002"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027212" y="2738918"/>
            <a:ext cx="8801750" cy="1059507"/>
          </a:xfrm>
          <a:noFill/>
          <a:ln>
            <a:noFill/>
          </a:ln>
        </p:spPr>
        <p:txBody>
          <a:bodyPr anchor="b">
            <a:normAutofit/>
          </a:bodyPr>
          <a:lstStyle>
            <a:lvl1pPr>
              <a:defRPr lang="en-US" sz="3600" b="1" i="0" dirty="0">
                <a:solidFill>
                  <a:srgbClr val="002540"/>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12" name="Text Placeholder 2"/>
          <p:cNvSpPr>
            <a:spLocks noGrp="1"/>
          </p:cNvSpPr>
          <p:nvPr>
            <p:ph type="body" idx="1"/>
          </p:nvPr>
        </p:nvSpPr>
        <p:spPr>
          <a:xfrm>
            <a:off x="2027211" y="3987423"/>
            <a:ext cx="8801749" cy="228600"/>
          </a:xfrm>
          <a:noFill/>
          <a:ln/>
        </p:spPr>
        <p:txBody>
          <a:bodyPr lIns="0" tIns="0" rIns="0" bIns="0" rtlCol="0" anchor="b"/>
          <a:lstStyle>
            <a:lvl1pPr marL="0" indent="0">
              <a:spcBef>
                <a:spcPts val="0"/>
              </a:spcBef>
              <a:spcAft>
                <a:spcPts val="1200"/>
              </a:spcAft>
              <a:buNone/>
              <a:defRPr kumimoji="0" lang="en-US" sz="1650" b="0" i="0" u="none" strike="noStrike" cap="none" spc="50" normalizeH="0" baseline="0">
                <a:ln>
                  <a:noFill/>
                </a:ln>
                <a:solidFill>
                  <a:srgbClr val="002540"/>
                </a:solidFill>
                <a:effectLst/>
                <a:uLnTx/>
                <a:uFillTx/>
                <a:latin typeface="Aptos" panose="020B0004020202020204" pitchFamily="34" charset="0"/>
                <a:ea typeface="JetBrains Mono Regular" pitchFamily="34" charset="-122"/>
                <a:cs typeface="JetBrains Mono Regular" pitchFamily="34" charset="-120"/>
              </a:defRPr>
            </a:lvl1pPr>
          </a:lstStyle>
          <a:p>
            <a:pPr lvl="0"/>
            <a:r>
              <a:rPr lang="en-GB" dirty="0">
                <a:latin typeface="Aptos Regular"/>
              </a:rPr>
              <a:t>Click to edit Master text styles</a:t>
            </a:r>
          </a:p>
        </p:txBody>
      </p:sp>
      <p:sp>
        <p:nvSpPr>
          <p:cNvPr id="5" name="Slide Number Placeholder 5">
            <a:extLst>
              <a:ext uri="{FF2B5EF4-FFF2-40B4-BE49-F238E27FC236}">
                <a16:creationId xmlns:a16="http://schemas.microsoft.com/office/drawing/2014/main" id="{582792F5-1EDA-1E84-443C-4D5C345A5BF6}"/>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lumMod val="65000"/>
                  </a:schemeClr>
                </a:solidFill>
                <a:latin typeface="Aptos" panose="020B0004020202020204" pitchFamily="34" charset="0"/>
              </a:rPr>
              <a:pPr>
                <a:defRPr/>
              </a:pPr>
              <a:t>‹#›</a:t>
            </a:fld>
            <a:endParaRPr lang="en-US" b="0" i="0" dirty="0">
              <a:solidFill>
                <a:schemeClr val="bg1">
                  <a:lumMod val="65000"/>
                </a:schemeClr>
              </a:solidFill>
              <a:latin typeface="Aptos" panose="020B0004020202020204" pitchFamily="34" charset="0"/>
            </a:endParaRPr>
          </a:p>
        </p:txBody>
      </p:sp>
      <p:pic>
        <p:nvPicPr>
          <p:cNvPr id="6" name="Picture 9">
            <a:extLst>
              <a:ext uri="{FF2B5EF4-FFF2-40B4-BE49-F238E27FC236}">
                <a16:creationId xmlns:a16="http://schemas.microsoft.com/office/drawing/2014/main" id="{8A83A70A-2AC7-AD0D-B459-27CDE721DC9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4804" t="40891" r="14948" b="40707"/>
          <a:stretch>
            <a:fillRect/>
          </a:stretch>
        </p:blipFill>
        <p:spPr bwMode="auto">
          <a:xfrm>
            <a:off x="1429803" y="381000"/>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41973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pic>
        <p:nvPicPr>
          <p:cNvPr id="3" name="Picture 9">
            <a:extLst>
              <a:ext uri="{FF2B5EF4-FFF2-40B4-BE49-F238E27FC236}">
                <a16:creationId xmlns:a16="http://schemas.microsoft.com/office/drawing/2014/main" id="{8554C8F4-AABE-0D0D-75D1-C3FAE3E1A1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1472FC47-3D99-C916-B840-303B0F1042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62849"/>
          <a:stretch>
            <a:fillRect/>
          </a:stretch>
        </p:blipFill>
        <p:spPr bwMode="auto">
          <a:xfrm>
            <a:off x="487363" y="5721350"/>
            <a:ext cx="11217275"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027211" y="2738918"/>
            <a:ext cx="8801748" cy="1059507"/>
          </a:xfrm>
          <a:noFill/>
          <a:ln>
            <a:noFill/>
          </a:ln>
        </p:spPr>
        <p:txBody>
          <a:bodyPr anchor="b">
            <a:normAutofit/>
          </a:bodyPr>
          <a:lstStyle>
            <a:lvl1pPr>
              <a:defRPr lang="en-US" sz="3600" b="1" i="0" dirty="0">
                <a:solidFill>
                  <a:srgbClr val="002540"/>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6" name="Slide Number Placeholder 5">
            <a:extLst>
              <a:ext uri="{FF2B5EF4-FFF2-40B4-BE49-F238E27FC236}">
                <a16:creationId xmlns:a16="http://schemas.microsoft.com/office/drawing/2014/main" id="{1059444E-936E-79C6-611C-A921A5316C15}"/>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lumMod val="65000"/>
                  </a:schemeClr>
                </a:solidFill>
                <a:latin typeface="Aptos" panose="020B0004020202020204" pitchFamily="34" charset="0"/>
              </a:rPr>
              <a:pPr>
                <a:defRPr/>
              </a:pPr>
              <a:t>‹#›</a:t>
            </a:fld>
            <a:endParaRPr lang="en-US" b="0" i="0" dirty="0">
              <a:solidFill>
                <a:schemeClr val="bg1">
                  <a:lumMod val="65000"/>
                </a:schemeClr>
              </a:solidFill>
              <a:latin typeface="Aptos" panose="020B0004020202020204" pitchFamily="34" charset="0"/>
            </a:endParaRPr>
          </a:p>
        </p:txBody>
      </p:sp>
      <p:sp>
        <p:nvSpPr>
          <p:cNvPr id="15" name="Text Placeholder 2">
            <a:extLst>
              <a:ext uri="{FF2B5EF4-FFF2-40B4-BE49-F238E27FC236}">
                <a16:creationId xmlns:a16="http://schemas.microsoft.com/office/drawing/2014/main" id="{B7B21FC8-177F-CF8A-8B6C-55872D4637E8}"/>
              </a:ext>
            </a:extLst>
          </p:cNvPr>
          <p:cNvSpPr>
            <a:spLocks noGrp="1"/>
          </p:cNvSpPr>
          <p:nvPr>
            <p:ph type="body" idx="10"/>
          </p:nvPr>
        </p:nvSpPr>
        <p:spPr>
          <a:xfrm>
            <a:off x="2027211" y="3987423"/>
            <a:ext cx="8801749" cy="228600"/>
          </a:xfrm>
          <a:noFill/>
          <a:ln/>
        </p:spPr>
        <p:txBody>
          <a:bodyPr lIns="0" tIns="0" rIns="0" bIns="0" rtlCol="0" anchor="b"/>
          <a:lstStyle>
            <a:lvl1pPr marL="0" indent="0">
              <a:spcBef>
                <a:spcPts val="0"/>
              </a:spcBef>
              <a:spcAft>
                <a:spcPts val="1200"/>
              </a:spcAft>
              <a:buNone/>
              <a:defRPr kumimoji="0" lang="en-US" sz="1650" b="0" i="0" u="none" strike="noStrike" cap="none" spc="50" normalizeH="0" baseline="0">
                <a:ln>
                  <a:noFill/>
                </a:ln>
                <a:solidFill>
                  <a:srgbClr val="002540"/>
                </a:solidFill>
                <a:effectLst/>
                <a:uLnTx/>
                <a:uFillTx/>
                <a:latin typeface="Aptos" panose="020B0004020202020204" pitchFamily="34" charset="0"/>
                <a:ea typeface="JetBrains Mono Regular" pitchFamily="34" charset="-122"/>
                <a:cs typeface="JetBrains Mono Regular" pitchFamily="34" charset="-120"/>
              </a:defRPr>
            </a:lvl1pPr>
          </a:lstStyle>
          <a:p>
            <a:pPr lvl="0"/>
            <a:r>
              <a:rPr lang="en-GB" dirty="0">
                <a:latin typeface="Aptos Regular"/>
              </a:rPr>
              <a:t>Click to edit Master text styles</a:t>
            </a:r>
          </a:p>
        </p:txBody>
      </p:sp>
    </p:spTree>
    <p:extLst>
      <p:ext uri="{BB962C8B-B14F-4D97-AF65-F5344CB8AC3E}">
        <p14:creationId xmlns:p14="http://schemas.microsoft.com/office/powerpoint/2010/main" val="318274300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rgbClr val="002540"/>
        </a:solidFill>
        <a:effectLst/>
      </p:bgPr>
    </p:bg>
    <p:spTree>
      <p:nvGrpSpPr>
        <p:cNvPr id="1" name=""/>
        <p:cNvGrpSpPr/>
        <p:nvPr/>
      </p:nvGrpSpPr>
      <p:grpSpPr>
        <a:xfrm>
          <a:off x="0" y="0"/>
          <a:ext cx="0" cy="0"/>
          <a:chOff x="0" y="0"/>
          <a:chExt cx="0" cy="0"/>
        </a:xfrm>
      </p:grpSpPr>
      <p:pic>
        <p:nvPicPr>
          <p:cNvPr id="10" name="Picture 7">
            <a:extLst>
              <a:ext uri="{FF2B5EF4-FFF2-40B4-BE49-F238E27FC236}">
                <a16:creationId xmlns:a16="http://schemas.microsoft.com/office/drawing/2014/main" id="{B8DF6C70-031E-DEBF-A8F6-9123442538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b="62849"/>
          <a:stretch>
            <a:fillRect/>
          </a:stretch>
        </p:blipFill>
        <p:spPr bwMode="auto">
          <a:xfrm>
            <a:off x="487363" y="5721350"/>
            <a:ext cx="11217275"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hasCustomPrompt="1"/>
          </p:nvPr>
        </p:nvSpPr>
        <p:spPr>
          <a:xfrm>
            <a:off x="352426" y="1204534"/>
            <a:ext cx="5531540" cy="4390882"/>
          </a:xfrm>
          <a:noFill/>
          <a:ln/>
        </p:spPr>
        <p:txBody>
          <a:bodyPr lIns="0" tIns="0" rIns="0" bIns="0" rtlCol="0" anchor="ctr">
            <a:spAutoFit/>
          </a:bodyPr>
          <a:lstStyle>
            <a:lvl1pPr marL="0" indent="0" algn="r">
              <a:buNone/>
              <a:defRPr lang="en-US" sz="31500" b="1" i="0" kern="0" spc="-675" dirty="0" smtClean="0">
                <a:solidFill>
                  <a:schemeClr val="accent2">
                    <a:lumMod val="75000"/>
                  </a:schemeClr>
                </a:solidFill>
                <a:latin typeface="Aptos ExtraBold" panose="020B0004020202020204" pitchFamily="34" charset="0"/>
                <a:ea typeface="Red Hat Text" panose="02010303040201060303" pitchFamily="2" charset="0"/>
                <a:cs typeface="Red Hat Text" panose="02010303040201060303" pitchFamily="2" charset="0"/>
              </a:defRPr>
            </a:lvl1pPr>
            <a:lvl2pPr>
              <a:defRPr lang="en-US" sz="1800" dirty="0" smtClean="0"/>
            </a:lvl2pPr>
            <a:lvl3pPr>
              <a:defRPr lang="en-US" sz="1800" dirty="0" smtClean="0"/>
            </a:lvl3pPr>
            <a:lvl4pPr>
              <a:defRPr lang="en-US" dirty="0" smtClean="0"/>
            </a:lvl4pPr>
            <a:lvl5pPr>
              <a:defRPr lang="en-US" dirty="0"/>
            </a:lvl5pPr>
          </a:lstStyle>
          <a:p>
            <a:pPr lvl="0"/>
            <a:r>
              <a:rPr lang="en-GB" dirty="0">
                <a:latin typeface="Aptos Regular"/>
              </a:rPr>
              <a:t>00</a:t>
            </a:r>
          </a:p>
        </p:txBody>
      </p:sp>
      <p:sp>
        <p:nvSpPr>
          <p:cNvPr id="6" name="Title 1"/>
          <p:cNvSpPr>
            <a:spLocks noGrp="1"/>
          </p:cNvSpPr>
          <p:nvPr>
            <p:ph type="title"/>
          </p:nvPr>
        </p:nvSpPr>
        <p:spPr>
          <a:xfrm>
            <a:off x="6276975" y="2486025"/>
            <a:ext cx="5000625" cy="1457325"/>
          </a:xfrm>
          <a:noFill/>
          <a:ln/>
        </p:spPr>
        <p:txBody>
          <a:bodyPr anchor="b">
            <a:normAutofit/>
          </a:bodyPr>
          <a:lstStyle>
            <a:lvl1pPr>
              <a:defRPr lang="en-US" sz="3600" b="1" i="0" dirty="0">
                <a:solidFill>
                  <a:schemeClr val="accent5"/>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7" name="Text Placeholder 2"/>
          <p:cNvSpPr>
            <a:spLocks noGrp="1"/>
          </p:cNvSpPr>
          <p:nvPr>
            <p:ph type="body" idx="1"/>
          </p:nvPr>
        </p:nvSpPr>
        <p:spPr>
          <a:xfrm>
            <a:off x="6276975" y="4133849"/>
            <a:ext cx="5000624" cy="784991"/>
          </a:xfrm>
          <a:noFill/>
          <a:ln/>
        </p:spPr>
        <p:txBody>
          <a:bodyPr lIns="0" tIns="0" rIns="0" bIns="0" rtlCol="0" anchor="t"/>
          <a:lstStyle>
            <a:lvl1pPr>
              <a:lnSpc>
                <a:spcPct val="90000"/>
              </a:lnSpc>
              <a:spcBef>
                <a:spcPts val="0"/>
              </a:spcBef>
              <a:spcAft>
                <a:spcPts val="0"/>
              </a:spcAft>
              <a:defRPr lang="en-US" sz="1650" b="0" i="0" spc="50" baseline="0" dirty="0">
                <a:solidFill>
                  <a:srgbClr val="FFFFFF"/>
                </a:solidFill>
                <a:latin typeface="Aptos" panose="020B0004020202020204" pitchFamily="34" charset="0"/>
                <a:ea typeface="Aptos" panose="020B0004020202020204" pitchFamily="34" charset="0"/>
                <a:cs typeface="JetBrains Mono Regular" pitchFamily="34" charset="-120"/>
              </a:defRPr>
            </a:lvl1pPr>
          </a:lstStyle>
          <a:p>
            <a:pPr lvl="0"/>
            <a:r>
              <a:rPr lang="en-GB" dirty="0">
                <a:latin typeface="Aptos Regular"/>
              </a:rPr>
              <a:t>Click to edit Master text styles</a:t>
            </a:r>
          </a:p>
        </p:txBody>
      </p:sp>
      <p:sp>
        <p:nvSpPr>
          <p:cNvPr id="2" name="Slide Number Placeholder 5">
            <a:extLst>
              <a:ext uri="{FF2B5EF4-FFF2-40B4-BE49-F238E27FC236}">
                <a16:creationId xmlns:a16="http://schemas.microsoft.com/office/drawing/2014/main" id="{F29BF8AF-F911-2645-1653-738D4E3AAC14}"/>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pic>
        <p:nvPicPr>
          <p:cNvPr id="9" name="Picture 9">
            <a:extLst>
              <a:ext uri="{FF2B5EF4-FFF2-40B4-BE49-F238E27FC236}">
                <a16:creationId xmlns:a16="http://schemas.microsoft.com/office/drawing/2014/main" id="{8AD67B49-9851-8A6E-134A-139ACA7CE7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4804" t="40891" r="14948" b="40707"/>
          <a:stretch>
            <a:fillRect/>
          </a:stretch>
        </p:blipFill>
        <p:spPr bwMode="auto">
          <a:xfrm rot="16200000">
            <a:off x="-320675" y="968375"/>
            <a:ext cx="148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18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p:bg>
      <p:bgPr>
        <a:gradFill>
          <a:gsLst>
            <a:gs pos="0">
              <a:schemeClr val="accent5"/>
            </a:gs>
            <a:gs pos="90000">
              <a:schemeClr val="accent3"/>
            </a:gs>
          </a:gsLst>
          <a:lin ang="1500000" scaled="0"/>
        </a:gradFill>
        <a:effectLst/>
      </p:bgPr>
    </p:bg>
    <p:spTree>
      <p:nvGrpSpPr>
        <p:cNvPr id="1" name=""/>
        <p:cNvGrpSpPr/>
        <p:nvPr/>
      </p:nvGrpSpPr>
      <p:grpSpPr>
        <a:xfrm>
          <a:off x="0" y="0"/>
          <a:ext cx="0" cy="0"/>
          <a:chOff x="0" y="0"/>
          <a:chExt cx="0" cy="0"/>
        </a:xfrm>
      </p:grpSpPr>
      <p:pic>
        <p:nvPicPr>
          <p:cNvPr id="6" name="Picture 11">
            <a:extLst>
              <a:ext uri="{FF2B5EF4-FFF2-40B4-BE49-F238E27FC236}">
                <a16:creationId xmlns:a16="http://schemas.microsoft.com/office/drawing/2014/main" id="{C0841522-6043-F03D-97D9-30006299DD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1504" t="46242" r="12343" b="46384"/>
          <a:stretch>
            <a:fillRect/>
          </a:stretch>
        </p:blipFill>
        <p:spPr bwMode="auto">
          <a:xfrm rot="16200000">
            <a:off x="-340518" y="958056"/>
            <a:ext cx="15224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16F72F34-B55D-09AA-D75E-D50EDF84EC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63020"/>
          <a:stretch>
            <a:fillRect/>
          </a:stretch>
        </p:blipFill>
        <p:spPr bwMode="auto">
          <a:xfrm>
            <a:off x="487363" y="5721350"/>
            <a:ext cx="11217275"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76975" y="2486025"/>
            <a:ext cx="5000625" cy="1457325"/>
          </a:xfrm>
          <a:noFill/>
          <a:ln/>
        </p:spPr>
        <p:txBody>
          <a:bodyPr anchor="b">
            <a:normAutofit/>
          </a:bodyPr>
          <a:lstStyle>
            <a:lvl1pPr>
              <a:defRPr lang="en-US" sz="3600" b="1" i="0" dirty="0">
                <a:solidFill>
                  <a:srgbClr val="FFFFFF"/>
                </a:solidFill>
                <a:latin typeface="Aptos ExtraBold"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5" name="Text Placeholder 4"/>
          <p:cNvSpPr>
            <a:spLocks noGrp="1"/>
          </p:cNvSpPr>
          <p:nvPr>
            <p:ph type="body" sz="quarter" idx="10" hasCustomPrompt="1"/>
          </p:nvPr>
        </p:nvSpPr>
        <p:spPr>
          <a:xfrm>
            <a:off x="352426" y="781365"/>
            <a:ext cx="5531540" cy="4847481"/>
          </a:xfrm>
          <a:noFill/>
          <a:ln/>
        </p:spPr>
        <p:txBody>
          <a:bodyPr lIns="0" tIns="0" rIns="0" bIns="0" rtlCol="0" anchor="ctr">
            <a:spAutoFit/>
          </a:bodyPr>
          <a:lstStyle>
            <a:lvl1pPr marL="0" indent="0" algn="r">
              <a:buNone/>
              <a:defRPr lang="en-US" sz="31500" b="1" i="0" kern="0" spc="-675" dirty="0" smtClean="0">
                <a:solidFill>
                  <a:schemeClr val="accent3"/>
                </a:solidFill>
                <a:latin typeface="Aptos SemiBold" panose="020B0004020202020204" pitchFamily="34" charset="0"/>
                <a:ea typeface="Red Hat Text" panose="02010303040201060303" pitchFamily="2" charset="0"/>
                <a:cs typeface="Red Hat Text" panose="02010303040201060303" pitchFamily="2" charset="0"/>
              </a:defRPr>
            </a:lvl1pPr>
            <a:lvl2pPr>
              <a:defRPr lang="en-US" sz="1800" dirty="0" smtClean="0"/>
            </a:lvl2pPr>
            <a:lvl3pPr>
              <a:defRPr lang="en-US" sz="1800" dirty="0" smtClean="0"/>
            </a:lvl3pPr>
            <a:lvl4pPr>
              <a:defRPr lang="en-US" dirty="0" smtClean="0"/>
            </a:lvl4pPr>
            <a:lvl5pPr>
              <a:defRPr lang="en-US" dirty="0"/>
            </a:lvl5pPr>
          </a:lstStyle>
          <a:p>
            <a:pPr lvl="0"/>
            <a:r>
              <a:rPr lang="en-GB" dirty="0">
                <a:latin typeface="Aptos Regular"/>
              </a:rPr>
              <a:t>[</a:t>
            </a:r>
          </a:p>
        </p:txBody>
      </p:sp>
      <p:sp>
        <p:nvSpPr>
          <p:cNvPr id="4" name="Slide Number Placeholder 5">
            <a:extLst>
              <a:ext uri="{FF2B5EF4-FFF2-40B4-BE49-F238E27FC236}">
                <a16:creationId xmlns:a16="http://schemas.microsoft.com/office/drawing/2014/main" id="{EF0D04C5-E481-8707-D99F-7B8D5BE6BC58}"/>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
        <p:nvSpPr>
          <p:cNvPr id="8" name="Text Placeholder 2">
            <a:extLst>
              <a:ext uri="{FF2B5EF4-FFF2-40B4-BE49-F238E27FC236}">
                <a16:creationId xmlns:a16="http://schemas.microsoft.com/office/drawing/2014/main" id="{C65829A7-011E-FC7D-55E4-7D0719412287}"/>
              </a:ext>
            </a:extLst>
          </p:cNvPr>
          <p:cNvSpPr>
            <a:spLocks noGrp="1"/>
          </p:cNvSpPr>
          <p:nvPr>
            <p:ph type="body" idx="1"/>
          </p:nvPr>
        </p:nvSpPr>
        <p:spPr>
          <a:xfrm>
            <a:off x="6276975" y="4133849"/>
            <a:ext cx="5000624" cy="784991"/>
          </a:xfrm>
          <a:noFill/>
          <a:ln/>
        </p:spPr>
        <p:txBody>
          <a:bodyPr lIns="0" tIns="0" rIns="0" bIns="0" rtlCol="0" anchor="t"/>
          <a:lstStyle>
            <a:lvl1pPr>
              <a:lnSpc>
                <a:spcPct val="90000"/>
              </a:lnSpc>
              <a:spcBef>
                <a:spcPts val="0"/>
              </a:spcBef>
              <a:spcAft>
                <a:spcPts val="0"/>
              </a:spcAft>
              <a:defRPr lang="en-US" sz="1650" b="0" i="0" spc="50" baseline="0" dirty="0">
                <a:solidFill>
                  <a:srgbClr val="FFFFFF"/>
                </a:solidFill>
                <a:latin typeface="Aptos" panose="020B0004020202020204" pitchFamily="34" charset="0"/>
                <a:ea typeface="Aptos" panose="020B0004020202020204" pitchFamily="34" charset="0"/>
                <a:cs typeface="JetBrains Mono Regular" pitchFamily="34" charset="-120"/>
              </a:defRPr>
            </a:lvl1pPr>
          </a:lstStyle>
          <a:p>
            <a:pPr lvl="0"/>
            <a:r>
              <a:rPr lang="en-GB" dirty="0">
                <a:latin typeface="Aptos Regular"/>
              </a:rPr>
              <a:t>Click to edit Master text styles</a:t>
            </a:r>
          </a:p>
        </p:txBody>
      </p:sp>
    </p:spTree>
    <p:extLst>
      <p:ext uri="{BB962C8B-B14F-4D97-AF65-F5344CB8AC3E}">
        <p14:creationId xmlns:p14="http://schemas.microsoft.com/office/powerpoint/2010/main" val="1117516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2_Section Header">
    <p:bg>
      <p:bgPr>
        <a:blipFill dpi="0" rotWithShape="0">
          <a:blip r:embed="rId2">
            <a:lum/>
          </a:blip>
          <a:srcRect/>
          <a:stretch>
            <a:fillRect t="-9000" b="-9000"/>
          </a:stretch>
        </a:blipFill>
        <a:effectLst/>
      </p:bgPr>
    </p:bg>
    <p:spTree>
      <p:nvGrpSpPr>
        <p:cNvPr id="1" name=""/>
        <p:cNvGrpSpPr/>
        <p:nvPr/>
      </p:nvGrpSpPr>
      <p:grpSpPr>
        <a:xfrm>
          <a:off x="0" y="0"/>
          <a:ext cx="0" cy="0"/>
          <a:chOff x="0" y="0"/>
          <a:chExt cx="0" cy="0"/>
        </a:xfrm>
      </p:grpSpPr>
      <p:pic>
        <p:nvPicPr>
          <p:cNvPr id="5" name="Picture 11">
            <a:extLst>
              <a:ext uri="{FF2B5EF4-FFF2-40B4-BE49-F238E27FC236}">
                <a16:creationId xmlns:a16="http://schemas.microsoft.com/office/drawing/2014/main" id="{0EC4FDF7-0543-69B2-6D5F-C9DEAED1A5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504" t="46242" r="12343" b="46384"/>
          <a:stretch>
            <a:fillRect/>
          </a:stretch>
        </p:blipFill>
        <p:spPr bwMode="auto">
          <a:xfrm rot="16200000">
            <a:off x="-340518" y="958056"/>
            <a:ext cx="15224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52500" y="3857625"/>
            <a:ext cx="10263368" cy="1457325"/>
          </a:xfrm>
          <a:noFill/>
          <a:ln/>
        </p:spPr>
        <p:txBody>
          <a:bodyPr anchor="b">
            <a:normAutofit/>
          </a:bodyPr>
          <a:lstStyle>
            <a:lvl1pPr algn="r">
              <a:defRPr lang="en-US" sz="3600" b="1" i="0" dirty="0">
                <a:solidFill>
                  <a:schemeClr val="bg1"/>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3" name="Text Placeholder 2"/>
          <p:cNvSpPr>
            <a:spLocks noGrp="1"/>
          </p:cNvSpPr>
          <p:nvPr>
            <p:ph type="body" idx="1"/>
          </p:nvPr>
        </p:nvSpPr>
        <p:spPr>
          <a:xfrm>
            <a:off x="952501" y="5553075"/>
            <a:ext cx="10263368" cy="443688"/>
          </a:xfrm>
          <a:noFill/>
          <a:ln/>
        </p:spPr>
        <p:txBody>
          <a:bodyPr lIns="0" tIns="0" rIns="0" bIns="0" rtlCol="0" anchor="t"/>
          <a:lstStyle>
            <a:lvl1pPr marL="0" indent="0" algn="r">
              <a:spcBef>
                <a:spcPts val="0"/>
              </a:spcBef>
              <a:spcAft>
                <a:spcPts val="1200"/>
              </a:spcAft>
              <a:buNone/>
              <a:defRPr lang="en-US" sz="1650" b="0" i="0" spc="50" baseline="0" dirty="0">
                <a:solidFill>
                  <a:schemeClr val="bg1"/>
                </a:solidFill>
                <a:latin typeface="Aptos" panose="020B0004020202020204" pitchFamily="34" charset="0"/>
                <a:ea typeface="JetBrains Mono Regular" pitchFamily="34" charset="-122"/>
                <a:cs typeface="JetBrains Mono Regular" pitchFamily="34" charset="-120"/>
              </a:defRPr>
            </a:lvl1pPr>
          </a:lstStyle>
          <a:p>
            <a:pPr lvl="0"/>
            <a:r>
              <a:rPr lang="en-GB" dirty="0">
                <a:latin typeface="Aptos Regular"/>
              </a:rPr>
              <a:t>Click to edit Master text styles</a:t>
            </a:r>
          </a:p>
        </p:txBody>
      </p:sp>
      <p:sp>
        <p:nvSpPr>
          <p:cNvPr id="6" name="Slide Number Placeholder 5">
            <a:extLst>
              <a:ext uri="{FF2B5EF4-FFF2-40B4-BE49-F238E27FC236}">
                <a16:creationId xmlns:a16="http://schemas.microsoft.com/office/drawing/2014/main" id="{90803C8D-D0C6-60CA-AD33-94759DBBE608}"/>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Tree>
    <p:extLst>
      <p:ext uri="{BB962C8B-B14F-4D97-AF65-F5344CB8AC3E}">
        <p14:creationId xmlns:p14="http://schemas.microsoft.com/office/powerpoint/2010/main" val="3905979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Section Header">
    <p:bg>
      <p:bgPr>
        <a:blipFill dpi="0" rotWithShape="0">
          <a:blip r:embed="rId2">
            <a:lum/>
          </a:blip>
          <a:srcRect/>
          <a:stretch>
            <a:fillRect t="-9000" b="-9000"/>
          </a:stretch>
        </a:blipFill>
        <a:effectLst/>
      </p:bgPr>
    </p:bg>
    <p:spTree>
      <p:nvGrpSpPr>
        <p:cNvPr id="1" name=""/>
        <p:cNvGrpSpPr/>
        <p:nvPr/>
      </p:nvGrpSpPr>
      <p:grpSpPr>
        <a:xfrm>
          <a:off x="0" y="0"/>
          <a:ext cx="0" cy="0"/>
          <a:chOff x="0" y="0"/>
          <a:chExt cx="0" cy="0"/>
        </a:xfrm>
      </p:grpSpPr>
      <p:pic>
        <p:nvPicPr>
          <p:cNvPr id="5" name="Picture 11">
            <a:extLst>
              <a:ext uri="{FF2B5EF4-FFF2-40B4-BE49-F238E27FC236}">
                <a16:creationId xmlns:a16="http://schemas.microsoft.com/office/drawing/2014/main" id="{F7C7FCAB-EA99-4EF3-1D77-821109FE0C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504" t="46242" r="12343" b="46384"/>
          <a:stretch>
            <a:fillRect/>
          </a:stretch>
        </p:blipFill>
        <p:spPr bwMode="auto">
          <a:xfrm rot="16200000">
            <a:off x="-340518" y="958056"/>
            <a:ext cx="15224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BB645710-0C85-61C6-9371-AFE7F3EF9431}"/>
              </a:ext>
            </a:extLst>
          </p:cNvPr>
          <p:cNvSpPr>
            <a:spLocks noGrp="1"/>
          </p:cNvSpPr>
          <p:nvPr>
            <p:ph type="title"/>
          </p:nvPr>
        </p:nvSpPr>
        <p:spPr>
          <a:xfrm>
            <a:off x="952500" y="3857625"/>
            <a:ext cx="10263368" cy="1457325"/>
          </a:xfrm>
          <a:noFill/>
          <a:ln/>
        </p:spPr>
        <p:txBody>
          <a:bodyPr anchor="b">
            <a:normAutofit/>
          </a:bodyPr>
          <a:lstStyle>
            <a:lvl1pPr algn="r">
              <a:defRPr lang="en-US" sz="3600" b="1" i="0" dirty="0">
                <a:solidFill>
                  <a:schemeClr val="bg1"/>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7" name="Text Placeholder 2">
            <a:extLst>
              <a:ext uri="{FF2B5EF4-FFF2-40B4-BE49-F238E27FC236}">
                <a16:creationId xmlns:a16="http://schemas.microsoft.com/office/drawing/2014/main" id="{2BEFBE49-9E81-6900-5B61-7EF490E5C8B4}"/>
              </a:ext>
            </a:extLst>
          </p:cNvPr>
          <p:cNvSpPr>
            <a:spLocks noGrp="1"/>
          </p:cNvSpPr>
          <p:nvPr>
            <p:ph type="body" idx="1"/>
          </p:nvPr>
        </p:nvSpPr>
        <p:spPr>
          <a:xfrm>
            <a:off x="952501" y="5553075"/>
            <a:ext cx="10263368" cy="443688"/>
          </a:xfrm>
          <a:noFill/>
          <a:ln/>
        </p:spPr>
        <p:txBody>
          <a:bodyPr lIns="0" tIns="0" rIns="0" bIns="0" rtlCol="0" anchor="t"/>
          <a:lstStyle>
            <a:lvl1pPr marL="0" indent="0" algn="r">
              <a:spcBef>
                <a:spcPts val="0"/>
              </a:spcBef>
              <a:spcAft>
                <a:spcPts val="1200"/>
              </a:spcAft>
              <a:buNone/>
              <a:defRPr lang="en-US" sz="1650" b="0" i="0" spc="50" baseline="0" dirty="0">
                <a:solidFill>
                  <a:schemeClr val="bg1"/>
                </a:solidFill>
                <a:latin typeface="Aptos" panose="020B0004020202020204" pitchFamily="34" charset="0"/>
                <a:ea typeface="JetBrains Mono Regular" pitchFamily="34" charset="-122"/>
                <a:cs typeface="JetBrains Mono Regular" pitchFamily="34" charset="-120"/>
              </a:defRPr>
            </a:lvl1pPr>
          </a:lstStyle>
          <a:p>
            <a:pPr lvl="0"/>
            <a:r>
              <a:rPr lang="en-GB" dirty="0">
                <a:latin typeface="Aptos Regular"/>
              </a:rPr>
              <a:t>Click to edit Master text styles</a:t>
            </a:r>
          </a:p>
        </p:txBody>
      </p:sp>
      <p:sp>
        <p:nvSpPr>
          <p:cNvPr id="3" name="Slide Number Placeholder 5">
            <a:extLst>
              <a:ext uri="{FF2B5EF4-FFF2-40B4-BE49-F238E27FC236}">
                <a16:creationId xmlns:a16="http://schemas.microsoft.com/office/drawing/2014/main" id="{AA7725C1-DC9A-0804-DEC6-AC26EDB1EC68}"/>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Tree>
    <p:extLst>
      <p:ext uri="{BB962C8B-B14F-4D97-AF65-F5344CB8AC3E}">
        <p14:creationId xmlns:p14="http://schemas.microsoft.com/office/powerpoint/2010/main" val="2181039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Section Header">
    <p:bg>
      <p:bgPr>
        <a:blipFill dpi="0" rotWithShape="0">
          <a:blip r:embed="rId2">
            <a:lum/>
          </a:blip>
          <a:srcRect/>
          <a:stretch>
            <a:fillRect t="-9000" b="-9000"/>
          </a:stretch>
        </a:blipFill>
        <a:effectLst/>
      </p:bgPr>
    </p:bg>
    <p:spTree>
      <p:nvGrpSpPr>
        <p:cNvPr id="1" name=""/>
        <p:cNvGrpSpPr/>
        <p:nvPr/>
      </p:nvGrpSpPr>
      <p:grpSpPr>
        <a:xfrm>
          <a:off x="0" y="0"/>
          <a:ext cx="0" cy="0"/>
          <a:chOff x="0" y="0"/>
          <a:chExt cx="0" cy="0"/>
        </a:xfrm>
      </p:grpSpPr>
      <p:pic>
        <p:nvPicPr>
          <p:cNvPr id="5" name="Picture 11">
            <a:extLst>
              <a:ext uri="{FF2B5EF4-FFF2-40B4-BE49-F238E27FC236}">
                <a16:creationId xmlns:a16="http://schemas.microsoft.com/office/drawing/2014/main" id="{6ED70CFF-E6B7-131A-61D4-AB4C104A32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504" t="46242" r="12343" b="46384"/>
          <a:stretch>
            <a:fillRect/>
          </a:stretch>
        </p:blipFill>
        <p:spPr bwMode="auto">
          <a:xfrm rot="16200000">
            <a:off x="-340518" y="958056"/>
            <a:ext cx="15224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8F8F13BF-6057-3BA4-1829-50E63BC5705F}"/>
              </a:ext>
            </a:extLst>
          </p:cNvPr>
          <p:cNvSpPr>
            <a:spLocks noGrp="1"/>
          </p:cNvSpPr>
          <p:nvPr>
            <p:ph type="title"/>
          </p:nvPr>
        </p:nvSpPr>
        <p:spPr>
          <a:xfrm>
            <a:off x="952500" y="3857625"/>
            <a:ext cx="10263368" cy="1457325"/>
          </a:xfrm>
          <a:noFill/>
          <a:ln/>
        </p:spPr>
        <p:txBody>
          <a:bodyPr anchor="b"/>
          <a:lstStyle>
            <a:lvl1pPr algn="l">
              <a:defRPr lang="en-US" sz="3450" b="1" i="0" dirty="0">
                <a:solidFill>
                  <a:schemeClr val="bg1"/>
                </a:solidFill>
                <a:latin typeface="Aptos Black" panose="020B0004020202020204" pitchFamily="34" charset="0"/>
                <a:ea typeface="Red Hat Text" panose="02010303040201060303" pitchFamily="2" charset="0"/>
                <a:cs typeface="Red Hat Text" panose="02010303040201060303" pitchFamily="2" charset="0"/>
              </a:defRPr>
            </a:lvl1pPr>
          </a:lstStyle>
          <a:p>
            <a:pPr lvl="0"/>
            <a:r>
              <a:rPr lang="en-GB" dirty="0">
                <a:latin typeface="Aptos Regular"/>
              </a:rPr>
              <a:t>Click to edit Master title style</a:t>
            </a:r>
            <a:endParaRPr lang="en-US" dirty="0"/>
          </a:p>
        </p:txBody>
      </p:sp>
      <p:sp>
        <p:nvSpPr>
          <p:cNvPr id="7" name="Text Placeholder 2">
            <a:extLst>
              <a:ext uri="{FF2B5EF4-FFF2-40B4-BE49-F238E27FC236}">
                <a16:creationId xmlns:a16="http://schemas.microsoft.com/office/drawing/2014/main" id="{19FE9A71-0EC5-B712-6872-C50A98EAB188}"/>
              </a:ext>
            </a:extLst>
          </p:cNvPr>
          <p:cNvSpPr>
            <a:spLocks noGrp="1"/>
          </p:cNvSpPr>
          <p:nvPr>
            <p:ph type="body" idx="1"/>
          </p:nvPr>
        </p:nvSpPr>
        <p:spPr>
          <a:xfrm>
            <a:off x="952501" y="5553075"/>
            <a:ext cx="10263368" cy="443688"/>
          </a:xfrm>
          <a:noFill/>
          <a:ln/>
        </p:spPr>
        <p:txBody>
          <a:bodyPr lIns="0" tIns="0" rIns="0" bIns="0" rtlCol="0" anchor="t"/>
          <a:lstStyle>
            <a:lvl1pPr marL="0" indent="0" algn="l">
              <a:spcBef>
                <a:spcPts val="0"/>
              </a:spcBef>
              <a:spcAft>
                <a:spcPts val="1200"/>
              </a:spcAft>
              <a:buNone/>
              <a:defRPr lang="en-US" sz="1650" b="0" i="0" spc="50" baseline="0" dirty="0">
                <a:solidFill>
                  <a:schemeClr val="bg1"/>
                </a:solidFill>
                <a:latin typeface="Aptos" panose="020B0004020202020204" pitchFamily="34" charset="0"/>
                <a:ea typeface="JetBrains Mono Regular" pitchFamily="34" charset="-122"/>
                <a:cs typeface="JetBrains Mono Regular" pitchFamily="34" charset="-120"/>
              </a:defRPr>
            </a:lvl1pPr>
          </a:lstStyle>
          <a:p>
            <a:pPr lvl="0"/>
            <a:r>
              <a:rPr lang="en-GB" dirty="0">
                <a:latin typeface="Aptos Regular"/>
              </a:rPr>
              <a:t>Click to edit Master text styles</a:t>
            </a:r>
          </a:p>
        </p:txBody>
      </p:sp>
      <p:sp>
        <p:nvSpPr>
          <p:cNvPr id="3" name="Slide Number Placeholder 5">
            <a:extLst>
              <a:ext uri="{FF2B5EF4-FFF2-40B4-BE49-F238E27FC236}">
                <a16:creationId xmlns:a16="http://schemas.microsoft.com/office/drawing/2014/main" id="{42E615DC-0E77-E6D2-D316-3D8247E1FE9F}"/>
              </a:ext>
            </a:extLst>
          </p:cNvPr>
          <p:cNvSpPr txBox="1">
            <a:spLocks/>
          </p:cNvSpPr>
          <p:nvPr userDrawn="1"/>
        </p:nvSpPr>
        <p:spPr>
          <a:xfrm>
            <a:off x="11606938" y="6492875"/>
            <a:ext cx="522124"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100" kern="1200" smtClean="0">
                <a:solidFill>
                  <a:schemeClr val="tx1">
                    <a:tint val="75000"/>
                  </a:schemeClr>
                </a:solidFill>
                <a:latin typeface="+mj-lt"/>
                <a:ea typeface="+mn-ea"/>
                <a:cs typeface="JetBrains Mono" panose="02000009000000000000" pitchFamily="49" charset="0"/>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a:lstStyle>
          <a:p>
            <a:pPr>
              <a:defRPr/>
            </a:pPr>
            <a:fld id="{829FEAD3-35B2-E545-895E-2C1F1AA4DFA3}" type="slidenum">
              <a:rPr lang="en-US" b="0" i="0" smtClean="0">
                <a:solidFill>
                  <a:schemeClr val="bg1"/>
                </a:solidFill>
                <a:latin typeface="Aptos" panose="020B0004020202020204" pitchFamily="34" charset="0"/>
              </a:rPr>
              <a:pPr>
                <a:defRPr/>
              </a:pPr>
              <a:t>‹#›</a:t>
            </a:fld>
            <a:endParaRPr lang="en-US" b="0" i="0" dirty="0">
              <a:solidFill>
                <a:schemeClr val="bg1"/>
              </a:solidFill>
              <a:latin typeface="Aptos" panose="020B0004020202020204" pitchFamily="34" charset="0"/>
            </a:endParaRPr>
          </a:p>
        </p:txBody>
      </p:sp>
    </p:spTree>
    <p:extLst>
      <p:ext uri="{BB962C8B-B14F-4D97-AF65-F5344CB8AC3E}">
        <p14:creationId xmlns:p14="http://schemas.microsoft.com/office/powerpoint/2010/main" val="30028626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8E36FA-1810-1481-F6F6-851DFA378680}"/>
              </a:ext>
            </a:extLst>
          </p:cNvPr>
          <p:cNvSpPr>
            <a:spLocks noGrp="1"/>
          </p:cNvSpPr>
          <p:nvPr>
            <p:ph type="title"/>
          </p:nvPr>
        </p:nvSpPr>
        <p:spPr>
          <a:xfrm>
            <a:off x="838200" y="365125"/>
            <a:ext cx="10515600" cy="1325563"/>
          </a:xfrm>
          <a:prstGeom prst="rect">
            <a:avLst/>
          </a:prstGeom>
          <a:noFill/>
          <a:ln>
            <a:noFill/>
          </a:ln>
        </p:spPr>
        <p:txBody>
          <a:bodyPr vert="horz" wrap="square" lIns="0" tIns="0" rIns="0" bIns="0" rtlCol="0" anchor="b">
            <a:normAutofit/>
          </a:bodyPr>
          <a:lstStyle/>
          <a:p>
            <a:pPr lvl="0"/>
            <a:endParaRPr lang="en-US" dirty="0"/>
          </a:p>
        </p:txBody>
      </p:sp>
      <p:sp>
        <p:nvSpPr>
          <p:cNvPr id="1027" name="Text Placeholder 2">
            <a:extLst>
              <a:ext uri="{FF2B5EF4-FFF2-40B4-BE49-F238E27FC236}">
                <a16:creationId xmlns:a16="http://schemas.microsoft.com/office/drawing/2014/main" id="{CF91AB6F-D4E0-002C-7460-FF675A2EBEB6}"/>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PT" dirty="0">
                <a:latin typeface="Aptos Regular"/>
              </a:rPr>
              <a:t>Click to edit Master text styles</a:t>
            </a:r>
          </a:p>
          <a:p>
            <a:pPr lvl="1"/>
            <a:r>
              <a:rPr lang="en-GB" altLang="en-PT" dirty="0">
                <a:latin typeface="Aptos Regular"/>
              </a:rPr>
              <a:t>Second level</a:t>
            </a:r>
          </a:p>
          <a:p>
            <a:pPr lvl="2"/>
            <a:r>
              <a:rPr lang="en-GB" altLang="en-PT" dirty="0">
                <a:latin typeface="Aptos Regular"/>
              </a:rPr>
              <a:t>Third level</a:t>
            </a:r>
          </a:p>
          <a:p>
            <a:pPr lvl="3"/>
            <a:r>
              <a:rPr lang="en-GB" altLang="en-PT" dirty="0">
                <a:latin typeface="Aptos Regular"/>
              </a:rPr>
              <a:t>Fourth level</a:t>
            </a:r>
          </a:p>
          <a:p>
            <a:pPr lvl="4"/>
            <a:r>
              <a:rPr lang="en-GB" altLang="en-PT" dirty="0">
                <a:latin typeface="Aptos Regular"/>
              </a:rPr>
              <a:t>Fifth level</a:t>
            </a:r>
            <a:endParaRPr lang="en-US" altLang="en-PT" dirty="0"/>
          </a:p>
        </p:txBody>
      </p:sp>
      <p:sp>
        <p:nvSpPr>
          <p:cNvPr id="4" name="Date Placeholder 3">
            <a:extLst>
              <a:ext uri="{FF2B5EF4-FFF2-40B4-BE49-F238E27FC236}">
                <a16:creationId xmlns:a16="http://schemas.microsoft.com/office/drawing/2014/main" id="{48E80EE4-9A00-C20D-9356-5FBFF862E7F8}"/>
              </a:ext>
            </a:extLst>
          </p:cNvPr>
          <p:cNvSpPr>
            <a:spLocks noGrp="1"/>
          </p:cNvSpPr>
          <p:nvPr>
            <p:ph type="dt" sz="half" idx="2"/>
          </p:nvPr>
        </p:nvSpPr>
        <p:spPr>
          <a:xfrm>
            <a:off x="838200" y="6492875"/>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100" b="0" i="0">
                <a:solidFill>
                  <a:schemeClr val="tx1">
                    <a:tint val="75000"/>
                  </a:schemeClr>
                </a:solidFill>
                <a:latin typeface="Aptos" panose="020B0004020202020204" pitchFamily="34" charset="0"/>
                <a:cs typeface="JetBrains Mono" panose="02000009000000000000" pitchFamily="49" charset="0"/>
              </a:defRPr>
            </a:lvl1pPr>
          </a:lstStyle>
          <a:p>
            <a:pPr>
              <a:defRPr/>
            </a:pPr>
            <a:endParaRPr lang="en-US" dirty="0"/>
          </a:p>
        </p:txBody>
      </p:sp>
      <p:sp>
        <p:nvSpPr>
          <p:cNvPr id="6" name="Slide Number Placeholder 5">
            <a:extLst>
              <a:ext uri="{FF2B5EF4-FFF2-40B4-BE49-F238E27FC236}">
                <a16:creationId xmlns:a16="http://schemas.microsoft.com/office/drawing/2014/main" id="{30BA9446-790D-FD5E-1FF7-D74D4A95B939}"/>
              </a:ext>
            </a:extLst>
          </p:cNvPr>
          <p:cNvSpPr>
            <a:spLocks noGrp="1"/>
          </p:cNvSpPr>
          <p:nvPr>
            <p:ph type="sldNum" sz="quarter" idx="4"/>
          </p:nvPr>
        </p:nvSpPr>
        <p:spPr>
          <a:xfrm>
            <a:off x="11602844" y="6492875"/>
            <a:ext cx="524105" cy="365125"/>
          </a:xfrm>
          <a:prstGeom prst="rect">
            <a:avLst/>
          </a:prstGeom>
        </p:spPr>
        <p:txBody>
          <a:bodyPr vert="horz" lIns="91440" tIns="45720" rIns="91440" bIns="45720" rtlCol="0" anchor="ctr"/>
          <a:lstStyle>
            <a:lvl1pPr algn="r" eaLnBrk="1" fontAlgn="auto" hangingPunct="1">
              <a:spcBef>
                <a:spcPts val="0"/>
              </a:spcBef>
              <a:spcAft>
                <a:spcPts val="0"/>
              </a:spcAft>
              <a:defRPr sz="1100" b="0" i="0" smtClean="0">
                <a:solidFill>
                  <a:schemeClr val="tx1">
                    <a:tint val="75000"/>
                  </a:schemeClr>
                </a:solidFill>
                <a:latin typeface="Aptos" panose="020B0004020202020204" pitchFamily="34" charset="0"/>
                <a:cs typeface="JetBrains Mono" panose="02000009000000000000" pitchFamily="49" charset="0"/>
              </a:defRPr>
            </a:lvl1pPr>
          </a:lstStyle>
          <a:p>
            <a:pPr>
              <a:defRPr/>
            </a:pPr>
            <a:fld id="{829FEAD3-35B2-E545-895E-2C1F1AA4DFA3}"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700" r:id="rId1"/>
    <p:sldLayoutId id="2147483699" r:id="rId2"/>
    <p:sldLayoutId id="2147483719" r:id="rId3"/>
    <p:sldLayoutId id="2147483701" r:id="rId4"/>
    <p:sldLayoutId id="2147483706" r:id="rId5"/>
    <p:sldLayoutId id="2147483705" r:id="rId6"/>
    <p:sldLayoutId id="2147483702" r:id="rId7"/>
    <p:sldLayoutId id="2147483703" r:id="rId8"/>
    <p:sldLayoutId id="2147483704" r:id="rId9"/>
    <p:sldLayoutId id="2147483713" r:id="rId10"/>
    <p:sldLayoutId id="2147483711" r:id="rId11"/>
    <p:sldLayoutId id="2147483707" r:id="rId12"/>
    <p:sldLayoutId id="2147483710" r:id="rId13"/>
    <p:sldLayoutId id="2147483708" r:id="rId14"/>
    <p:sldLayoutId id="2147483712" r:id="rId15"/>
    <p:sldLayoutId id="2147483709" r:id="rId16"/>
    <p:sldLayoutId id="2147483716" r:id="rId17"/>
    <p:sldLayoutId id="2147483715" r:id="rId18"/>
    <p:sldLayoutId id="2147483714" r:id="rId19"/>
    <p:sldLayoutId id="2147483720" r:id="rId20"/>
    <p:sldLayoutId id="2147483721" r:id="rId21"/>
    <p:sldLayoutId id="2147483718" r:id="rId22"/>
    <p:sldLayoutId id="2147483722" r:id="rId23"/>
    <p:sldLayoutId id="2147483723" r:id="rId24"/>
    <p:sldLayoutId id="2147483724" r:id="rId25"/>
  </p:sldLayoutIdLst>
  <p:hf hdr="0" ftr="0" dt="0"/>
  <p:txStyles>
    <p:titleStyle>
      <a:lvl1pPr algn="l" rtl="0" fontAlgn="base">
        <a:lnSpc>
          <a:spcPct val="80000"/>
        </a:lnSpc>
        <a:spcBef>
          <a:spcPct val="0"/>
        </a:spcBef>
        <a:spcAft>
          <a:spcPct val="0"/>
        </a:spcAft>
        <a:defRPr lang="en-US" sz="3600" b="1" i="0" kern="1200">
          <a:solidFill>
            <a:schemeClr val="tx1"/>
          </a:solidFill>
          <a:latin typeface="Aptos ExtraBold" panose="020B0004020202020204" pitchFamily="34" charset="0"/>
          <a:ea typeface="Red Hat Text" panose="02010303040201060303" pitchFamily="2" charset="0"/>
          <a:cs typeface="Arial" panose="020B0604020202020204" pitchFamily="34" charset="0"/>
        </a:defRPr>
      </a:lvl1pPr>
      <a:lvl2pPr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2pPr>
      <a:lvl3pPr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3pPr>
      <a:lvl4pPr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4pPr>
      <a:lvl5pPr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5pPr>
      <a:lvl6pPr marL="457200"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6pPr>
      <a:lvl7pPr marL="914400"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7pPr>
      <a:lvl8pPr marL="1371600"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8pPr>
      <a:lvl9pPr marL="1828800" algn="l" rtl="0" fontAlgn="base">
        <a:lnSpc>
          <a:spcPct val="90000"/>
        </a:lnSpc>
        <a:spcBef>
          <a:spcPct val="0"/>
        </a:spcBef>
        <a:spcAft>
          <a:spcPct val="0"/>
        </a:spcAft>
        <a:defRPr sz="3400" b="1">
          <a:solidFill>
            <a:srgbClr val="0090BE"/>
          </a:solidFill>
          <a:latin typeface="Red Hat Text" panose="02010303040201060303" pitchFamily="2" charset="0"/>
          <a:ea typeface="Red Hat Text" panose="02010303040201060303" pitchFamily="2" charset="0"/>
          <a:cs typeface="Red Hat Text" panose="02010303040201060303" pitchFamily="2" charset="0"/>
        </a:defRPr>
      </a:lvl9pPr>
    </p:titleStyle>
    <p:bodyStyle>
      <a:lvl1pPr marL="0" indent="0" algn="l" rtl="0" fontAlgn="base">
        <a:lnSpc>
          <a:spcPct val="100000"/>
        </a:lnSpc>
        <a:spcBef>
          <a:spcPts val="0"/>
        </a:spcBef>
        <a:spcAft>
          <a:spcPts val="600"/>
        </a:spcAft>
        <a:buFont typeface="Arial" panose="020B0604020202020204" pitchFamily="34" charset="0"/>
        <a:buNone/>
        <a:defRPr lang="en-US" sz="1650" b="0" i="0" kern="1200">
          <a:solidFill>
            <a:schemeClr val="tx1"/>
          </a:solidFill>
          <a:latin typeface="Aptos Light" panose="020B0004020202020204" pitchFamily="34" charset="0"/>
          <a:ea typeface="Aptos Light" panose="020B0004020202020204" pitchFamily="34" charset="0"/>
          <a:cs typeface="JetBrains Mono" panose="02000009000000000000" pitchFamily="49" charset="0"/>
        </a:defRPr>
      </a:lvl1pPr>
      <a:lvl2pPr marL="457200" indent="0" algn="l" rtl="0" fontAlgn="base">
        <a:lnSpc>
          <a:spcPct val="90000"/>
        </a:lnSpc>
        <a:spcBef>
          <a:spcPts val="500"/>
        </a:spcBef>
        <a:spcAft>
          <a:spcPts val="600"/>
        </a:spcAft>
        <a:buFont typeface="Arial" panose="020B0604020202020204" pitchFamily="34" charset="0"/>
        <a:buNone/>
        <a:defRPr lang="en-US" sz="14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2pPr>
      <a:lvl3pPr marL="914400" indent="0" algn="l" rtl="0" fontAlgn="base">
        <a:lnSpc>
          <a:spcPct val="90000"/>
        </a:lnSpc>
        <a:spcBef>
          <a:spcPts val="500"/>
        </a:spcBef>
        <a:spcAft>
          <a:spcPts val="600"/>
        </a:spcAft>
        <a:buFont typeface="Arial" panose="020B0604020202020204" pitchFamily="34" charset="0"/>
        <a:buNone/>
        <a:defRPr lang="en-US" sz="12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3pPr>
      <a:lvl4pPr marL="1371600" indent="0" algn="l" rtl="0" fontAlgn="base">
        <a:lnSpc>
          <a:spcPct val="90000"/>
        </a:lnSpc>
        <a:spcBef>
          <a:spcPts val="500"/>
        </a:spcBef>
        <a:spcAft>
          <a:spcPts val="600"/>
        </a:spcAft>
        <a:buFont typeface="Arial" panose="020B0604020202020204" pitchFamily="34" charset="0"/>
        <a:buNone/>
        <a:defRPr lang="en-US" sz="11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4pPr>
      <a:lvl5pPr marL="1828800" indent="0" algn="l" rtl="0" fontAlgn="base">
        <a:lnSpc>
          <a:spcPct val="90000"/>
        </a:lnSpc>
        <a:spcBef>
          <a:spcPts val="500"/>
        </a:spcBef>
        <a:spcAft>
          <a:spcPts val="600"/>
        </a:spcAft>
        <a:buFont typeface="Arial" panose="020B0604020202020204" pitchFamily="34" charset="0"/>
        <a:buNone/>
        <a:defRPr lang="en-US" sz="10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42.sv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4.xml"/><Relationship Id="rId4" Type="http://schemas.openxmlformats.org/officeDocument/2006/relationships/image" Target="../media/image47.sv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57.svg"/></Relationships>
</file>

<file path=ppt/slides/_rels/slide21.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4.xml"/><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hyperlink" Target="https://ec.europa.eu/eusurvey/runner/Every1WebinarPortuguese" TargetMode="Externa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4.xml"/><Relationship Id="rId5" Type="http://schemas.openxmlformats.org/officeDocument/2006/relationships/hyperlink" Target="https://www.entsoe.eu/publications/blackout/28-april-2025-iberian-blackout/" TargetMode="Externa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hyperlink" Target="https://www.lamoncloa.gob.es/consejodeministros/resumenes/Documents/2025/Informe-no-confidencial-Comite-de-analisis-28A.pdf" TargetMode="External"/><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24.xml"/><Relationship Id="rId6" Type="http://schemas.openxmlformats.org/officeDocument/2006/relationships/image" Target="../media/image25.png"/><Relationship Id="rId11" Type="http://schemas.openxmlformats.org/officeDocument/2006/relationships/hyperlink" Target="https://www.entsoe.eu/publications/blackout/28-april-2025-iberian-blackout/" TargetMode="External"/><Relationship Id="rId5" Type="http://schemas.openxmlformats.org/officeDocument/2006/relationships/image" Target="../media/image24.png"/><Relationship Id="rId10" Type="http://schemas.openxmlformats.org/officeDocument/2006/relationships/hyperlink" Target="https://aelec.es/wp-content/uploads/2025/07/20250730_CL_INESCTEC_Blackout_full-report_en.pdf" TargetMode="External"/><Relationship Id="rId4" Type="http://schemas.openxmlformats.org/officeDocument/2006/relationships/image" Target="../media/image23.png"/><Relationship Id="rId9" Type="http://schemas.openxmlformats.org/officeDocument/2006/relationships/hyperlink" Target="https://www.ree.es/en/press-office/news/press-release/2025/06/red-electrica-presents-report-incident-28-april-/and-proposes-recommendations"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24.xml"/><Relationship Id="rId5" Type="http://schemas.openxmlformats.org/officeDocument/2006/relationships/image" Target="../media/image30.sv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tags" Target="../tags/tag3.xml"/><Relationship Id="rId7" Type="http://schemas.openxmlformats.org/officeDocument/2006/relationships/image" Target="../media/image3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1.png"/><Relationship Id="rId5" Type="http://schemas.openxmlformats.org/officeDocument/2006/relationships/slideLayout" Target="../slideLayouts/slideLayout17.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6B674-B975-49E4-A505-79F6D1B3D2CF}"/>
              </a:ext>
            </a:extLst>
          </p:cNvPr>
          <p:cNvSpPr>
            <a:spLocks noGrp="1"/>
          </p:cNvSpPr>
          <p:nvPr>
            <p:ph type="title"/>
          </p:nvPr>
        </p:nvSpPr>
        <p:spPr/>
        <p:txBody>
          <a:bodyPr/>
          <a:lstStyle/>
          <a:p>
            <a:r>
              <a:rPr lang="en-US" noProof="0" dirty="0">
                <a:latin typeface="Aptos ExtraBold" panose="020B0004020202020204" pitchFamily="34" charset="0"/>
              </a:rPr>
              <a:t>The Iberian Blackout 28/04/2025</a:t>
            </a:r>
            <a:br>
              <a:rPr lang="en-US" noProof="0" dirty="0">
                <a:latin typeface="Aptos ExtraBold" panose="020B0004020202020204" pitchFamily="34" charset="0"/>
              </a:rPr>
            </a:br>
            <a:r>
              <a:rPr lang="en-US" noProof="0" dirty="0">
                <a:latin typeface="Aptos ExtraBold" panose="020B0004020202020204" pitchFamily="34" charset="0"/>
              </a:rPr>
              <a:t>What lessons for the future</a:t>
            </a:r>
            <a:endParaRPr lang="en-US" noProof="0" dirty="0"/>
          </a:p>
        </p:txBody>
      </p:sp>
      <p:sp>
        <p:nvSpPr>
          <p:cNvPr id="3" name="Text Placeholder 2">
            <a:extLst>
              <a:ext uri="{FF2B5EF4-FFF2-40B4-BE49-F238E27FC236}">
                <a16:creationId xmlns:a16="http://schemas.microsoft.com/office/drawing/2014/main" id="{9C14F73C-0984-479B-A524-4B3EFF2700B5}"/>
              </a:ext>
            </a:extLst>
          </p:cNvPr>
          <p:cNvSpPr>
            <a:spLocks noGrp="1"/>
          </p:cNvSpPr>
          <p:nvPr>
            <p:ph type="body" idx="1"/>
          </p:nvPr>
        </p:nvSpPr>
        <p:spPr/>
        <p:txBody>
          <a:bodyPr/>
          <a:lstStyle/>
          <a:p>
            <a:r>
              <a:rPr lang="en-US" noProof="0" dirty="0"/>
              <a:t>João Peças Lopes, Francisco Fernandes, Rui Sousa</a:t>
            </a:r>
          </a:p>
        </p:txBody>
      </p:sp>
    </p:spTree>
    <p:extLst>
      <p:ext uri="{BB962C8B-B14F-4D97-AF65-F5344CB8AC3E}">
        <p14:creationId xmlns:p14="http://schemas.microsoft.com/office/powerpoint/2010/main" val="2789790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D697F-9FAB-3F32-0D8A-849BC4A0C063}"/>
            </a:ext>
          </a:extLst>
        </p:cNvPr>
        <p:cNvGrpSpPr/>
        <p:nvPr/>
      </p:nvGrpSpPr>
      <p:grpSpPr>
        <a:xfrm>
          <a:off x="0" y="0"/>
          <a:ext cx="0" cy="0"/>
          <a:chOff x="0" y="0"/>
          <a:chExt cx="0" cy="0"/>
        </a:xfrm>
      </p:grpSpPr>
      <p:pic>
        <p:nvPicPr>
          <p:cNvPr id="4" name="Graphic 3">
            <a:extLst>
              <a:ext uri="{FF2B5EF4-FFF2-40B4-BE49-F238E27FC236}">
                <a16:creationId xmlns:a16="http://schemas.microsoft.com/office/drawing/2014/main" id="{0DD56C17-8073-17AD-AD0D-722B4D0BCC4E}"/>
              </a:ext>
            </a:extLst>
          </p:cNvPr>
          <p:cNvPicPr>
            <a:picLocks noChangeAspect="1"/>
          </p:cNvPicPr>
          <p:nvPr/>
        </p:nvPicPr>
        <p:blipFill>
          <a:blip r:embed="rId3">
            <a:extLst>
              <a:ext uri="{96DAC541-7B7A-43D3-8B79-37D633B846F1}">
                <asvg:svgBlip xmlns:asvg="http://schemas.microsoft.com/office/drawing/2016/SVG/main" r:embed="rId4"/>
              </a:ext>
            </a:extLst>
          </a:blip>
          <a:srcRect l="7231" t="8992" r="7465"/>
          <a:stretch>
            <a:fillRect/>
          </a:stretch>
        </p:blipFill>
        <p:spPr>
          <a:xfrm>
            <a:off x="533399" y="758641"/>
            <a:ext cx="11154895" cy="5950318"/>
          </a:xfrm>
          <a:prstGeom prst="rect">
            <a:avLst/>
          </a:prstGeom>
        </p:spPr>
      </p:pic>
      <p:sp>
        <p:nvSpPr>
          <p:cNvPr id="32772" name="Slide Number Placeholder 12">
            <a:extLst>
              <a:ext uri="{FF2B5EF4-FFF2-40B4-BE49-F238E27FC236}">
                <a16:creationId xmlns:a16="http://schemas.microsoft.com/office/drawing/2014/main" id="{078DA13B-2660-5D3A-DB0E-2C554EB4837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fontAlgn="base">
              <a:spcBef>
                <a:spcPct val="0"/>
              </a:spcBef>
              <a:spcAft>
                <a:spcPct val="0"/>
              </a:spcAft>
              <a:defRPr>
                <a:solidFill>
                  <a:schemeClr val="tx1"/>
                </a:solidFill>
                <a:latin typeface="Aptos" panose="020B0004020202020204" pitchFamily="34" charset="0"/>
              </a:defRPr>
            </a:lvl6pPr>
            <a:lvl7pPr marL="2971800" indent="-228600" fontAlgn="base">
              <a:spcBef>
                <a:spcPct val="0"/>
              </a:spcBef>
              <a:spcAft>
                <a:spcPct val="0"/>
              </a:spcAft>
              <a:defRPr>
                <a:solidFill>
                  <a:schemeClr val="tx1"/>
                </a:solidFill>
                <a:latin typeface="Aptos" panose="020B0004020202020204" pitchFamily="34" charset="0"/>
              </a:defRPr>
            </a:lvl7pPr>
            <a:lvl8pPr marL="3429000" indent="-228600" fontAlgn="base">
              <a:spcBef>
                <a:spcPct val="0"/>
              </a:spcBef>
              <a:spcAft>
                <a:spcPct val="0"/>
              </a:spcAft>
              <a:defRPr>
                <a:solidFill>
                  <a:schemeClr val="tx1"/>
                </a:solidFill>
                <a:latin typeface="Aptos" panose="020B0004020202020204" pitchFamily="34" charset="0"/>
              </a:defRPr>
            </a:lvl8pPr>
            <a:lvl9pPr marL="3886200" indent="-228600" fontAlgn="base">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6C3D4B96-E093-5C4A-A58C-B97FA9329A45}" type="slidenum">
              <a:rPr lang="en-US" noProof="0" smtClean="0">
                <a:solidFill>
                  <a:schemeClr val="bg1"/>
                </a:solidFill>
                <a:latin typeface="JetBrains Mono" panose="02000009000000000000" pitchFamily="49" charset="0"/>
                <a:ea typeface="JetBrains Mono" panose="02000009000000000000" pitchFamily="49" charset="0"/>
              </a:rPr>
              <a:pPr fontAlgn="base">
                <a:spcBef>
                  <a:spcPct val="0"/>
                </a:spcBef>
                <a:spcAft>
                  <a:spcPct val="0"/>
                </a:spcAft>
              </a:pPr>
              <a:t>10</a:t>
            </a:fld>
            <a:endParaRPr lang="en-US" noProof="0" dirty="0">
              <a:solidFill>
                <a:schemeClr val="bg1"/>
              </a:solidFill>
              <a:latin typeface="JetBrains Mono" panose="02000009000000000000" pitchFamily="49" charset="0"/>
              <a:ea typeface="JetBrains Mono" panose="02000009000000000000" pitchFamily="49" charset="0"/>
            </a:endParaRPr>
          </a:p>
        </p:txBody>
      </p:sp>
      <p:sp>
        <p:nvSpPr>
          <p:cNvPr id="49" name="Title 48">
            <a:extLst>
              <a:ext uri="{FF2B5EF4-FFF2-40B4-BE49-F238E27FC236}">
                <a16:creationId xmlns:a16="http://schemas.microsoft.com/office/drawing/2014/main" id="{DC585E4B-D99E-A71D-34DF-E450B25B0E58}"/>
              </a:ext>
            </a:extLst>
          </p:cNvPr>
          <p:cNvSpPr>
            <a:spLocks noGrp="1"/>
          </p:cNvSpPr>
          <p:nvPr>
            <p:ph type="title"/>
          </p:nvPr>
        </p:nvSpPr>
        <p:spPr/>
        <p:txBody>
          <a:bodyPr/>
          <a:lstStyle/>
          <a:p>
            <a:r>
              <a:rPr lang="en-US" noProof="0" dirty="0"/>
              <a:t>System Oscillatory Behavior </a:t>
            </a:r>
          </a:p>
        </p:txBody>
      </p:sp>
      <p:grpSp>
        <p:nvGrpSpPr>
          <p:cNvPr id="37" name="Group 36">
            <a:extLst>
              <a:ext uri="{FF2B5EF4-FFF2-40B4-BE49-F238E27FC236}">
                <a16:creationId xmlns:a16="http://schemas.microsoft.com/office/drawing/2014/main" id="{DADA19E5-BB4B-452E-BB1F-7656E9B9741C}"/>
              </a:ext>
            </a:extLst>
          </p:cNvPr>
          <p:cNvGrpSpPr/>
          <p:nvPr/>
        </p:nvGrpSpPr>
        <p:grpSpPr>
          <a:xfrm>
            <a:off x="1669406" y="1775835"/>
            <a:ext cx="1073794" cy="665346"/>
            <a:chOff x="2152650" y="1830204"/>
            <a:chExt cx="1073794" cy="665346"/>
          </a:xfrm>
        </p:grpSpPr>
        <p:sp>
          <p:nvSpPr>
            <p:cNvPr id="22" name="Rectangle 21">
              <a:extLst>
                <a:ext uri="{FF2B5EF4-FFF2-40B4-BE49-F238E27FC236}">
                  <a16:creationId xmlns:a16="http://schemas.microsoft.com/office/drawing/2014/main" id="{14EEB173-37C0-894E-A7D9-D99A2F85FCB2}"/>
                </a:ext>
              </a:extLst>
            </p:cNvPr>
            <p:cNvSpPr/>
            <p:nvPr/>
          </p:nvSpPr>
          <p:spPr>
            <a:xfrm>
              <a:off x="2152650" y="1831193"/>
              <a:ext cx="1073794" cy="664357"/>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7" name="Rectangle 26">
              <a:extLst>
                <a:ext uri="{FF2B5EF4-FFF2-40B4-BE49-F238E27FC236}">
                  <a16:creationId xmlns:a16="http://schemas.microsoft.com/office/drawing/2014/main" id="{E2CA5864-3545-4B03-DA36-F433B78E6044}"/>
                </a:ext>
              </a:extLst>
            </p:cNvPr>
            <p:cNvSpPr/>
            <p:nvPr/>
          </p:nvSpPr>
          <p:spPr>
            <a:xfrm>
              <a:off x="2152650" y="1830204"/>
              <a:ext cx="248364" cy="14328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900" noProof="0" dirty="0"/>
                <a:t>1</a:t>
              </a:r>
            </a:p>
          </p:txBody>
        </p:sp>
      </p:grpSp>
      <p:grpSp>
        <p:nvGrpSpPr>
          <p:cNvPr id="29" name="Group 28">
            <a:extLst>
              <a:ext uri="{FF2B5EF4-FFF2-40B4-BE49-F238E27FC236}">
                <a16:creationId xmlns:a16="http://schemas.microsoft.com/office/drawing/2014/main" id="{1E655BC0-A8AE-B97F-67B2-55AC78601FF9}"/>
              </a:ext>
            </a:extLst>
          </p:cNvPr>
          <p:cNvGrpSpPr/>
          <p:nvPr/>
        </p:nvGrpSpPr>
        <p:grpSpPr>
          <a:xfrm>
            <a:off x="2335633" y="2600706"/>
            <a:ext cx="3981450" cy="2360294"/>
            <a:chOff x="1971675" y="2681091"/>
            <a:chExt cx="3981450" cy="2360294"/>
          </a:xfrm>
          <a:effectLst>
            <a:outerShdw blurRad="50800" dist="38100" dir="5400000" algn="t" rotWithShape="0">
              <a:prstClr val="black">
                <a:alpha val="40000"/>
              </a:prstClr>
            </a:outerShdw>
          </a:effectLst>
        </p:grpSpPr>
        <p:sp>
          <p:nvSpPr>
            <p:cNvPr id="20" name="Rectangle 19">
              <a:extLst>
                <a:ext uri="{FF2B5EF4-FFF2-40B4-BE49-F238E27FC236}">
                  <a16:creationId xmlns:a16="http://schemas.microsoft.com/office/drawing/2014/main" id="{D4DB7FE9-0C28-39CF-02C2-98D1A33B8449}"/>
                </a:ext>
              </a:extLst>
            </p:cNvPr>
            <p:cNvSpPr/>
            <p:nvPr/>
          </p:nvSpPr>
          <p:spPr>
            <a:xfrm>
              <a:off x="1971676" y="2681091"/>
              <a:ext cx="3306472" cy="236029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Rectangle 20">
              <a:extLst>
                <a:ext uri="{FF2B5EF4-FFF2-40B4-BE49-F238E27FC236}">
                  <a16:creationId xmlns:a16="http://schemas.microsoft.com/office/drawing/2014/main" id="{4711D1DE-A0FD-9AFD-C12F-65CA1A46CB29}"/>
                </a:ext>
              </a:extLst>
            </p:cNvPr>
            <p:cNvSpPr/>
            <p:nvPr/>
          </p:nvSpPr>
          <p:spPr>
            <a:xfrm>
              <a:off x="1971675" y="2681188"/>
              <a:ext cx="495300" cy="285750"/>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noProof="0" dirty="0"/>
                <a:t>1</a:t>
              </a:r>
            </a:p>
          </p:txBody>
        </p:sp>
        <p:sp>
          <p:nvSpPr>
            <p:cNvPr id="19" name="TextBox 18">
              <a:extLst>
                <a:ext uri="{FF2B5EF4-FFF2-40B4-BE49-F238E27FC236}">
                  <a16:creationId xmlns:a16="http://schemas.microsoft.com/office/drawing/2014/main" id="{C5C95278-9C1D-8B66-2A97-72DC6482E356}"/>
                </a:ext>
              </a:extLst>
            </p:cNvPr>
            <p:cNvSpPr txBox="1"/>
            <p:nvPr/>
          </p:nvSpPr>
          <p:spPr>
            <a:xfrm>
              <a:off x="2466975" y="2681091"/>
              <a:ext cx="2696444" cy="307777"/>
            </a:xfrm>
            <a:prstGeom prst="rect">
              <a:avLst/>
            </a:prstGeom>
            <a:noFill/>
          </p:spPr>
          <p:txBody>
            <a:bodyPr wrap="none" rtlCol="0">
              <a:spAutoFit/>
            </a:bodyPr>
            <a:lstStyle/>
            <a:p>
              <a:r>
                <a:rPr lang="en-US" sz="1400" noProof="0" dirty="0">
                  <a:latin typeface="Aptos Light" panose="020B0004020202020204" pitchFamily="34" charset="0"/>
                </a:rPr>
                <a:t>Intra-area oscillation with 0,65Hz</a:t>
              </a:r>
            </a:p>
          </p:txBody>
        </p:sp>
        <p:pic>
          <p:nvPicPr>
            <p:cNvPr id="6" name="Picture 5" descr="A map of the united states&#10;&#10;AI-generated content may be incorrect.">
              <a:extLst>
                <a:ext uri="{FF2B5EF4-FFF2-40B4-BE49-F238E27FC236}">
                  <a16:creationId xmlns:a16="http://schemas.microsoft.com/office/drawing/2014/main" id="{0EC10F4F-0C26-D5CD-ECBF-EB37E1E1E1CD}"/>
                </a:ext>
              </a:extLst>
            </p:cNvPr>
            <p:cNvPicPr>
              <a:picLocks noChangeAspect="1"/>
            </p:cNvPicPr>
            <p:nvPr/>
          </p:nvPicPr>
          <p:blipFill>
            <a:blip r:embed="rId5"/>
            <a:srcRect l="9347" r="11645"/>
            <a:stretch>
              <a:fillRect/>
            </a:stretch>
          </p:blipFill>
          <p:spPr>
            <a:xfrm>
              <a:off x="2688134" y="3741974"/>
              <a:ext cx="1418029" cy="1167674"/>
            </a:xfrm>
            <a:prstGeom prst="rect">
              <a:avLst/>
            </a:prstGeom>
          </p:spPr>
        </p:pic>
        <p:sp>
          <p:nvSpPr>
            <p:cNvPr id="28" name="TextBox 27">
              <a:extLst>
                <a:ext uri="{FF2B5EF4-FFF2-40B4-BE49-F238E27FC236}">
                  <a16:creationId xmlns:a16="http://schemas.microsoft.com/office/drawing/2014/main" id="{2DC023FB-2C53-DEC5-2AC1-2739DC7FE087}"/>
                </a:ext>
              </a:extLst>
            </p:cNvPr>
            <p:cNvSpPr txBox="1"/>
            <p:nvPr/>
          </p:nvSpPr>
          <p:spPr>
            <a:xfrm>
              <a:off x="1971675" y="3078174"/>
              <a:ext cx="3981450" cy="523220"/>
            </a:xfrm>
            <a:prstGeom prst="rect">
              <a:avLst/>
            </a:prstGeom>
            <a:noFill/>
          </p:spPr>
          <p:txBody>
            <a:bodyPr wrap="square" rtlCol="0">
              <a:spAutoFit/>
            </a:bodyPr>
            <a:lstStyle/>
            <a:p>
              <a:pPr marL="285750" indent="-285750">
                <a:buFont typeface="Arial" panose="020B0604020202020204" pitchFamily="34" charset="0"/>
                <a:buChar char="•"/>
              </a:pPr>
              <a:r>
                <a:rPr lang="en-US" sz="1400" noProof="0" dirty="0">
                  <a:latin typeface="Aptos Light" panose="020B0004020202020204" pitchFamily="34" charset="0"/>
                </a:rPr>
                <a:t>No conclusion yet on the nature of the oscillation.</a:t>
              </a:r>
            </a:p>
          </p:txBody>
        </p:sp>
      </p:grpSp>
      <p:grpSp>
        <p:nvGrpSpPr>
          <p:cNvPr id="30" name="Group 29">
            <a:extLst>
              <a:ext uri="{FF2B5EF4-FFF2-40B4-BE49-F238E27FC236}">
                <a16:creationId xmlns:a16="http://schemas.microsoft.com/office/drawing/2014/main" id="{AA51C06A-90A3-47BB-54E4-64A32DB5BD12}"/>
              </a:ext>
            </a:extLst>
          </p:cNvPr>
          <p:cNvGrpSpPr/>
          <p:nvPr/>
        </p:nvGrpSpPr>
        <p:grpSpPr>
          <a:xfrm>
            <a:off x="2335635" y="5097517"/>
            <a:ext cx="3306472" cy="606161"/>
            <a:chOff x="1971675" y="2642991"/>
            <a:chExt cx="3306472" cy="606161"/>
          </a:xfrm>
          <a:effectLst>
            <a:outerShdw blurRad="50800" dist="38100" dir="5400000" algn="t" rotWithShape="0">
              <a:prstClr val="black">
                <a:alpha val="40000"/>
              </a:prstClr>
            </a:outerShdw>
          </a:effectLst>
        </p:grpSpPr>
        <p:sp>
          <p:nvSpPr>
            <p:cNvPr id="32" name="Rectangle 31">
              <a:extLst>
                <a:ext uri="{FF2B5EF4-FFF2-40B4-BE49-F238E27FC236}">
                  <a16:creationId xmlns:a16="http://schemas.microsoft.com/office/drawing/2014/main" id="{0E6C102F-F6C8-1DD7-E0DE-11311D039E4B}"/>
                </a:ext>
              </a:extLst>
            </p:cNvPr>
            <p:cNvSpPr/>
            <p:nvPr/>
          </p:nvSpPr>
          <p:spPr>
            <a:xfrm>
              <a:off x="1971675" y="2653512"/>
              <a:ext cx="3306472" cy="59564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 name="Rectangle 32">
              <a:extLst>
                <a:ext uri="{FF2B5EF4-FFF2-40B4-BE49-F238E27FC236}">
                  <a16:creationId xmlns:a16="http://schemas.microsoft.com/office/drawing/2014/main" id="{932355FD-F97A-0404-6403-17542674784D}"/>
                </a:ext>
              </a:extLst>
            </p:cNvPr>
            <p:cNvSpPr/>
            <p:nvPr/>
          </p:nvSpPr>
          <p:spPr>
            <a:xfrm>
              <a:off x="1971675" y="2653512"/>
              <a:ext cx="495300" cy="285750"/>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noProof="0" dirty="0"/>
                <a:t>2</a:t>
              </a:r>
            </a:p>
          </p:txBody>
        </p:sp>
        <p:sp>
          <p:nvSpPr>
            <p:cNvPr id="34" name="TextBox 33">
              <a:extLst>
                <a:ext uri="{FF2B5EF4-FFF2-40B4-BE49-F238E27FC236}">
                  <a16:creationId xmlns:a16="http://schemas.microsoft.com/office/drawing/2014/main" id="{369D1C81-81C7-7A0E-DB21-AA9A6AD69576}"/>
                </a:ext>
              </a:extLst>
            </p:cNvPr>
            <p:cNvSpPr txBox="1"/>
            <p:nvPr/>
          </p:nvSpPr>
          <p:spPr>
            <a:xfrm>
              <a:off x="2466975" y="2642991"/>
              <a:ext cx="2652521" cy="307777"/>
            </a:xfrm>
            <a:prstGeom prst="rect">
              <a:avLst/>
            </a:prstGeom>
            <a:noFill/>
          </p:spPr>
          <p:txBody>
            <a:bodyPr wrap="none" rtlCol="0">
              <a:spAutoFit/>
            </a:bodyPr>
            <a:lstStyle/>
            <a:p>
              <a:r>
                <a:rPr lang="en-US" sz="1400" noProof="0" dirty="0">
                  <a:latin typeface="Aptos Light" panose="020B0004020202020204" pitchFamily="34" charset="0"/>
                </a:rPr>
                <a:t>Inter-area oscillation with 0,22Hz</a:t>
              </a:r>
            </a:p>
          </p:txBody>
        </p:sp>
      </p:grpSp>
      <p:grpSp>
        <p:nvGrpSpPr>
          <p:cNvPr id="38" name="Group 37">
            <a:extLst>
              <a:ext uri="{FF2B5EF4-FFF2-40B4-BE49-F238E27FC236}">
                <a16:creationId xmlns:a16="http://schemas.microsoft.com/office/drawing/2014/main" id="{412D5468-8836-A3E6-EE51-D985BF5707BA}"/>
              </a:ext>
            </a:extLst>
          </p:cNvPr>
          <p:cNvGrpSpPr/>
          <p:nvPr/>
        </p:nvGrpSpPr>
        <p:grpSpPr>
          <a:xfrm>
            <a:off x="4296643" y="1654359"/>
            <a:ext cx="1019175" cy="807388"/>
            <a:chOff x="2152649" y="1830204"/>
            <a:chExt cx="1019175" cy="807388"/>
          </a:xfrm>
        </p:grpSpPr>
        <p:sp>
          <p:nvSpPr>
            <p:cNvPr id="39" name="Rectangle 38">
              <a:extLst>
                <a:ext uri="{FF2B5EF4-FFF2-40B4-BE49-F238E27FC236}">
                  <a16:creationId xmlns:a16="http://schemas.microsoft.com/office/drawing/2014/main" id="{79E43E3F-EFAC-F33A-1978-F0D1D0458CB6}"/>
                </a:ext>
              </a:extLst>
            </p:cNvPr>
            <p:cNvSpPr/>
            <p:nvPr/>
          </p:nvSpPr>
          <p:spPr>
            <a:xfrm>
              <a:off x="2152649" y="1831193"/>
              <a:ext cx="1019175" cy="806399"/>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 name="Rectangle 39">
              <a:extLst>
                <a:ext uri="{FF2B5EF4-FFF2-40B4-BE49-F238E27FC236}">
                  <a16:creationId xmlns:a16="http://schemas.microsoft.com/office/drawing/2014/main" id="{8F2625C2-4E5B-0F78-3CCB-E6FC7B034B59}"/>
                </a:ext>
              </a:extLst>
            </p:cNvPr>
            <p:cNvSpPr/>
            <p:nvPr/>
          </p:nvSpPr>
          <p:spPr>
            <a:xfrm>
              <a:off x="2152650" y="1830204"/>
              <a:ext cx="248364" cy="14328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900" noProof="0" dirty="0"/>
                <a:t>2</a:t>
              </a:r>
            </a:p>
          </p:txBody>
        </p:sp>
      </p:grpSp>
      <p:sp>
        <p:nvSpPr>
          <p:cNvPr id="51" name="TextBox 50">
            <a:extLst>
              <a:ext uri="{FF2B5EF4-FFF2-40B4-BE49-F238E27FC236}">
                <a16:creationId xmlns:a16="http://schemas.microsoft.com/office/drawing/2014/main" id="{2B6BE75B-94E7-90D7-9586-E20421CBD7D0}"/>
              </a:ext>
            </a:extLst>
          </p:cNvPr>
          <p:cNvSpPr txBox="1"/>
          <p:nvPr/>
        </p:nvSpPr>
        <p:spPr>
          <a:xfrm>
            <a:off x="-71021" y="6581782"/>
            <a:ext cx="7833783" cy="333375"/>
          </a:xfrm>
          <a:prstGeom prst="rect">
            <a:avLst/>
          </a:prstGeom>
          <a:noFill/>
        </p:spPr>
        <p:txBody>
          <a:bodyPr wrap="square" lIns="108000" tIns="108000" rIns="108000" bIns="108000" rtlCol="0">
            <a:noAutofit/>
          </a:bodyPr>
          <a:lstStyle/>
          <a:p>
            <a:pPr eaLnBrk="1" fontAlgn="auto" hangingPunct="1">
              <a:spcBef>
                <a:spcPts val="0"/>
              </a:spcBef>
              <a:spcAft>
                <a:spcPts val="600"/>
              </a:spcAft>
              <a:buClr>
                <a:srgbClr val="000000"/>
              </a:buClr>
            </a:pPr>
            <a:r>
              <a:rPr lang="en-US" sz="900" noProof="0" dirty="0">
                <a:solidFill>
                  <a:srgbClr val="000000"/>
                </a:solidFill>
                <a:latin typeface="Aptos Light" panose="020B0004020202020204" pitchFamily="34" charset="0"/>
              </a:rPr>
              <a:t>Source: Frequency measurements from </a:t>
            </a:r>
            <a:r>
              <a:rPr lang="en-US" sz="900" noProof="0" dirty="0" err="1">
                <a:solidFill>
                  <a:srgbClr val="000000"/>
                </a:solidFill>
                <a:latin typeface="Aptos Light" panose="020B0004020202020204" pitchFamily="34" charset="0"/>
              </a:rPr>
              <a:t>Gridradar</a:t>
            </a:r>
            <a:r>
              <a:rPr lang="en-US" sz="900" noProof="0" dirty="0">
                <a:solidFill>
                  <a:srgbClr val="000000"/>
                </a:solidFill>
                <a:latin typeface="Aptos Light" panose="020B0004020202020204" pitchFamily="34" charset="0"/>
              </a:rPr>
              <a:t> PMUs / Mode shape figure from ENTSO-E factual report</a:t>
            </a:r>
          </a:p>
        </p:txBody>
      </p:sp>
      <p:pic>
        <p:nvPicPr>
          <p:cNvPr id="3076" name="Picture 4" descr="Grid radar provides insights into power grids | Gridradar">
            <a:extLst>
              <a:ext uri="{FF2B5EF4-FFF2-40B4-BE49-F238E27FC236}">
                <a16:creationId xmlns:a16="http://schemas.microsoft.com/office/drawing/2014/main" id="{8220BFF9-0CCE-A059-6367-CE00E222E1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23230" y="5564850"/>
            <a:ext cx="1281112" cy="40982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44284F92-4F07-AA0F-31A2-E9DC67F1BB3D}"/>
              </a:ext>
            </a:extLst>
          </p:cNvPr>
          <p:cNvGrpSpPr/>
          <p:nvPr/>
        </p:nvGrpSpPr>
        <p:grpSpPr>
          <a:xfrm>
            <a:off x="6087876" y="3236577"/>
            <a:ext cx="4124325" cy="2240545"/>
            <a:chOff x="1971674" y="2653511"/>
            <a:chExt cx="4124325" cy="2240545"/>
          </a:xfrm>
          <a:effectLst>
            <a:outerShdw blurRad="50800" dist="38100" dir="5400000" algn="t" rotWithShape="0">
              <a:prstClr val="black">
                <a:alpha val="40000"/>
              </a:prstClr>
            </a:outerShdw>
          </a:effectLst>
        </p:grpSpPr>
        <p:sp>
          <p:nvSpPr>
            <p:cNvPr id="3" name="Rectangle 2">
              <a:extLst>
                <a:ext uri="{FF2B5EF4-FFF2-40B4-BE49-F238E27FC236}">
                  <a16:creationId xmlns:a16="http://schemas.microsoft.com/office/drawing/2014/main" id="{F9B82716-12ED-2503-680D-0CD680B196AB}"/>
                </a:ext>
              </a:extLst>
            </p:cNvPr>
            <p:cNvSpPr/>
            <p:nvPr/>
          </p:nvSpPr>
          <p:spPr>
            <a:xfrm>
              <a:off x="1971674" y="2653511"/>
              <a:ext cx="4124325" cy="206518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Rectangle 4">
              <a:extLst>
                <a:ext uri="{FF2B5EF4-FFF2-40B4-BE49-F238E27FC236}">
                  <a16:creationId xmlns:a16="http://schemas.microsoft.com/office/drawing/2014/main" id="{1E5A6126-1C9B-50FE-E874-E55C9BBE988A}"/>
                </a:ext>
              </a:extLst>
            </p:cNvPr>
            <p:cNvSpPr/>
            <p:nvPr/>
          </p:nvSpPr>
          <p:spPr>
            <a:xfrm>
              <a:off x="1971675" y="2653512"/>
              <a:ext cx="4124324" cy="285750"/>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latin typeface="Aptos Light" panose="020B0004020202020204" pitchFamily="34" charset="0"/>
                </a:rPr>
                <a:t>Mitigating measures</a:t>
              </a:r>
            </a:p>
          </p:txBody>
        </p:sp>
        <p:sp>
          <p:nvSpPr>
            <p:cNvPr id="7" name="TextBox 6">
              <a:extLst>
                <a:ext uri="{FF2B5EF4-FFF2-40B4-BE49-F238E27FC236}">
                  <a16:creationId xmlns:a16="http://schemas.microsoft.com/office/drawing/2014/main" id="{D2815BAB-72D2-28FA-B3F8-E51F9FEB3632}"/>
                </a:ext>
              </a:extLst>
            </p:cNvPr>
            <p:cNvSpPr txBox="1"/>
            <p:nvPr/>
          </p:nvSpPr>
          <p:spPr>
            <a:xfrm>
              <a:off x="2466975" y="2681091"/>
              <a:ext cx="184731" cy="307777"/>
            </a:xfrm>
            <a:prstGeom prst="rect">
              <a:avLst/>
            </a:prstGeom>
            <a:noFill/>
          </p:spPr>
          <p:txBody>
            <a:bodyPr wrap="none" rtlCol="0">
              <a:spAutoFit/>
            </a:bodyPr>
            <a:lstStyle/>
            <a:p>
              <a:endParaRPr lang="en-US" sz="1400" noProof="0" dirty="0">
                <a:latin typeface="Aptos Light" panose="020B0004020202020204" pitchFamily="34" charset="0"/>
              </a:endParaRPr>
            </a:p>
          </p:txBody>
        </p:sp>
        <p:sp>
          <p:nvSpPr>
            <p:cNvPr id="8" name="TextBox 7">
              <a:extLst>
                <a:ext uri="{FF2B5EF4-FFF2-40B4-BE49-F238E27FC236}">
                  <a16:creationId xmlns:a16="http://schemas.microsoft.com/office/drawing/2014/main" id="{822C12CC-C7DF-89E5-6564-0FC86F2FC444}"/>
                </a:ext>
              </a:extLst>
            </p:cNvPr>
            <p:cNvSpPr txBox="1"/>
            <p:nvPr/>
          </p:nvSpPr>
          <p:spPr>
            <a:xfrm>
              <a:off x="1971675" y="3078174"/>
              <a:ext cx="3981450" cy="1815882"/>
            </a:xfrm>
            <a:prstGeom prst="rect">
              <a:avLst/>
            </a:prstGeom>
            <a:noFill/>
          </p:spPr>
          <p:txBody>
            <a:bodyPr wrap="square" rtlCol="0">
              <a:spAutoFit/>
            </a:bodyPr>
            <a:lstStyle/>
            <a:p>
              <a:pPr marL="285750" indent="-285750">
                <a:buFont typeface="Arial" panose="020B0604020202020204" pitchFamily="34" charset="0"/>
                <a:buChar char="•"/>
              </a:pPr>
              <a:r>
                <a:rPr lang="en-US" sz="1400" noProof="0" dirty="0">
                  <a:latin typeface="Aptos Light" panose="020B0004020202020204" pitchFamily="34" charset="0"/>
                </a:rPr>
                <a:t>Mitigating measures:</a:t>
              </a:r>
            </a:p>
            <a:p>
              <a:pPr marL="800100" lvl="1" indent="-342900">
                <a:buFont typeface="+mj-lt"/>
                <a:buAutoNum type="arabicPeriod"/>
              </a:pPr>
              <a:r>
                <a:rPr lang="en-US" sz="1400" dirty="0">
                  <a:latin typeface="Aptos Light" panose="020B0004020202020204" pitchFamily="34" charset="0"/>
                </a:rPr>
                <a:t>INELFE HVDC link operated in constant power;</a:t>
              </a:r>
            </a:p>
            <a:p>
              <a:pPr marL="800100" lvl="1" indent="-342900">
                <a:buFont typeface="+mj-lt"/>
                <a:buAutoNum type="arabicPeriod"/>
              </a:pPr>
              <a:r>
                <a:rPr lang="en-US" sz="1400" dirty="0">
                  <a:latin typeface="Aptos Light" panose="020B0004020202020204" pitchFamily="34" charset="0"/>
                </a:rPr>
                <a:t>Topological changes to decrease system impedance;</a:t>
              </a:r>
            </a:p>
            <a:p>
              <a:pPr marL="800100" lvl="1" indent="-342900">
                <a:buFont typeface="+mj-lt"/>
                <a:buAutoNum type="arabicPeriod"/>
              </a:pPr>
              <a:r>
                <a:rPr lang="en-US" sz="1400" dirty="0">
                  <a:latin typeface="Aptos Light" panose="020B0004020202020204" pitchFamily="34" charset="0"/>
                </a:rPr>
                <a:t>Shunt reactors switched off due to lower voltages during oscillation</a:t>
              </a:r>
            </a:p>
            <a:p>
              <a:pPr marL="285750" indent="-285750">
                <a:buFont typeface="Arial" panose="020B0604020202020204" pitchFamily="34" charset="0"/>
                <a:buChar char="•"/>
              </a:pPr>
              <a:endParaRPr lang="en-US" sz="1400" noProof="0" dirty="0">
                <a:latin typeface="Aptos Light" panose="020B0004020202020204" pitchFamily="34" charset="0"/>
              </a:endParaRPr>
            </a:p>
          </p:txBody>
        </p:sp>
      </p:grpSp>
    </p:spTree>
    <p:extLst>
      <p:ext uri="{BB962C8B-B14F-4D97-AF65-F5344CB8AC3E}">
        <p14:creationId xmlns:p14="http://schemas.microsoft.com/office/powerpoint/2010/main" val="1744153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D7BA8-31CF-1596-B0C0-0E49FE648A07}"/>
              </a:ext>
            </a:extLst>
          </p:cNvPr>
          <p:cNvSpPr>
            <a:spLocks noGrp="1"/>
          </p:cNvSpPr>
          <p:nvPr>
            <p:ph type="title"/>
          </p:nvPr>
        </p:nvSpPr>
        <p:spPr/>
        <p:txBody>
          <a:bodyPr/>
          <a:lstStyle/>
          <a:p>
            <a:r>
              <a:rPr lang="en-US" noProof="0" dirty="0"/>
              <a:t>Maneuvers on transmission lines</a:t>
            </a:r>
          </a:p>
        </p:txBody>
      </p:sp>
      <p:sp>
        <p:nvSpPr>
          <p:cNvPr id="4" name="Slide Number Placeholder 2">
            <a:extLst>
              <a:ext uri="{FF2B5EF4-FFF2-40B4-BE49-F238E27FC236}">
                <a16:creationId xmlns:a16="http://schemas.microsoft.com/office/drawing/2014/main" id="{37AC6DF2-429A-C836-52B1-70A32D4AAEF5}"/>
              </a:ext>
            </a:extLst>
          </p:cNvPr>
          <p:cNvSpPr txBox="1">
            <a:spLocks/>
          </p:cNvSpPr>
          <p:nvPr>
            <p:custDataLst>
              <p:tags r:id="rId1"/>
            </p:custDataLst>
          </p:nvPr>
        </p:nvSpPr>
        <p:spPr>
          <a:xfrm>
            <a:off x="11378324" y="6138278"/>
            <a:ext cx="496891" cy="248462"/>
          </a:xfrm>
          <a:prstGeom prst="rect">
            <a:avLst/>
          </a:prstGeom>
        </p:spPr>
        <p:txBody>
          <a:bodyPr vert="horz" lIns="0" tIns="0" rIns="0" bIns="0" rtlCol="0" anchor="b" anchorCtr="0"/>
          <a:lstStyle>
            <a:defPPr>
              <a:defRPr lang="en-US"/>
            </a:defPPr>
            <a:lvl1pPr marL="0" algn="r" defTabSz="914400" rtl="0" eaLnBrk="1" latinLnBrk="0" hangingPunct="1">
              <a:defRPr sz="12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2A7E23D2-26F6-45E0-8E02-0D663AE6062C}" type="slidenum">
              <a:rPr lang="en-US" noProof="0" smtClean="0">
                <a:solidFill>
                  <a:srgbClr val="037CBA"/>
                </a:solidFill>
                <a:latin typeface="Arial"/>
              </a:rPr>
              <a:pPr fontAlgn="auto">
                <a:spcBef>
                  <a:spcPts val="0"/>
                </a:spcBef>
                <a:spcAft>
                  <a:spcPts val="0"/>
                </a:spcAft>
              </a:pPr>
              <a:t>11</a:t>
            </a:fld>
            <a:endParaRPr lang="en-US" noProof="0" dirty="0">
              <a:solidFill>
                <a:srgbClr val="037CBA"/>
              </a:solidFill>
              <a:latin typeface="Arial"/>
            </a:endParaRPr>
          </a:p>
        </p:txBody>
      </p:sp>
      <p:sp>
        <p:nvSpPr>
          <p:cNvPr id="5" name="Content Placeholder 4">
            <a:extLst>
              <a:ext uri="{FF2B5EF4-FFF2-40B4-BE49-F238E27FC236}">
                <a16:creationId xmlns:a16="http://schemas.microsoft.com/office/drawing/2014/main" id="{95346C8F-CC62-1A54-C16D-E3ADD08611D3}"/>
              </a:ext>
            </a:extLst>
          </p:cNvPr>
          <p:cNvSpPr txBox="1">
            <a:spLocks/>
          </p:cNvSpPr>
          <p:nvPr>
            <p:custDataLst>
              <p:tags r:id="rId2"/>
            </p:custDataLst>
          </p:nvPr>
        </p:nvSpPr>
        <p:spPr>
          <a:xfrm>
            <a:off x="750733" y="5614475"/>
            <a:ext cx="10690534" cy="695743"/>
          </a:xfrm>
          <a:prstGeom prst="rect">
            <a:avLst/>
          </a:prstGeom>
        </p:spPr>
        <p:txBody>
          <a:bodyPr vert="horz" lIns="0" tIns="0" rIns="0" bIns="0" rtlCol="0" anchor="ctr">
            <a:noAutofit/>
          </a:bodyPr>
          <a:lstStyle>
            <a:lvl1pPr marL="180975" indent="-180975" algn="l" defTabSz="914400" rtl="0" eaLnBrk="1" latinLnBrk="0" hangingPunct="1">
              <a:lnSpc>
                <a:spcPct val="102000"/>
              </a:lnSpc>
              <a:spcBef>
                <a:spcPts val="300"/>
              </a:spcBef>
              <a:spcAft>
                <a:spcPts val="300"/>
              </a:spcAft>
              <a:buClr>
                <a:schemeClr val="tx1"/>
              </a:buClr>
              <a:buFont typeface="Wingdings" panose="05000000000000000000" pitchFamily="2" charset="2"/>
              <a:buChar char="§"/>
              <a:defRPr sz="1200" b="0" kern="1200">
                <a:solidFill>
                  <a:schemeClr val="tx1"/>
                </a:solidFill>
                <a:latin typeface="+mn-lt"/>
                <a:ea typeface="+mn-ea"/>
                <a:cs typeface="+mn-cs"/>
              </a:defRPr>
            </a:lvl1pPr>
            <a:lvl2pPr marL="180975" indent="-180975" algn="l" defTabSz="914400" rtl="0" eaLnBrk="1" latinLnBrk="0" hangingPunct="1">
              <a:lnSpc>
                <a:spcPct val="102000"/>
              </a:lnSpc>
              <a:spcBef>
                <a:spcPts val="300"/>
              </a:spcBef>
              <a:spcAft>
                <a:spcPts val="300"/>
              </a:spcAft>
              <a:buClr>
                <a:schemeClr val="tx2"/>
              </a:buClr>
              <a:buFont typeface="Wingdings" panose="05000000000000000000" pitchFamily="2" charset="2"/>
              <a:buChar char="§"/>
              <a:defRPr sz="1200" b="0" kern="1200">
                <a:solidFill>
                  <a:schemeClr val="tx1"/>
                </a:solidFill>
                <a:latin typeface="+mn-lt"/>
                <a:ea typeface="+mn-ea"/>
                <a:cs typeface="+mn-cs"/>
              </a:defRPr>
            </a:lvl2pPr>
            <a:lvl3pPr marL="361950" indent="-180975" algn="l" defTabSz="914400" rtl="0" eaLnBrk="1" latinLnBrk="0" hangingPunct="1">
              <a:lnSpc>
                <a:spcPct val="102000"/>
              </a:lnSpc>
              <a:spcBef>
                <a:spcPts val="300"/>
              </a:spcBef>
              <a:spcAft>
                <a:spcPts val="300"/>
              </a:spcAft>
              <a:buFont typeface="Arial" panose="020B0604020202020204" pitchFamily="34" charset="0"/>
              <a:buChar char="–"/>
              <a:defRPr sz="1000" b="0" kern="1200">
                <a:solidFill>
                  <a:schemeClr val="tx1"/>
                </a:solidFill>
                <a:latin typeface="+mn-lt"/>
                <a:ea typeface="+mn-ea"/>
                <a:cs typeface="+mn-cs"/>
              </a:defRPr>
            </a:lvl3pPr>
            <a:lvl4pPr marL="534988" indent="-180975" algn="l" defTabSz="914400" rtl="0" eaLnBrk="1" latinLnBrk="0" hangingPunct="1">
              <a:lnSpc>
                <a:spcPct val="102000"/>
              </a:lnSpc>
              <a:spcBef>
                <a:spcPts val="300"/>
              </a:spcBef>
              <a:spcAft>
                <a:spcPts val="300"/>
              </a:spcAft>
              <a:buFont typeface="Arial" panose="020B0604020202020204" pitchFamily="34" charset="0"/>
              <a:buChar char="•"/>
              <a:tabLst/>
              <a:defRPr sz="1000" kern="1200">
                <a:solidFill>
                  <a:schemeClr val="tx1"/>
                </a:solidFill>
                <a:latin typeface="+mn-lt"/>
                <a:ea typeface="+mn-ea"/>
                <a:cs typeface="+mn-cs"/>
              </a:defRPr>
            </a:lvl4pPr>
            <a:lvl5pPr marL="180975" indent="-180975" algn="l" defTabSz="914400" rtl="0" eaLnBrk="1" latinLnBrk="0" hangingPunct="1">
              <a:lnSpc>
                <a:spcPct val="102000"/>
              </a:lnSpc>
              <a:spcBef>
                <a:spcPts val="300"/>
              </a:spcBef>
              <a:spcAft>
                <a:spcPts val="300"/>
              </a:spcAft>
              <a:buFont typeface="Wingdings" panose="05000000000000000000" pitchFamily="2" charset="2"/>
              <a:buChar char="§"/>
              <a:defRPr sz="1400" b="1" kern="1200">
                <a:solidFill>
                  <a:schemeClr val="tx2"/>
                </a:solidFill>
                <a:latin typeface="+mn-lt"/>
                <a:ea typeface="+mn-ea"/>
                <a:cs typeface="+mn-cs"/>
              </a:defRPr>
            </a:lvl5pPr>
            <a:lvl6pPr marL="180975" indent="-180975" algn="l" defTabSz="914400" rtl="0" eaLnBrk="1" latinLnBrk="0" hangingPunct="1">
              <a:lnSpc>
                <a:spcPct val="102000"/>
              </a:lnSpc>
              <a:spcBef>
                <a:spcPts val="300"/>
              </a:spcBef>
              <a:spcAft>
                <a:spcPts val="300"/>
              </a:spcAft>
              <a:buFont typeface="Wingdings" panose="05000000000000000000" pitchFamily="2" charset="2"/>
              <a:buChar char="§"/>
              <a:defRPr sz="1400" b="1" kern="1200">
                <a:solidFill>
                  <a:schemeClr val="accent2"/>
                </a:solidFill>
                <a:latin typeface="+mn-lt"/>
                <a:ea typeface="+mn-ea"/>
                <a:cs typeface="+mn-cs"/>
              </a:defRPr>
            </a:lvl6pPr>
            <a:lvl7pPr marL="180975" indent="-180975" algn="l" defTabSz="914400" rtl="0" eaLnBrk="1" latinLnBrk="0" hangingPunct="1">
              <a:lnSpc>
                <a:spcPct val="102000"/>
              </a:lnSpc>
              <a:spcBef>
                <a:spcPts val="300"/>
              </a:spcBef>
              <a:spcAft>
                <a:spcPts val="300"/>
              </a:spcAft>
              <a:buFont typeface="Arial" panose="020B0604020202020204" pitchFamily="34" charset="0"/>
              <a:buChar char="•"/>
              <a:defRPr sz="1200" kern="1200">
                <a:solidFill>
                  <a:schemeClr val="accent2"/>
                </a:solidFill>
                <a:latin typeface="+mn-lt"/>
                <a:ea typeface="+mn-ea"/>
                <a:cs typeface="+mn-cs"/>
              </a:defRPr>
            </a:lvl7pPr>
            <a:lvl8pPr marL="180975" indent="-180975" algn="l" defTabSz="914400" rtl="0" eaLnBrk="1" latinLnBrk="0" hangingPunct="1">
              <a:lnSpc>
                <a:spcPct val="102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8pPr>
            <a:lvl9pPr marL="180975" indent="-180975" algn="l" defTabSz="914400" rtl="0" eaLnBrk="1" latinLnBrk="0" hangingPunct="1">
              <a:lnSpc>
                <a:spcPct val="102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9pPr>
          </a:lstStyle>
          <a:p>
            <a:pPr marL="0" indent="0" algn="ctr" fontAlgn="auto">
              <a:buClr>
                <a:srgbClr val="000000"/>
              </a:buClr>
              <a:buFont typeface="Wingdings" panose="05000000000000000000" pitchFamily="2" charset="2"/>
              <a:buNone/>
            </a:pPr>
            <a:r>
              <a:rPr lang="en-US" sz="1800" b="1" i="1" noProof="0" dirty="0">
                <a:solidFill>
                  <a:srgbClr val="037CBA"/>
                </a:solidFill>
                <a:latin typeface="Aptos Light "/>
              </a:rPr>
              <a:t>The connection of lines, which had been disconnected for several days, aggravated the overvoltage situation that existed minutes before the blackout </a:t>
            </a:r>
            <a:endParaRPr lang="en-US" sz="1800" b="1" i="1" baseline="30000" noProof="0" dirty="0">
              <a:solidFill>
                <a:srgbClr val="037CBA"/>
              </a:solidFill>
              <a:latin typeface="Aptos Light "/>
            </a:endParaRPr>
          </a:p>
        </p:txBody>
      </p:sp>
      <p:sp>
        <p:nvSpPr>
          <p:cNvPr id="6" name="TextBox 5">
            <a:extLst>
              <a:ext uri="{FF2B5EF4-FFF2-40B4-BE49-F238E27FC236}">
                <a16:creationId xmlns:a16="http://schemas.microsoft.com/office/drawing/2014/main" id="{A102947B-A58B-730A-2D33-2D539420D993}"/>
              </a:ext>
            </a:extLst>
          </p:cNvPr>
          <p:cNvSpPr txBox="1"/>
          <p:nvPr/>
        </p:nvSpPr>
        <p:spPr>
          <a:xfrm>
            <a:off x="6663991" y="1101641"/>
            <a:ext cx="4370879" cy="430887"/>
          </a:xfrm>
          <a:prstGeom prst="rect">
            <a:avLst/>
          </a:prstGeom>
          <a:noFill/>
        </p:spPr>
        <p:txBody>
          <a:bodyPr wrap="square" lIns="0" tIns="0" rIns="0" bIns="0" rtlCol="0">
            <a:spAutoFit/>
          </a:bodyPr>
          <a:lstStyle/>
          <a:p>
            <a:pPr eaLnBrk="1" fontAlgn="auto" hangingPunct="1">
              <a:spcBef>
                <a:spcPts val="0"/>
              </a:spcBef>
              <a:spcAft>
                <a:spcPts val="0"/>
              </a:spcAft>
            </a:pPr>
            <a:r>
              <a:rPr lang="en-US" sz="1400" b="1" noProof="0" dirty="0">
                <a:solidFill>
                  <a:srgbClr val="003863"/>
                </a:solidFill>
                <a:latin typeface="Arial"/>
              </a:rPr>
              <a:t>Line connection impact on voltage in the South zone</a:t>
            </a:r>
          </a:p>
        </p:txBody>
      </p:sp>
      <p:sp>
        <p:nvSpPr>
          <p:cNvPr id="7" name="TextBox 6">
            <a:extLst>
              <a:ext uri="{FF2B5EF4-FFF2-40B4-BE49-F238E27FC236}">
                <a16:creationId xmlns:a16="http://schemas.microsoft.com/office/drawing/2014/main" id="{4151C6C0-967C-CA20-76C4-4FC20DE8859F}"/>
              </a:ext>
            </a:extLst>
          </p:cNvPr>
          <p:cNvSpPr txBox="1"/>
          <p:nvPr/>
        </p:nvSpPr>
        <p:spPr>
          <a:xfrm>
            <a:off x="6663991" y="1512543"/>
            <a:ext cx="755822" cy="48470"/>
          </a:xfrm>
          <a:prstGeom prst="rect">
            <a:avLst/>
          </a:prstGeom>
          <a:solidFill>
            <a:srgbClr val="DC3832"/>
          </a:solidFill>
          <a:ln>
            <a:noFill/>
          </a:ln>
        </p:spPr>
        <p:txBody>
          <a:bodyPr wrap="square" lIns="108000" tIns="108000" rIns="108000" bIns="108000" rtlCol="0" anchor="ctr">
            <a:noAutofit/>
          </a:bodyPr>
          <a:lstStyle/>
          <a:p>
            <a:pPr algn="ctr" eaLnBrk="1" fontAlgn="auto" hangingPunct="1">
              <a:spcBef>
                <a:spcPts val="0"/>
              </a:spcBef>
              <a:spcAft>
                <a:spcPts val="600"/>
              </a:spcAft>
              <a:buClr>
                <a:srgbClr val="000000"/>
              </a:buClr>
            </a:pPr>
            <a:endParaRPr lang="en-US" sz="1050" b="1" noProof="0" dirty="0">
              <a:solidFill>
                <a:prstClr val="white"/>
              </a:solidFill>
              <a:latin typeface="Arial"/>
            </a:endParaRPr>
          </a:p>
        </p:txBody>
      </p:sp>
      <p:pic>
        <p:nvPicPr>
          <p:cNvPr id="8" name="Picture 11">
            <a:extLst>
              <a:ext uri="{FF2B5EF4-FFF2-40B4-BE49-F238E27FC236}">
                <a16:creationId xmlns:a16="http://schemas.microsoft.com/office/drawing/2014/main" id="{A9BD3C78-EFFD-C5E9-237C-F1975551FB6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714269" y="2064499"/>
            <a:ext cx="4996394" cy="3418330"/>
          </a:xfrm>
          <a:prstGeom prst="rect">
            <a:avLst/>
          </a:prstGeom>
        </p:spPr>
      </p:pic>
      <p:grpSp>
        <p:nvGrpSpPr>
          <p:cNvPr id="19" name="Group_45829,4620486111057951">
            <a:extLst>
              <a:ext uri="{FF2B5EF4-FFF2-40B4-BE49-F238E27FC236}">
                <a16:creationId xmlns:a16="http://schemas.microsoft.com/office/drawing/2014/main" id="{BEA30E34-0F57-A8DE-ECCA-B39F03816562}"/>
              </a:ext>
            </a:extLst>
          </p:cNvPr>
          <p:cNvGrpSpPr/>
          <p:nvPr/>
        </p:nvGrpSpPr>
        <p:grpSpPr>
          <a:xfrm>
            <a:off x="1023919" y="1866678"/>
            <a:ext cx="5023587" cy="3816967"/>
            <a:chOff x="980703" y="1928518"/>
            <a:chExt cx="5002851" cy="3898956"/>
          </a:xfrm>
        </p:grpSpPr>
        <p:sp>
          <p:nvSpPr>
            <p:cNvPr id="20" name="Álava" descr="{&quot;Key&quot;:&quot;álava&quot;,&quot;Name&quot;:&quot;Álava&quot;,&quot;Value&quot;:1.0,&quot;Formula&quot;:&quot;&quot;,&quot;Text&quot;:&quot;1&quot;,&quot;HasValue&quot;:true}">
              <a:extLst>
                <a:ext uri="{FF2B5EF4-FFF2-40B4-BE49-F238E27FC236}">
                  <a16:creationId xmlns:a16="http://schemas.microsoft.com/office/drawing/2014/main" id="{C69201C8-4B23-1FB4-60FC-B56C6C0A03D4}"/>
                </a:ext>
              </a:extLst>
            </p:cNvPr>
            <p:cNvSpPr>
              <a:spLocks noEditPoints="1"/>
            </p:cNvSpPr>
            <p:nvPr/>
          </p:nvSpPr>
          <p:spPr bwMode="auto">
            <a:xfrm>
              <a:off x="3461699" y="2240208"/>
              <a:ext cx="398113" cy="369777"/>
            </a:xfrm>
            <a:custGeom>
              <a:avLst/>
              <a:gdLst>
                <a:gd name="T0" fmla="*/ 384 w 578"/>
                <a:gd name="T1" fmla="*/ 148 h 536"/>
                <a:gd name="T2" fmla="*/ 411 w 578"/>
                <a:gd name="T3" fmla="*/ 176 h 536"/>
                <a:gd name="T4" fmla="*/ 549 w 578"/>
                <a:gd name="T5" fmla="*/ 227 h 536"/>
                <a:gd name="T6" fmla="*/ 575 w 578"/>
                <a:gd name="T7" fmla="*/ 277 h 536"/>
                <a:gd name="T8" fmla="*/ 555 w 578"/>
                <a:gd name="T9" fmla="*/ 344 h 536"/>
                <a:gd name="T10" fmla="*/ 536 w 578"/>
                <a:gd name="T11" fmla="*/ 396 h 536"/>
                <a:gd name="T12" fmla="*/ 544 w 578"/>
                <a:gd name="T13" fmla="*/ 414 h 536"/>
                <a:gd name="T14" fmla="*/ 503 w 578"/>
                <a:gd name="T15" fmla="*/ 426 h 536"/>
                <a:gd name="T16" fmla="*/ 468 w 578"/>
                <a:gd name="T17" fmla="*/ 423 h 536"/>
                <a:gd name="T18" fmla="*/ 435 w 578"/>
                <a:gd name="T19" fmla="*/ 456 h 536"/>
                <a:gd name="T20" fmla="*/ 456 w 578"/>
                <a:gd name="T21" fmla="*/ 475 h 536"/>
                <a:gd name="T22" fmla="*/ 488 w 578"/>
                <a:gd name="T23" fmla="*/ 464 h 536"/>
                <a:gd name="T24" fmla="*/ 473 w 578"/>
                <a:gd name="T25" fmla="*/ 533 h 536"/>
                <a:gd name="T26" fmla="*/ 423 w 578"/>
                <a:gd name="T27" fmla="*/ 510 h 536"/>
                <a:gd name="T28" fmla="*/ 400 w 578"/>
                <a:gd name="T29" fmla="*/ 525 h 536"/>
                <a:gd name="T30" fmla="*/ 374 w 578"/>
                <a:gd name="T31" fmla="*/ 521 h 536"/>
                <a:gd name="T32" fmla="*/ 330 w 578"/>
                <a:gd name="T33" fmla="*/ 505 h 536"/>
                <a:gd name="T34" fmla="*/ 328 w 578"/>
                <a:gd name="T35" fmla="*/ 466 h 536"/>
                <a:gd name="T36" fmla="*/ 283 w 578"/>
                <a:gd name="T37" fmla="*/ 451 h 536"/>
                <a:gd name="T38" fmla="*/ 251 w 578"/>
                <a:gd name="T39" fmla="*/ 466 h 536"/>
                <a:gd name="T40" fmla="*/ 250 w 578"/>
                <a:gd name="T41" fmla="*/ 447 h 536"/>
                <a:gd name="T42" fmla="*/ 238 w 578"/>
                <a:gd name="T43" fmla="*/ 408 h 536"/>
                <a:gd name="T44" fmla="*/ 154 w 578"/>
                <a:gd name="T45" fmla="*/ 342 h 536"/>
                <a:gd name="T46" fmla="*/ 86 w 578"/>
                <a:gd name="T47" fmla="*/ 329 h 536"/>
                <a:gd name="T48" fmla="*/ 71 w 578"/>
                <a:gd name="T49" fmla="*/ 299 h 536"/>
                <a:gd name="T50" fmla="*/ 89 w 578"/>
                <a:gd name="T51" fmla="*/ 263 h 536"/>
                <a:gd name="T52" fmla="*/ 83 w 578"/>
                <a:gd name="T53" fmla="*/ 239 h 536"/>
                <a:gd name="T54" fmla="*/ 51 w 578"/>
                <a:gd name="T55" fmla="*/ 258 h 536"/>
                <a:gd name="T56" fmla="*/ 38 w 578"/>
                <a:gd name="T57" fmla="*/ 282 h 536"/>
                <a:gd name="T58" fmla="*/ 0 w 578"/>
                <a:gd name="T59" fmla="*/ 246 h 536"/>
                <a:gd name="T60" fmla="*/ 23 w 578"/>
                <a:gd name="T61" fmla="*/ 207 h 536"/>
                <a:gd name="T62" fmla="*/ 68 w 578"/>
                <a:gd name="T63" fmla="*/ 201 h 536"/>
                <a:gd name="T64" fmla="*/ 98 w 578"/>
                <a:gd name="T65" fmla="*/ 224 h 536"/>
                <a:gd name="T66" fmla="*/ 139 w 578"/>
                <a:gd name="T67" fmla="*/ 223 h 536"/>
                <a:gd name="T68" fmla="*/ 168 w 578"/>
                <a:gd name="T69" fmla="*/ 202 h 536"/>
                <a:gd name="T70" fmla="*/ 134 w 578"/>
                <a:gd name="T71" fmla="*/ 172 h 536"/>
                <a:gd name="T72" fmla="*/ 163 w 578"/>
                <a:gd name="T73" fmla="*/ 148 h 536"/>
                <a:gd name="T74" fmla="*/ 143 w 578"/>
                <a:gd name="T75" fmla="*/ 123 h 536"/>
                <a:gd name="T76" fmla="*/ 109 w 578"/>
                <a:gd name="T77" fmla="*/ 147 h 536"/>
                <a:gd name="T78" fmla="*/ 64 w 578"/>
                <a:gd name="T79" fmla="*/ 136 h 536"/>
                <a:gd name="T80" fmla="*/ 76 w 578"/>
                <a:gd name="T81" fmla="*/ 76 h 536"/>
                <a:gd name="T82" fmla="*/ 64 w 578"/>
                <a:gd name="T83" fmla="*/ 43 h 536"/>
                <a:gd name="T84" fmla="*/ 131 w 578"/>
                <a:gd name="T85" fmla="*/ 38 h 536"/>
                <a:gd name="T86" fmla="*/ 156 w 578"/>
                <a:gd name="T87" fmla="*/ 0 h 536"/>
                <a:gd name="T88" fmla="*/ 190 w 578"/>
                <a:gd name="T89" fmla="*/ 52 h 536"/>
                <a:gd name="T90" fmla="*/ 231 w 578"/>
                <a:gd name="T91" fmla="*/ 118 h 536"/>
                <a:gd name="T92" fmla="*/ 323 w 578"/>
                <a:gd name="T93" fmla="*/ 140 h 536"/>
                <a:gd name="T94" fmla="*/ 360 w 578"/>
                <a:gd name="T95" fmla="*/ 128 h 536"/>
                <a:gd name="T96" fmla="*/ 365 w 578"/>
                <a:gd name="T97" fmla="*/ 88 h 536"/>
                <a:gd name="T98" fmla="*/ 314 w 578"/>
                <a:gd name="T99" fmla="*/ 312 h 536"/>
                <a:gd name="T100" fmla="*/ 248 w 578"/>
                <a:gd name="T101" fmla="*/ 317 h 536"/>
                <a:gd name="T102" fmla="*/ 244 w 578"/>
                <a:gd name="T103" fmla="*/ 370 h 536"/>
                <a:gd name="T104" fmla="*/ 401 w 578"/>
                <a:gd name="T105" fmla="*/ 417 h 536"/>
                <a:gd name="T106" fmla="*/ 425 w 578"/>
                <a:gd name="T107" fmla="*/ 417 h 536"/>
                <a:gd name="T108" fmla="*/ 411 w 578"/>
                <a:gd name="T109" fmla="*/ 393 h 536"/>
                <a:gd name="T110" fmla="*/ 379 w 578"/>
                <a:gd name="T111" fmla="*/ 382 h 536"/>
                <a:gd name="T112" fmla="*/ 393 w 578"/>
                <a:gd name="T113" fmla="*/ 363 h 536"/>
                <a:gd name="T114" fmla="*/ 394 w 578"/>
                <a:gd name="T115" fmla="*/ 338 h 536"/>
                <a:gd name="T116" fmla="*/ 368 w 578"/>
                <a:gd name="T117" fmla="*/ 327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8" h="536">
                  <a:moveTo>
                    <a:pt x="406" y="88"/>
                  </a:moveTo>
                  <a:lnTo>
                    <a:pt x="415" y="120"/>
                  </a:lnTo>
                  <a:lnTo>
                    <a:pt x="414" y="130"/>
                  </a:lnTo>
                  <a:lnTo>
                    <a:pt x="410" y="136"/>
                  </a:lnTo>
                  <a:lnTo>
                    <a:pt x="384" y="148"/>
                  </a:lnTo>
                  <a:lnTo>
                    <a:pt x="380" y="152"/>
                  </a:lnTo>
                  <a:lnTo>
                    <a:pt x="375" y="168"/>
                  </a:lnTo>
                  <a:lnTo>
                    <a:pt x="400" y="183"/>
                  </a:lnTo>
                  <a:lnTo>
                    <a:pt x="405" y="182"/>
                  </a:lnTo>
                  <a:lnTo>
                    <a:pt x="411" y="176"/>
                  </a:lnTo>
                  <a:lnTo>
                    <a:pt x="416" y="178"/>
                  </a:lnTo>
                  <a:lnTo>
                    <a:pt x="431" y="186"/>
                  </a:lnTo>
                  <a:lnTo>
                    <a:pt x="513" y="193"/>
                  </a:lnTo>
                  <a:lnTo>
                    <a:pt x="539" y="210"/>
                  </a:lnTo>
                  <a:lnTo>
                    <a:pt x="549" y="227"/>
                  </a:lnTo>
                  <a:lnTo>
                    <a:pt x="554" y="231"/>
                  </a:lnTo>
                  <a:lnTo>
                    <a:pt x="570" y="231"/>
                  </a:lnTo>
                  <a:lnTo>
                    <a:pt x="578" y="263"/>
                  </a:lnTo>
                  <a:lnTo>
                    <a:pt x="576" y="269"/>
                  </a:lnTo>
                  <a:lnTo>
                    <a:pt x="575" y="277"/>
                  </a:lnTo>
                  <a:lnTo>
                    <a:pt x="564" y="297"/>
                  </a:lnTo>
                  <a:lnTo>
                    <a:pt x="558" y="313"/>
                  </a:lnTo>
                  <a:lnTo>
                    <a:pt x="556" y="324"/>
                  </a:lnTo>
                  <a:lnTo>
                    <a:pt x="556" y="337"/>
                  </a:lnTo>
                  <a:lnTo>
                    <a:pt x="555" y="344"/>
                  </a:lnTo>
                  <a:lnTo>
                    <a:pt x="551" y="348"/>
                  </a:lnTo>
                  <a:lnTo>
                    <a:pt x="536" y="354"/>
                  </a:lnTo>
                  <a:lnTo>
                    <a:pt x="533" y="361"/>
                  </a:lnTo>
                  <a:lnTo>
                    <a:pt x="531" y="367"/>
                  </a:lnTo>
                  <a:lnTo>
                    <a:pt x="536" y="396"/>
                  </a:lnTo>
                  <a:lnTo>
                    <a:pt x="540" y="397"/>
                  </a:lnTo>
                  <a:lnTo>
                    <a:pt x="545" y="399"/>
                  </a:lnTo>
                  <a:lnTo>
                    <a:pt x="548" y="403"/>
                  </a:lnTo>
                  <a:lnTo>
                    <a:pt x="548" y="411"/>
                  </a:lnTo>
                  <a:lnTo>
                    <a:pt x="544" y="414"/>
                  </a:lnTo>
                  <a:lnTo>
                    <a:pt x="528" y="426"/>
                  </a:lnTo>
                  <a:lnTo>
                    <a:pt x="523" y="428"/>
                  </a:lnTo>
                  <a:lnTo>
                    <a:pt x="516" y="429"/>
                  </a:lnTo>
                  <a:lnTo>
                    <a:pt x="506" y="429"/>
                  </a:lnTo>
                  <a:lnTo>
                    <a:pt x="503" y="426"/>
                  </a:lnTo>
                  <a:lnTo>
                    <a:pt x="499" y="418"/>
                  </a:lnTo>
                  <a:lnTo>
                    <a:pt x="493" y="413"/>
                  </a:lnTo>
                  <a:lnTo>
                    <a:pt x="483" y="412"/>
                  </a:lnTo>
                  <a:lnTo>
                    <a:pt x="478" y="414"/>
                  </a:lnTo>
                  <a:lnTo>
                    <a:pt x="468" y="423"/>
                  </a:lnTo>
                  <a:lnTo>
                    <a:pt x="460" y="432"/>
                  </a:lnTo>
                  <a:lnTo>
                    <a:pt x="449" y="441"/>
                  </a:lnTo>
                  <a:lnTo>
                    <a:pt x="444" y="443"/>
                  </a:lnTo>
                  <a:lnTo>
                    <a:pt x="436" y="451"/>
                  </a:lnTo>
                  <a:lnTo>
                    <a:pt x="435" y="456"/>
                  </a:lnTo>
                  <a:lnTo>
                    <a:pt x="436" y="462"/>
                  </a:lnTo>
                  <a:lnTo>
                    <a:pt x="439" y="466"/>
                  </a:lnTo>
                  <a:lnTo>
                    <a:pt x="443" y="468"/>
                  </a:lnTo>
                  <a:lnTo>
                    <a:pt x="448" y="469"/>
                  </a:lnTo>
                  <a:lnTo>
                    <a:pt x="456" y="475"/>
                  </a:lnTo>
                  <a:lnTo>
                    <a:pt x="460" y="476"/>
                  </a:lnTo>
                  <a:lnTo>
                    <a:pt x="465" y="473"/>
                  </a:lnTo>
                  <a:lnTo>
                    <a:pt x="476" y="458"/>
                  </a:lnTo>
                  <a:lnTo>
                    <a:pt x="485" y="461"/>
                  </a:lnTo>
                  <a:lnTo>
                    <a:pt x="488" y="464"/>
                  </a:lnTo>
                  <a:lnTo>
                    <a:pt x="489" y="469"/>
                  </a:lnTo>
                  <a:lnTo>
                    <a:pt x="491" y="485"/>
                  </a:lnTo>
                  <a:lnTo>
                    <a:pt x="486" y="525"/>
                  </a:lnTo>
                  <a:lnTo>
                    <a:pt x="485" y="536"/>
                  </a:lnTo>
                  <a:lnTo>
                    <a:pt x="473" y="533"/>
                  </a:lnTo>
                  <a:lnTo>
                    <a:pt x="454" y="528"/>
                  </a:lnTo>
                  <a:lnTo>
                    <a:pt x="438" y="518"/>
                  </a:lnTo>
                  <a:lnTo>
                    <a:pt x="431" y="505"/>
                  </a:lnTo>
                  <a:lnTo>
                    <a:pt x="426" y="507"/>
                  </a:lnTo>
                  <a:lnTo>
                    <a:pt x="423" y="510"/>
                  </a:lnTo>
                  <a:lnTo>
                    <a:pt x="419" y="515"/>
                  </a:lnTo>
                  <a:lnTo>
                    <a:pt x="416" y="521"/>
                  </a:lnTo>
                  <a:lnTo>
                    <a:pt x="420" y="526"/>
                  </a:lnTo>
                  <a:lnTo>
                    <a:pt x="409" y="523"/>
                  </a:lnTo>
                  <a:lnTo>
                    <a:pt x="400" y="525"/>
                  </a:lnTo>
                  <a:lnTo>
                    <a:pt x="393" y="530"/>
                  </a:lnTo>
                  <a:lnTo>
                    <a:pt x="386" y="536"/>
                  </a:lnTo>
                  <a:lnTo>
                    <a:pt x="385" y="525"/>
                  </a:lnTo>
                  <a:lnTo>
                    <a:pt x="380" y="520"/>
                  </a:lnTo>
                  <a:lnTo>
                    <a:pt x="374" y="521"/>
                  </a:lnTo>
                  <a:lnTo>
                    <a:pt x="368" y="527"/>
                  </a:lnTo>
                  <a:lnTo>
                    <a:pt x="359" y="523"/>
                  </a:lnTo>
                  <a:lnTo>
                    <a:pt x="340" y="508"/>
                  </a:lnTo>
                  <a:lnTo>
                    <a:pt x="335" y="506"/>
                  </a:lnTo>
                  <a:lnTo>
                    <a:pt x="330" y="505"/>
                  </a:lnTo>
                  <a:lnTo>
                    <a:pt x="329" y="493"/>
                  </a:lnTo>
                  <a:lnTo>
                    <a:pt x="329" y="482"/>
                  </a:lnTo>
                  <a:lnTo>
                    <a:pt x="330" y="477"/>
                  </a:lnTo>
                  <a:lnTo>
                    <a:pt x="330" y="472"/>
                  </a:lnTo>
                  <a:lnTo>
                    <a:pt x="328" y="466"/>
                  </a:lnTo>
                  <a:lnTo>
                    <a:pt x="323" y="459"/>
                  </a:lnTo>
                  <a:lnTo>
                    <a:pt x="303" y="446"/>
                  </a:lnTo>
                  <a:lnTo>
                    <a:pt x="295" y="443"/>
                  </a:lnTo>
                  <a:lnTo>
                    <a:pt x="288" y="447"/>
                  </a:lnTo>
                  <a:lnTo>
                    <a:pt x="283" y="451"/>
                  </a:lnTo>
                  <a:lnTo>
                    <a:pt x="278" y="468"/>
                  </a:lnTo>
                  <a:lnTo>
                    <a:pt x="270" y="468"/>
                  </a:lnTo>
                  <a:lnTo>
                    <a:pt x="259" y="472"/>
                  </a:lnTo>
                  <a:lnTo>
                    <a:pt x="255" y="469"/>
                  </a:lnTo>
                  <a:lnTo>
                    <a:pt x="251" y="466"/>
                  </a:lnTo>
                  <a:lnTo>
                    <a:pt x="251" y="461"/>
                  </a:lnTo>
                  <a:lnTo>
                    <a:pt x="258" y="453"/>
                  </a:lnTo>
                  <a:lnTo>
                    <a:pt x="259" y="449"/>
                  </a:lnTo>
                  <a:lnTo>
                    <a:pt x="258" y="442"/>
                  </a:lnTo>
                  <a:lnTo>
                    <a:pt x="250" y="447"/>
                  </a:lnTo>
                  <a:lnTo>
                    <a:pt x="246" y="442"/>
                  </a:lnTo>
                  <a:lnTo>
                    <a:pt x="245" y="432"/>
                  </a:lnTo>
                  <a:lnTo>
                    <a:pt x="245" y="425"/>
                  </a:lnTo>
                  <a:lnTo>
                    <a:pt x="243" y="416"/>
                  </a:lnTo>
                  <a:lnTo>
                    <a:pt x="238" y="408"/>
                  </a:lnTo>
                  <a:lnTo>
                    <a:pt x="201" y="378"/>
                  </a:lnTo>
                  <a:lnTo>
                    <a:pt x="186" y="372"/>
                  </a:lnTo>
                  <a:lnTo>
                    <a:pt x="173" y="354"/>
                  </a:lnTo>
                  <a:lnTo>
                    <a:pt x="164" y="349"/>
                  </a:lnTo>
                  <a:lnTo>
                    <a:pt x="154" y="342"/>
                  </a:lnTo>
                  <a:lnTo>
                    <a:pt x="138" y="327"/>
                  </a:lnTo>
                  <a:lnTo>
                    <a:pt x="120" y="318"/>
                  </a:lnTo>
                  <a:lnTo>
                    <a:pt x="104" y="326"/>
                  </a:lnTo>
                  <a:lnTo>
                    <a:pt x="89" y="331"/>
                  </a:lnTo>
                  <a:lnTo>
                    <a:pt x="86" y="329"/>
                  </a:lnTo>
                  <a:lnTo>
                    <a:pt x="80" y="329"/>
                  </a:lnTo>
                  <a:lnTo>
                    <a:pt x="84" y="317"/>
                  </a:lnTo>
                  <a:lnTo>
                    <a:pt x="81" y="312"/>
                  </a:lnTo>
                  <a:lnTo>
                    <a:pt x="74" y="304"/>
                  </a:lnTo>
                  <a:lnTo>
                    <a:pt x="71" y="299"/>
                  </a:lnTo>
                  <a:lnTo>
                    <a:pt x="71" y="293"/>
                  </a:lnTo>
                  <a:lnTo>
                    <a:pt x="74" y="288"/>
                  </a:lnTo>
                  <a:lnTo>
                    <a:pt x="78" y="281"/>
                  </a:lnTo>
                  <a:lnTo>
                    <a:pt x="83" y="273"/>
                  </a:lnTo>
                  <a:lnTo>
                    <a:pt x="89" y="263"/>
                  </a:lnTo>
                  <a:lnTo>
                    <a:pt x="93" y="256"/>
                  </a:lnTo>
                  <a:lnTo>
                    <a:pt x="94" y="247"/>
                  </a:lnTo>
                  <a:lnTo>
                    <a:pt x="93" y="241"/>
                  </a:lnTo>
                  <a:lnTo>
                    <a:pt x="88" y="238"/>
                  </a:lnTo>
                  <a:lnTo>
                    <a:pt x="83" y="239"/>
                  </a:lnTo>
                  <a:lnTo>
                    <a:pt x="75" y="251"/>
                  </a:lnTo>
                  <a:lnTo>
                    <a:pt x="71" y="256"/>
                  </a:lnTo>
                  <a:lnTo>
                    <a:pt x="68" y="258"/>
                  </a:lnTo>
                  <a:lnTo>
                    <a:pt x="56" y="257"/>
                  </a:lnTo>
                  <a:lnTo>
                    <a:pt x="51" y="258"/>
                  </a:lnTo>
                  <a:lnTo>
                    <a:pt x="46" y="261"/>
                  </a:lnTo>
                  <a:lnTo>
                    <a:pt x="43" y="266"/>
                  </a:lnTo>
                  <a:lnTo>
                    <a:pt x="39" y="274"/>
                  </a:lnTo>
                  <a:lnTo>
                    <a:pt x="39" y="278"/>
                  </a:lnTo>
                  <a:lnTo>
                    <a:pt x="38" y="282"/>
                  </a:lnTo>
                  <a:lnTo>
                    <a:pt x="35" y="284"/>
                  </a:lnTo>
                  <a:lnTo>
                    <a:pt x="28" y="279"/>
                  </a:lnTo>
                  <a:lnTo>
                    <a:pt x="10" y="258"/>
                  </a:lnTo>
                  <a:lnTo>
                    <a:pt x="3" y="251"/>
                  </a:lnTo>
                  <a:lnTo>
                    <a:pt x="0" y="246"/>
                  </a:lnTo>
                  <a:lnTo>
                    <a:pt x="0" y="241"/>
                  </a:lnTo>
                  <a:lnTo>
                    <a:pt x="5" y="231"/>
                  </a:lnTo>
                  <a:lnTo>
                    <a:pt x="14" y="222"/>
                  </a:lnTo>
                  <a:lnTo>
                    <a:pt x="20" y="212"/>
                  </a:lnTo>
                  <a:lnTo>
                    <a:pt x="23" y="207"/>
                  </a:lnTo>
                  <a:lnTo>
                    <a:pt x="26" y="202"/>
                  </a:lnTo>
                  <a:lnTo>
                    <a:pt x="31" y="198"/>
                  </a:lnTo>
                  <a:lnTo>
                    <a:pt x="51" y="196"/>
                  </a:lnTo>
                  <a:lnTo>
                    <a:pt x="64" y="198"/>
                  </a:lnTo>
                  <a:lnTo>
                    <a:pt x="68" y="201"/>
                  </a:lnTo>
                  <a:lnTo>
                    <a:pt x="71" y="206"/>
                  </a:lnTo>
                  <a:lnTo>
                    <a:pt x="74" y="215"/>
                  </a:lnTo>
                  <a:lnTo>
                    <a:pt x="78" y="219"/>
                  </a:lnTo>
                  <a:lnTo>
                    <a:pt x="86" y="223"/>
                  </a:lnTo>
                  <a:lnTo>
                    <a:pt x="98" y="224"/>
                  </a:lnTo>
                  <a:lnTo>
                    <a:pt x="103" y="226"/>
                  </a:lnTo>
                  <a:lnTo>
                    <a:pt x="114" y="227"/>
                  </a:lnTo>
                  <a:lnTo>
                    <a:pt x="123" y="224"/>
                  </a:lnTo>
                  <a:lnTo>
                    <a:pt x="134" y="224"/>
                  </a:lnTo>
                  <a:lnTo>
                    <a:pt x="139" y="223"/>
                  </a:lnTo>
                  <a:lnTo>
                    <a:pt x="150" y="213"/>
                  </a:lnTo>
                  <a:lnTo>
                    <a:pt x="155" y="213"/>
                  </a:lnTo>
                  <a:lnTo>
                    <a:pt x="163" y="211"/>
                  </a:lnTo>
                  <a:lnTo>
                    <a:pt x="165" y="209"/>
                  </a:lnTo>
                  <a:lnTo>
                    <a:pt x="168" y="202"/>
                  </a:lnTo>
                  <a:lnTo>
                    <a:pt x="168" y="197"/>
                  </a:lnTo>
                  <a:lnTo>
                    <a:pt x="165" y="192"/>
                  </a:lnTo>
                  <a:lnTo>
                    <a:pt x="149" y="187"/>
                  </a:lnTo>
                  <a:lnTo>
                    <a:pt x="141" y="182"/>
                  </a:lnTo>
                  <a:lnTo>
                    <a:pt x="134" y="172"/>
                  </a:lnTo>
                  <a:lnTo>
                    <a:pt x="134" y="166"/>
                  </a:lnTo>
                  <a:lnTo>
                    <a:pt x="140" y="166"/>
                  </a:lnTo>
                  <a:lnTo>
                    <a:pt x="156" y="163"/>
                  </a:lnTo>
                  <a:lnTo>
                    <a:pt x="159" y="160"/>
                  </a:lnTo>
                  <a:lnTo>
                    <a:pt x="163" y="148"/>
                  </a:lnTo>
                  <a:lnTo>
                    <a:pt x="161" y="145"/>
                  </a:lnTo>
                  <a:lnTo>
                    <a:pt x="156" y="140"/>
                  </a:lnTo>
                  <a:lnTo>
                    <a:pt x="146" y="136"/>
                  </a:lnTo>
                  <a:lnTo>
                    <a:pt x="143" y="132"/>
                  </a:lnTo>
                  <a:lnTo>
                    <a:pt x="143" y="123"/>
                  </a:lnTo>
                  <a:lnTo>
                    <a:pt x="140" y="120"/>
                  </a:lnTo>
                  <a:lnTo>
                    <a:pt x="135" y="118"/>
                  </a:lnTo>
                  <a:lnTo>
                    <a:pt x="125" y="123"/>
                  </a:lnTo>
                  <a:lnTo>
                    <a:pt x="115" y="145"/>
                  </a:lnTo>
                  <a:lnTo>
                    <a:pt x="109" y="147"/>
                  </a:lnTo>
                  <a:lnTo>
                    <a:pt x="104" y="146"/>
                  </a:lnTo>
                  <a:lnTo>
                    <a:pt x="88" y="145"/>
                  </a:lnTo>
                  <a:lnTo>
                    <a:pt x="71" y="141"/>
                  </a:lnTo>
                  <a:lnTo>
                    <a:pt x="66" y="138"/>
                  </a:lnTo>
                  <a:lnTo>
                    <a:pt x="64" y="136"/>
                  </a:lnTo>
                  <a:lnTo>
                    <a:pt x="69" y="126"/>
                  </a:lnTo>
                  <a:lnTo>
                    <a:pt x="73" y="117"/>
                  </a:lnTo>
                  <a:lnTo>
                    <a:pt x="74" y="100"/>
                  </a:lnTo>
                  <a:lnTo>
                    <a:pt x="76" y="86"/>
                  </a:lnTo>
                  <a:lnTo>
                    <a:pt x="76" y="76"/>
                  </a:lnTo>
                  <a:lnTo>
                    <a:pt x="74" y="71"/>
                  </a:lnTo>
                  <a:lnTo>
                    <a:pt x="64" y="67"/>
                  </a:lnTo>
                  <a:lnTo>
                    <a:pt x="60" y="62"/>
                  </a:lnTo>
                  <a:lnTo>
                    <a:pt x="60" y="56"/>
                  </a:lnTo>
                  <a:lnTo>
                    <a:pt x="64" y="43"/>
                  </a:lnTo>
                  <a:lnTo>
                    <a:pt x="66" y="38"/>
                  </a:lnTo>
                  <a:lnTo>
                    <a:pt x="76" y="30"/>
                  </a:lnTo>
                  <a:lnTo>
                    <a:pt x="90" y="42"/>
                  </a:lnTo>
                  <a:lnTo>
                    <a:pt x="98" y="45"/>
                  </a:lnTo>
                  <a:lnTo>
                    <a:pt x="131" y="38"/>
                  </a:lnTo>
                  <a:lnTo>
                    <a:pt x="138" y="33"/>
                  </a:lnTo>
                  <a:lnTo>
                    <a:pt x="141" y="26"/>
                  </a:lnTo>
                  <a:lnTo>
                    <a:pt x="144" y="10"/>
                  </a:lnTo>
                  <a:lnTo>
                    <a:pt x="146" y="3"/>
                  </a:lnTo>
                  <a:lnTo>
                    <a:pt x="156" y="0"/>
                  </a:lnTo>
                  <a:lnTo>
                    <a:pt x="164" y="2"/>
                  </a:lnTo>
                  <a:lnTo>
                    <a:pt x="171" y="8"/>
                  </a:lnTo>
                  <a:lnTo>
                    <a:pt x="183" y="23"/>
                  </a:lnTo>
                  <a:lnTo>
                    <a:pt x="191" y="43"/>
                  </a:lnTo>
                  <a:lnTo>
                    <a:pt x="190" y="52"/>
                  </a:lnTo>
                  <a:lnTo>
                    <a:pt x="181" y="72"/>
                  </a:lnTo>
                  <a:lnTo>
                    <a:pt x="179" y="82"/>
                  </a:lnTo>
                  <a:lnTo>
                    <a:pt x="184" y="92"/>
                  </a:lnTo>
                  <a:lnTo>
                    <a:pt x="214" y="120"/>
                  </a:lnTo>
                  <a:lnTo>
                    <a:pt x="231" y="118"/>
                  </a:lnTo>
                  <a:lnTo>
                    <a:pt x="238" y="120"/>
                  </a:lnTo>
                  <a:lnTo>
                    <a:pt x="250" y="127"/>
                  </a:lnTo>
                  <a:lnTo>
                    <a:pt x="276" y="135"/>
                  </a:lnTo>
                  <a:lnTo>
                    <a:pt x="300" y="131"/>
                  </a:lnTo>
                  <a:lnTo>
                    <a:pt x="323" y="140"/>
                  </a:lnTo>
                  <a:lnTo>
                    <a:pt x="329" y="140"/>
                  </a:lnTo>
                  <a:lnTo>
                    <a:pt x="339" y="135"/>
                  </a:lnTo>
                  <a:lnTo>
                    <a:pt x="355" y="138"/>
                  </a:lnTo>
                  <a:lnTo>
                    <a:pt x="359" y="137"/>
                  </a:lnTo>
                  <a:lnTo>
                    <a:pt x="360" y="128"/>
                  </a:lnTo>
                  <a:lnTo>
                    <a:pt x="358" y="120"/>
                  </a:lnTo>
                  <a:lnTo>
                    <a:pt x="345" y="102"/>
                  </a:lnTo>
                  <a:lnTo>
                    <a:pt x="345" y="98"/>
                  </a:lnTo>
                  <a:lnTo>
                    <a:pt x="356" y="91"/>
                  </a:lnTo>
                  <a:lnTo>
                    <a:pt x="365" y="88"/>
                  </a:lnTo>
                  <a:lnTo>
                    <a:pt x="378" y="93"/>
                  </a:lnTo>
                  <a:lnTo>
                    <a:pt x="406" y="88"/>
                  </a:lnTo>
                  <a:close/>
                  <a:moveTo>
                    <a:pt x="355" y="326"/>
                  </a:moveTo>
                  <a:lnTo>
                    <a:pt x="321" y="316"/>
                  </a:lnTo>
                  <a:lnTo>
                    <a:pt x="314" y="312"/>
                  </a:lnTo>
                  <a:lnTo>
                    <a:pt x="308" y="311"/>
                  </a:lnTo>
                  <a:lnTo>
                    <a:pt x="292" y="310"/>
                  </a:lnTo>
                  <a:lnTo>
                    <a:pt x="258" y="312"/>
                  </a:lnTo>
                  <a:lnTo>
                    <a:pt x="251" y="313"/>
                  </a:lnTo>
                  <a:lnTo>
                    <a:pt x="248" y="317"/>
                  </a:lnTo>
                  <a:lnTo>
                    <a:pt x="236" y="335"/>
                  </a:lnTo>
                  <a:lnTo>
                    <a:pt x="229" y="343"/>
                  </a:lnTo>
                  <a:lnTo>
                    <a:pt x="228" y="348"/>
                  </a:lnTo>
                  <a:lnTo>
                    <a:pt x="230" y="355"/>
                  </a:lnTo>
                  <a:lnTo>
                    <a:pt x="244" y="370"/>
                  </a:lnTo>
                  <a:lnTo>
                    <a:pt x="259" y="381"/>
                  </a:lnTo>
                  <a:lnTo>
                    <a:pt x="293" y="396"/>
                  </a:lnTo>
                  <a:lnTo>
                    <a:pt x="330" y="405"/>
                  </a:lnTo>
                  <a:lnTo>
                    <a:pt x="358" y="417"/>
                  </a:lnTo>
                  <a:lnTo>
                    <a:pt x="401" y="417"/>
                  </a:lnTo>
                  <a:lnTo>
                    <a:pt x="408" y="421"/>
                  </a:lnTo>
                  <a:lnTo>
                    <a:pt x="411" y="426"/>
                  </a:lnTo>
                  <a:lnTo>
                    <a:pt x="418" y="425"/>
                  </a:lnTo>
                  <a:lnTo>
                    <a:pt x="424" y="421"/>
                  </a:lnTo>
                  <a:lnTo>
                    <a:pt x="425" y="417"/>
                  </a:lnTo>
                  <a:lnTo>
                    <a:pt x="425" y="408"/>
                  </a:lnTo>
                  <a:lnTo>
                    <a:pt x="421" y="397"/>
                  </a:lnTo>
                  <a:lnTo>
                    <a:pt x="419" y="391"/>
                  </a:lnTo>
                  <a:lnTo>
                    <a:pt x="415" y="391"/>
                  </a:lnTo>
                  <a:lnTo>
                    <a:pt x="411" y="393"/>
                  </a:lnTo>
                  <a:lnTo>
                    <a:pt x="406" y="400"/>
                  </a:lnTo>
                  <a:lnTo>
                    <a:pt x="400" y="402"/>
                  </a:lnTo>
                  <a:lnTo>
                    <a:pt x="393" y="400"/>
                  </a:lnTo>
                  <a:lnTo>
                    <a:pt x="388" y="391"/>
                  </a:lnTo>
                  <a:lnTo>
                    <a:pt x="379" y="382"/>
                  </a:lnTo>
                  <a:lnTo>
                    <a:pt x="376" y="380"/>
                  </a:lnTo>
                  <a:lnTo>
                    <a:pt x="378" y="372"/>
                  </a:lnTo>
                  <a:lnTo>
                    <a:pt x="381" y="371"/>
                  </a:lnTo>
                  <a:lnTo>
                    <a:pt x="388" y="368"/>
                  </a:lnTo>
                  <a:lnTo>
                    <a:pt x="393" y="363"/>
                  </a:lnTo>
                  <a:lnTo>
                    <a:pt x="398" y="353"/>
                  </a:lnTo>
                  <a:lnTo>
                    <a:pt x="400" y="346"/>
                  </a:lnTo>
                  <a:lnTo>
                    <a:pt x="401" y="340"/>
                  </a:lnTo>
                  <a:lnTo>
                    <a:pt x="400" y="337"/>
                  </a:lnTo>
                  <a:lnTo>
                    <a:pt x="394" y="338"/>
                  </a:lnTo>
                  <a:lnTo>
                    <a:pt x="389" y="337"/>
                  </a:lnTo>
                  <a:lnTo>
                    <a:pt x="384" y="333"/>
                  </a:lnTo>
                  <a:lnTo>
                    <a:pt x="379" y="327"/>
                  </a:lnTo>
                  <a:lnTo>
                    <a:pt x="373" y="325"/>
                  </a:lnTo>
                  <a:lnTo>
                    <a:pt x="368" y="327"/>
                  </a:lnTo>
                  <a:lnTo>
                    <a:pt x="363" y="327"/>
                  </a:lnTo>
                  <a:lnTo>
                    <a:pt x="355" y="32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21" name="Albacete" descr="{&quot;Key&quot;:&quot;albacete&quot;,&quot;Name&quot;:&quot;Albacete&quot;,&quot;Value&quot;:1.0,&quot;Formula&quot;:&quot;&quot;,&quot;Text&quot;:&quot;1&quot;,&quot;HasValue&quot;:true}">
              <a:extLst>
                <a:ext uri="{FF2B5EF4-FFF2-40B4-BE49-F238E27FC236}">
                  <a16:creationId xmlns:a16="http://schemas.microsoft.com/office/drawing/2014/main" id="{0402C3D1-C561-7F0C-E60D-AA88B64C820E}"/>
                </a:ext>
              </a:extLst>
            </p:cNvPr>
            <p:cNvSpPr>
              <a:spLocks/>
            </p:cNvSpPr>
            <p:nvPr/>
          </p:nvSpPr>
          <p:spPr bwMode="auto">
            <a:xfrm>
              <a:off x="3613294" y="4171267"/>
              <a:ext cx="756556" cy="687134"/>
            </a:xfrm>
            <a:custGeom>
              <a:avLst/>
              <a:gdLst>
                <a:gd name="T0" fmla="*/ 1070 w 1098"/>
                <a:gd name="T1" fmla="*/ 465 h 994"/>
                <a:gd name="T2" fmla="*/ 1090 w 1098"/>
                <a:gd name="T3" fmla="*/ 514 h 994"/>
                <a:gd name="T4" fmla="*/ 1068 w 1098"/>
                <a:gd name="T5" fmla="*/ 545 h 994"/>
                <a:gd name="T6" fmla="*/ 1031 w 1098"/>
                <a:gd name="T7" fmla="*/ 547 h 994"/>
                <a:gd name="T8" fmla="*/ 980 w 1098"/>
                <a:gd name="T9" fmla="*/ 491 h 994"/>
                <a:gd name="T10" fmla="*/ 948 w 1098"/>
                <a:gd name="T11" fmla="*/ 477 h 994"/>
                <a:gd name="T12" fmla="*/ 890 w 1098"/>
                <a:gd name="T13" fmla="*/ 507 h 994"/>
                <a:gd name="T14" fmla="*/ 843 w 1098"/>
                <a:gd name="T15" fmla="*/ 515 h 994"/>
                <a:gd name="T16" fmla="*/ 804 w 1098"/>
                <a:gd name="T17" fmla="*/ 546 h 994"/>
                <a:gd name="T18" fmla="*/ 786 w 1098"/>
                <a:gd name="T19" fmla="*/ 604 h 994"/>
                <a:gd name="T20" fmla="*/ 766 w 1098"/>
                <a:gd name="T21" fmla="*/ 632 h 994"/>
                <a:gd name="T22" fmla="*/ 775 w 1098"/>
                <a:gd name="T23" fmla="*/ 669 h 994"/>
                <a:gd name="T24" fmla="*/ 779 w 1098"/>
                <a:gd name="T25" fmla="*/ 726 h 994"/>
                <a:gd name="T26" fmla="*/ 730 w 1098"/>
                <a:gd name="T27" fmla="*/ 780 h 994"/>
                <a:gd name="T28" fmla="*/ 674 w 1098"/>
                <a:gd name="T29" fmla="*/ 785 h 994"/>
                <a:gd name="T30" fmla="*/ 666 w 1098"/>
                <a:gd name="T31" fmla="*/ 762 h 994"/>
                <a:gd name="T32" fmla="*/ 645 w 1098"/>
                <a:gd name="T33" fmla="*/ 749 h 994"/>
                <a:gd name="T34" fmla="*/ 615 w 1098"/>
                <a:gd name="T35" fmla="*/ 750 h 994"/>
                <a:gd name="T36" fmla="*/ 574 w 1098"/>
                <a:gd name="T37" fmla="*/ 779 h 994"/>
                <a:gd name="T38" fmla="*/ 513 w 1098"/>
                <a:gd name="T39" fmla="*/ 809 h 994"/>
                <a:gd name="T40" fmla="*/ 481 w 1098"/>
                <a:gd name="T41" fmla="*/ 802 h 994"/>
                <a:gd name="T42" fmla="*/ 456 w 1098"/>
                <a:gd name="T43" fmla="*/ 806 h 994"/>
                <a:gd name="T44" fmla="*/ 401 w 1098"/>
                <a:gd name="T45" fmla="*/ 850 h 994"/>
                <a:gd name="T46" fmla="*/ 366 w 1098"/>
                <a:gd name="T47" fmla="*/ 881 h 994"/>
                <a:gd name="T48" fmla="*/ 310 w 1098"/>
                <a:gd name="T49" fmla="*/ 966 h 994"/>
                <a:gd name="T50" fmla="*/ 231 w 1098"/>
                <a:gd name="T51" fmla="*/ 976 h 994"/>
                <a:gd name="T52" fmla="*/ 204 w 1098"/>
                <a:gd name="T53" fmla="*/ 931 h 994"/>
                <a:gd name="T54" fmla="*/ 244 w 1098"/>
                <a:gd name="T55" fmla="*/ 866 h 994"/>
                <a:gd name="T56" fmla="*/ 250 w 1098"/>
                <a:gd name="T57" fmla="*/ 837 h 994"/>
                <a:gd name="T58" fmla="*/ 229 w 1098"/>
                <a:gd name="T59" fmla="*/ 800 h 994"/>
                <a:gd name="T60" fmla="*/ 223 w 1098"/>
                <a:gd name="T61" fmla="*/ 759 h 994"/>
                <a:gd name="T62" fmla="*/ 219 w 1098"/>
                <a:gd name="T63" fmla="*/ 729 h 994"/>
                <a:gd name="T64" fmla="*/ 174 w 1098"/>
                <a:gd name="T65" fmla="*/ 694 h 994"/>
                <a:gd name="T66" fmla="*/ 172 w 1098"/>
                <a:gd name="T67" fmla="*/ 657 h 994"/>
                <a:gd name="T68" fmla="*/ 134 w 1098"/>
                <a:gd name="T69" fmla="*/ 651 h 994"/>
                <a:gd name="T70" fmla="*/ 70 w 1098"/>
                <a:gd name="T71" fmla="*/ 634 h 994"/>
                <a:gd name="T72" fmla="*/ 79 w 1098"/>
                <a:gd name="T73" fmla="*/ 575 h 994"/>
                <a:gd name="T74" fmla="*/ 132 w 1098"/>
                <a:gd name="T75" fmla="*/ 510 h 994"/>
                <a:gd name="T76" fmla="*/ 84 w 1098"/>
                <a:gd name="T77" fmla="*/ 451 h 994"/>
                <a:gd name="T78" fmla="*/ 20 w 1098"/>
                <a:gd name="T79" fmla="*/ 369 h 994"/>
                <a:gd name="T80" fmla="*/ 43 w 1098"/>
                <a:gd name="T81" fmla="*/ 264 h 994"/>
                <a:gd name="T82" fmla="*/ 89 w 1098"/>
                <a:gd name="T83" fmla="*/ 110 h 994"/>
                <a:gd name="T84" fmla="*/ 175 w 1098"/>
                <a:gd name="T85" fmla="*/ 67 h 994"/>
                <a:gd name="T86" fmla="*/ 296 w 1098"/>
                <a:gd name="T87" fmla="*/ 102 h 994"/>
                <a:gd name="T88" fmla="*/ 462 w 1098"/>
                <a:gd name="T89" fmla="*/ 111 h 994"/>
                <a:gd name="T90" fmla="*/ 495 w 1098"/>
                <a:gd name="T91" fmla="*/ 91 h 994"/>
                <a:gd name="T92" fmla="*/ 634 w 1098"/>
                <a:gd name="T93" fmla="*/ 72 h 994"/>
                <a:gd name="T94" fmla="*/ 780 w 1098"/>
                <a:gd name="T95" fmla="*/ 11 h 994"/>
                <a:gd name="T96" fmla="*/ 794 w 1098"/>
                <a:gd name="T97" fmla="*/ 22 h 994"/>
                <a:gd name="T98" fmla="*/ 814 w 1098"/>
                <a:gd name="T99" fmla="*/ 36 h 994"/>
                <a:gd name="T100" fmla="*/ 861 w 1098"/>
                <a:gd name="T101" fmla="*/ 60 h 994"/>
                <a:gd name="T102" fmla="*/ 950 w 1098"/>
                <a:gd name="T103" fmla="*/ 95 h 994"/>
                <a:gd name="T104" fmla="*/ 946 w 1098"/>
                <a:gd name="T105" fmla="*/ 133 h 994"/>
                <a:gd name="T106" fmla="*/ 925 w 1098"/>
                <a:gd name="T107" fmla="*/ 187 h 994"/>
                <a:gd name="T108" fmla="*/ 910 w 1098"/>
                <a:gd name="T109" fmla="*/ 217 h 994"/>
                <a:gd name="T110" fmla="*/ 899 w 1098"/>
                <a:gd name="T111" fmla="*/ 256 h 994"/>
                <a:gd name="T112" fmla="*/ 970 w 1098"/>
                <a:gd name="T113" fmla="*/ 346 h 994"/>
                <a:gd name="T114" fmla="*/ 1022 w 1098"/>
                <a:gd name="T115" fmla="*/ 346 h 994"/>
                <a:gd name="T116" fmla="*/ 1060 w 1098"/>
                <a:gd name="T117" fmla="*/ 340 h 994"/>
                <a:gd name="T118" fmla="*/ 1087 w 1098"/>
                <a:gd name="T119" fmla="*/ 388 h 994"/>
                <a:gd name="T120" fmla="*/ 1092 w 1098"/>
                <a:gd name="T121" fmla="*/ 43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8" h="994">
                  <a:moveTo>
                    <a:pt x="1083" y="455"/>
                  </a:moveTo>
                  <a:lnTo>
                    <a:pt x="1078" y="459"/>
                  </a:lnTo>
                  <a:lnTo>
                    <a:pt x="1073" y="460"/>
                  </a:lnTo>
                  <a:lnTo>
                    <a:pt x="1070" y="465"/>
                  </a:lnTo>
                  <a:lnTo>
                    <a:pt x="1070" y="471"/>
                  </a:lnTo>
                  <a:lnTo>
                    <a:pt x="1073" y="485"/>
                  </a:lnTo>
                  <a:lnTo>
                    <a:pt x="1076" y="494"/>
                  </a:lnTo>
                  <a:lnTo>
                    <a:pt x="1090" y="514"/>
                  </a:lnTo>
                  <a:lnTo>
                    <a:pt x="1098" y="524"/>
                  </a:lnTo>
                  <a:lnTo>
                    <a:pt x="1095" y="529"/>
                  </a:lnTo>
                  <a:lnTo>
                    <a:pt x="1078" y="541"/>
                  </a:lnTo>
                  <a:lnTo>
                    <a:pt x="1068" y="545"/>
                  </a:lnTo>
                  <a:lnTo>
                    <a:pt x="1056" y="546"/>
                  </a:lnTo>
                  <a:lnTo>
                    <a:pt x="1044" y="546"/>
                  </a:lnTo>
                  <a:lnTo>
                    <a:pt x="1040" y="545"/>
                  </a:lnTo>
                  <a:lnTo>
                    <a:pt x="1031" y="547"/>
                  </a:lnTo>
                  <a:lnTo>
                    <a:pt x="1001" y="524"/>
                  </a:lnTo>
                  <a:lnTo>
                    <a:pt x="985" y="510"/>
                  </a:lnTo>
                  <a:lnTo>
                    <a:pt x="983" y="501"/>
                  </a:lnTo>
                  <a:lnTo>
                    <a:pt x="980" y="491"/>
                  </a:lnTo>
                  <a:lnTo>
                    <a:pt x="978" y="487"/>
                  </a:lnTo>
                  <a:lnTo>
                    <a:pt x="973" y="485"/>
                  </a:lnTo>
                  <a:lnTo>
                    <a:pt x="953" y="477"/>
                  </a:lnTo>
                  <a:lnTo>
                    <a:pt x="948" y="477"/>
                  </a:lnTo>
                  <a:lnTo>
                    <a:pt x="915" y="485"/>
                  </a:lnTo>
                  <a:lnTo>
                    <a:pt x="909" y="489"/>
                  </a:lnTo>
                  <a:lnTo>
                    <a:pt x="904" y="492"/>
                  </a:lnTo>
                  <a:lnTo>
                    <a:pt x="890" y="507"/>
                  </a:lnTo>
                  <a:lnTo>
                    <a:pt x="859" y="525"/>
                  </a:lnTo>
                  <a:lnTo>
                    <a:pt x="853" y="525"/>
                  </a:lnTo>
                  <a:lnTo>
                    <a:pt x="849" y="522"/>
                  </a:lnTo>
                  <a:lnTo>
                    <a:pt x="843" y="515"/>
                  </a:lnTo>
                  <a:lnTo>
                    <a:pt x="838" y="514"/>
                  </a:lnTo>
                  <a:lnTo>
                    <a:pt x="830" y="517"/>
                  </a:lnTo>
                  <a:lnTo>
                    <a:pt x="821" y="526"/>
                  </a:lnTo>
                  <a:lnTo>
                    <a:pt x="804" y="546"/>
                  </a:lnTo>
                  <a:lnTo>
                    <a:pt x="794" y="566"/>
                  </a:lnTo>
                  <a:lnTo>
                    <a:pt x="793" y="577"/>
                  </a:lnTo>
                  <a:lnTo>
                    <a:pt x="793" y="594"/>
                  </a:lnTo>
                  <a:lnTo>
                    <a:pt x="786" y="604"/>
                  </a:lnTo>
                  <a:lnTo>
                    <a:pt x="780" y="607"/>
                  </a:lnTo>
                  <a:lnTo>
                    <a:pt x="775" y="612"/>
                  </a:lnTo>
                  <a:lnTo>
                    <a:pt x="769" y="625"/>
                  </a:lnTo>
                  <a:lnTo>
                    <a:pt x="766" y="632"/>
                  </a:lnTo>
                  <a:lnTo>
                    <a:pt x="766" y="641"/>
                  </a:lnTo>
                  <a:lnTo>
                    <a:pt x="770" y="647"/>
                  </a:lnTo>
                  <a:lnTo>
                    <a:pt x="773" y="657"/>
                  </a:lnTo>
                  <a:lnTo>
                    <a:pt x="775" y="669"/>
                  </a:lnTo>
                  <a:lnTo>
                    <a:pt x="776" y="691"/>
                  </a:lnTo>
                  <a:lnTo>
                    <a:pt x="776" y="702"/>
                  </a:lnTo>
                  <a:lnTo>
                    <a:pt x="779" y="720"/>
                  </a:lnTo>
                  <a:lnTo>
                    <a:pt x="779" y="726"/>
                  </a:lnTo>
                  <a:lnTo>
                    <a:pt x="778" y="736"/>
                  </a:lnTo>
                  <a:lnTo>
                    <a:pt x="775" y="741"/>
                  </a:lnTo>
                  <a:lnTo>
                    <a:pt x="770" y="747"/>
                  </a:lnTo>
                  <a:lnTo>
                    <a:pt x="730" y="780"/>
                  </a:lnTo>
                  <a:lnTo>
                    <a:pt x="696" y="791"/>
                  </a:lnTo>
                  <a:lnTo>
                    <a:pt x="691" y="791"/>
                  </a:lnTo>
                  <a:lnTo>
                    <a:pt x="686" y="790"/>
                  </a:lnTo>
                  <a:lnTo>
                    <a:pt x="674" y="785"/>
                  </a:lnTo>
                  <a:lnTo>
                    <a:pt x="671" y="782"/>
                  </a:lnTo>
                  <a:lnTo>
                    <a:pt x="666" y="776"/>
                  </a:lnTo>
                  <a:lnTo>
                    <a:pt x="664" y="770"/>
                  </a:lnTo>
                  <a:lnTo>
                    <a:pt x="666" y="762"/>
                  </a:lnTo>
                  <a:lnTo>
                    <a:pt x="665" y="755"/>
                  </a:lnTo>
                  <a:lnTo>
                    <a:pt x="661" y="750"/>
                  </a:lnTo>
                  <a:lnTo>
                    <a:pt x="655" y="747"/>
                  </a:lnTo>
                  <a:lnTo>
                    <a:pt x="645" y="749"/>
                  </a:lnTo>
                  <a:lnTo>
                    <a:pt x="636" y="742"/>
                  </a:lnTo>
                  <a:lnTo>
                    <a:pt x="628" y="742"/>
                  </a:lnTo>
                  <a:lnTo>
                    <a:pt x="619" y="746"/>
                  </a:lnTo>
                  <a:lnTo>
                    <a:pt x="615" y="750"/>
                  </a:lnTo>
                  <a:lnTo>
                    <a:pt x="605" y="752"/>
                  </a:lnTo>
                  <a:lnTo>
                    <a:pt x="605" y="756"/>
                  </a:lnTo>
                  <a:lnTo>
                    <a:pt x="603" y="761"/>
                  </a:lnTo>
                  <a:lnTo>
                    <a:pt x="574" y="779"/>
                  </a:lnTo>
                  <a:lnTo>
                    <a:pt x="553" y="795"/>
                  </a:lnTo>
                  <a:lnTo>
                    <a:pt x="539" y="802"/>
                  </a:lnTo>
                  <a:lnTo>
                    <a:pt x="530" y="805"/>
                  </a:lnTo>
                  <a:lnTo>
                    <a:pt x="513" y="809"/>
                  </a:lnTo>
                  <a:lnTo>
                    <a:pt x="497" y="814"/>
                  </a:lnTo>
                  <a:lnTo>
                    <a:pt x="494" y="814"/>
                  </a:lnTo>
                  <a:lnTo>
                    <a:pt x="490" y="811"/>
                  </a:lnTo>
                  <a:lnTo>
                    <a:pt x="481" y="802"/>
                  </a:lnTo>
                  <a:lnTo>
                    <a:pt x="476" y="800"/>
                  </a:lnTo>
                  <a:lnTo>
                    <a:pt x="473" y="799"/>
                  </a:lnTo>
                  <a:lnTo>
                    <a:pt x="466" y="800"/>
                  </a:lnTo>
                  <a:lnTo>
                    <a:pt x="456" y="806"/>
                  </a:lnTo>
                  <a:lnTo>
                    <a:pt x="443" y="824"/>
                  </a:lnTo>
                  <a:lnTo>
                    <a:pt x="419" y="845"/>
                  </a:lnTo>
                  <a:lnTo>
                    <a:pt x="413" y="849"/>
                  </a:lnTo>
                  <a:lnTo>
                    <a:pt x="401" y="850"/>
                  </a:lnTo>
                  <a:lnTo>
                    <a:pt x="395" y="852"/>
                  </a:lnTo>
                  <a:lnTo>
                    <a:pt x="389" y="857"/>
                  </a:lnTo>
                  <a:lnTo>
                    <a:pt x="373" y="872"/>
                  </a:lnTo>
                  <a:lnTo>
                    <a:pt x="366" y="881"/>
                  </a:lnTo>
                  <a:lnTo>
                    <a:pt x="351" y="915"/>
                  </a:lnTo>
                  <a:lnTo>
                    <a:pt x="334" y="937"/>
                  </a:lnTo>
                  <a:lnTo>
                    <a:pt x="313" y="961"/>
                  </a:lnTo>
                  <a:lnTo>
                    <a:pt x="310" y="966"/>
                  </a:lnTo>
                  <a:lnTo>
                    <a:pt x="303" y="992"/>
                  </a:lnTo>
                  <a:lnTo>
                    <a:pt x="295" y="994"/>
                  </a:lnTo>
                  <a:lnTo>
                    <a:pt x="290" y="994"/>
                  </a:lnTo>
                  <a:lnTo>
                    <a:pt x="231" y="976"/>
                  </a:lnTo>
                  <a:lnTo>
                    <a:pt x="186" y="954"/>
                  </a:lnTo>
                  <a:lnTo>
                    <a:pt x="193" y="945"/>
                  </a:lnTo>
                  <a:lnTo>
                    <a:pt x="200" y="936"/>
                  </a:lnTo>
                  <a:lnTo>
                    <a:pt x="204" y="931"/>
                  </a:lnTo>
                  <a:lnTo>
                    <a:pt x="209" y="922"/>
                  </a:lnTo>
                  <a:lnTo>
                    <a:pt x="243" y="877"/>
                  </a:lnTo>
                  <a:lnTo>
                    <a:pt x="244" y="872"/>
                  </a:lnTo>
                  <a:lnTo>
                    <a:pt x="244" y="866"/>
                  </a:lnTo>
                  <a:lnTo>
                    <a:pt x="241" y="857"/>
                  </a:lnTo>
                  <a:lnTo>
                    <a:pt x="241" y="854"/>
                  </a:lnTo>
                  <a:lnTo>
                    <a:pt x="247" y="846"/>
                  </a:lnTo>
                  <a:lnTo>
                    <a:pt x="250" y="837"/>
                  </a:lnTo>
                  <a:lnTo>
                    <a:pt x="251" y="829"/>
                  </a:lnTo>
                  <a:lnTo>
                    <a:pt x="250" y="819"/>
                  </a:lnTo>
                  <a:lnTo>
                    <a:pt x="246" y="811"/>
                  </a:lnTo>
                  <a:lnTo>
                    <a:pt x="229" y="800"/>
                  </a:lnTo>
                  <a:lnTo>
                    <a:pt x="225" y="794"/>
                  </a:lnTo>
                  <a:lnTo>
                    <a:pt x="224" y="780"/>
                  </a:lnTo>
                  <a:lnTo>
                    <a:pt x="224" y="770"/>
                  </a:lnTo>
                  <a:lnTo>
                    <a:pt x="223" y="759"/>
                  </a:lnTo>
                  <a:lnTo>
                    <a:pt x="220" y="754"/>
                  </a:lnTo>
                  <a:lnTo>
                    <a:pt x="219" y="744"/>
                  </a:lnTo>
                  <a:lnTo>
                    <a:pt x="220" y="734"/>
                  </a:lnTo>
                  <a:lnTo>
                    <a:pt x="219" y="729"/>
                  </a:lnTo>
                  <a:lnTo>
                    <a:pt x="181" y="717"/>
                  </a:lnTo>
                  <a:lnTo>
                    <a:pt x="172" y="709"/>
                  </a:lnTo>
                  <a:lnTo>
                    <a:pt x="171" y="704"/>
                  </a:lnTo>
                  <a:lnTo>
                    <a:pt x="174" y="694"/>
                  </a:lnTo>
                  <a:lnTo>
                    <a:pt x="174" y="684"/>
                  </a:lnTo>
                  <a:lnTo>
                    <a:pt x="171" y="669"/>
                  </a:lnTo>
                  <a:lnTo>
                    <a:pt x="172" y="660"/>
                  </a:lnTo>
                  <a:lnTo>
                    <a:pt x="172" y="657"/>
                  </a:lnTo>
                  <a:lnTo>
                    <a:pt x="166" y="654"/>
                  </a:lnTo>
                  <a:lnTo>
                    <a:pt x="157" y="650"/>
                  </a:lnTo>
                  <a:lnTo>
                    <a:pt x="142" y="650"/>
                  </a:lnTo>
                  <a:lnTo>
                    <a:pt x="134" y="651"/>
                  </a:lnTo>
                  <a:lnTo>
                    <a:pt x="126" y="652"/>
                  </a:lnTo>
                  <a:lnTo>
                    <a:pt x="115" y="657"/>
                  </a:lnTo>
                  <a:lnTo>
                    <a:pt x="91" y="647"/>
                  </a:lnTo>
                  <a:lnTo>
                    <a:pt x="70" y="634"/>
                  </a:lnTo>
                  <a:lnTo>
                    <a:pt x="75" y="624"/>
                  </a:lnTo>
                  <a:lnTo>
                    <a:pt x="65" y="605"/>
                  </a:lnTo>
                  <a:lnTo>
                    <a:pt x="74" y="582"/>
                  </a:lnTo>
                  <a:lnTo>
                    <a:pt x="79" y="575"/>
                  </a:lnTo>
                  <a:lnTo>
                    <a:pt x="86" y="569"/>
                  </a:lnTo>
                  <a:lnTo>
                    <a:pt x="112" y="561"/>
                  </a:lnTo>
                  <a:lnTo>
                    <a:pt x="119" y="551"/>
                  </a:lnTo>
                  <a:lnTo>
                    <a:pt x="132" y="510"/>
                  </a:lnTo>
                  <a:lnTo>
                    <a:pt x="132" y="497"/>
                  </a:lnTo>
                  <a:lnTo>
                    <a:pt x="129" y="485"/>
                  </a:lnTo>
                  <a:lnTo>
                    <a:pt x="111" y="461"/>
                  </a:lnTo>
                  <a:lnTo>
                    <a:pt x="84" y="451"/>
                  </a:lnTo>
                  <a:lnTo>
                    <a:pt x="74" y="436"/>
                  </a:lnTo>
                  <a:lnTo>
                    <a:pt x="68" y="386"/>
                  </a:lnTo>
                  <a:lnTo>
                    <a:pt x="46" y="367"/>
                  </a:lnTo>
                  <a:lnTo>
                    <a:pt x="20" y="369"/>
                  </a:lnTo>
                  <a:lnTo>
                    <a:pt x="7" y="365"/>
                  </a:lnTo>
                  <a:lnTo>
                    <a:pt x="0" y="351"/>
                  </a:lnTo>
                  <a:lnTo>
                    <a:pt x="2" y="341"/>
                  </a:lnTo>
                  <a:lnTo>
                    <a:pt x="43" y="264"/>
                  </a:lnTo>
                  <a:lnTo>
                    <a:pt x="43" y="252"/>
                  </a:lnTo>
                  <a:lnTo>
                    <a:pt x="41" y="241"/>
                  </a:lnTo>
                  <a:lnTo>
                    <a:pt x="22" y="206"/>
                  </a:lnTo>
                  <a:lnTo>
                    <a:pt x="89" y="110"/>
                  </a:lnTo>
                  <a:lnTo>
                    <a:pt x="79" y="74"/>
                  </a:lnTo>
                  <a:lnTo>
                    <a:pt x="122" y="71"/>
                  </a:lnTo>
                  <a:lnTo>
                    <a:pt x="146" y="59"/>
                  </a:lnTo>
                  <a:lnTo>
                    <a:pt x="175" y="67"/>
                  </a:lnTo>
                  <a:lnTo>
                    <a:pt x="196" y="67"/>
                  </a:lnTo>
                  <a:lnTo>
                    <a:pt x="206" y="57"/>
                  </a:lnTo>
                  <a:lnTo>
                    <a:pt x="282" y="135"/>
                  </a:lnTo>
                  <a:lnTo>
                    <a:pt x="296" y="102"/>
                  </a:lnTo>
                  <a:lnTo>
                    <a:pt x="311" y="99"/>
                  </a:lnTo>
                  <a:lnTo>
                    <a:pt x="330" y="140"/>
                  </a:lnTo>
                  <a:lnTo>
                    <a:pt x="396" y="101"/>
                  </a:lnTo>
                  <a:lnTo>
                    <a:pt x="462" y="111"/>
                  </a:lnTo>
                  <a:lnTo>
                    <a:pt x="439" y="45"/>
                  </a:lnTo>
                  <a:lnTo>
                    <a:pt x="477" y="50"/>
                  </a:lnTo>
                  <a:lnTo>
                    <a:pt x="474" y="60"/>
                  </a:lnTo>
                  <a:lnTo>
                    <a:pt x="495" y="91"/>
                  </a:lnTo>
                  <a:lnTo>
                    <a:pt x="553" y="83"/>
                  </a:lnTo>
                  <a:lnTo>
                    <a:pt x="575" y="97"/>
                  </a:lnTo>
                  <a:lnTo>
                    <a:pt x="618" y="101"/>
                  </a:lnTo>
                  <a:lnTo>
                    <a:pt x="634" y="72"/>
                  </a:lnTo>
                  <a:lnTo>
                    <a:pt x="766" y="0"/>
                  </a:lnTo>
                  <a:lnTo>
                    <a:pt x="774" y="1"/>
                  </a:lnTo>
                  <a:lnTo>
                    <a:pt x="777" y="9"/>
                  </a:lnTo>
                  <a:lnTo>
                    <a:pt x="780" y="11"/>
                  </a:lnTo>
                  <a:lnTo>
                    <a:pt x="784" y="12"/>
                  </a:lnTo>
                  <a:lnTo>
                    <a:pt x="786" y="17"/>
                  </a:lnTo>
                  <a:lnTo>
                    <a:pt x="791" y="20"/>
                  </a:lnTo>
                  <a:lnTo>
                    <a:pt x="794" y="22"/>
                  </a:lnTo>
                  <a:lnTo>
                    <a:pt x="795" y="33"/>
                  </a:lnTo>
                  <a:lnTo>
                    <a:pt x="796" y="38"/>
                  </a:lnTo>
                  <a:lnTo>
                    <a:pt x="808" y="38"/>
                  </a:lnTo>
                  <a:lnTo>
                    <a:pt x="814" y="36"/>
                  </a:lnTo>
                  <a:lnTo>
                    <a:pt x="819" y="36"/>
                  </a:lnTo>
                  <a:lnTo>
                    <a:pt x="830" y="40"/>
                  </a:lnTo>
                  <a:lnTo>
                    <a:pt x="856" y="57"/>
                  </a:lnTo>
                  <a:lnTo>
                    <a:pt x="861" y="60"/>
                  </a:lnTo>
                  <a:lnTo>
                    <a:pt x="871" y="60"/>
                  </a:lnTo>
                  <a:lnTo>
                    <a:pt x="945" y="83"/>
                  </a:lnTo>
                  <a:lnTo>
                    <a:pt x="949" y="90"/>
                  </a:lnTo>
                  <a:lnTo>
                    <a:pt x="950" y="95"/>
                  </a:lnTo>
                  <a:lnTo>
                    <a:pt x="946" y="106"/>
                  </a:lnTo>
                  <a:lnTo>
                    <a:pt x="945" y="117"/>
                  </a:lnTo>
                  <a:lnTo>
                    <a:pt x="945" y="128"/>
                  </a:lnTo>
                  <a:lnTo>
                    <a:pt x="946" y="133"/>
                  </a:lnTo>
                  <a:lnTo>
                    <a:pt x="945" y="143"/>
                  </a:lnTo>
                  <a:lnTo>
                    <a:pt x="936" y="170"/>
                  </a:lnTo>
                  <a:lnTo>
                    <a:pt x="932" y="180"/>
                  </a:lnTo>
                  <a:lnTo>
                    <a:pt x="925" y="187"/>
                  </a:lnTo>
                  <a:lnTo>
                    <a:pt x="919" y="196"/>
                  </a:lnTo>
                  <a:lnTo>
                    <a:pt x="916" y="201"/>
                  </a:lnTo>
                  <a:lnTo>
                    <a:pt x="912" y="212"/>
                  </a:lnTo>
                  <a:lnTo>
                    <a:pt x="910" y="217"/>
                  </a:lnTo>
                  <a:lnTo>
                    <a:pt x="905" y="228"/>
                  </a:lnTo>
                  <a:lnTo>
                    <a:pt x="902" y="232"/>
                  </a:lnTo>
                  <a:lnTo>
                    <a:pt x="899" y="248"/>
                  </a:lnTo>
                  <a:lnTo>
                    <a:pt x="899" y="256"/>
                  </a:lnTo>
                  <a:lnTo>
                    <a:pt x="902" y="267"/>
                  </a:lnTo>
                  <a:lnTo>
                    <a:pt x="906" y="275"/>
                  </a:lnTo>
                  <a:lnTo>
                    <a:pt x="960" y="338"/>
                  </a:lnTo>
                  <a:lnTo>
                    <a:pt x="970" y="346"/>
                  </a:lnTo>
                  <a:lnTo>
                    <a:pt x="976" y="350"/>
                  </a:lnTo>
                  <a:lnTo>
                    <a:pt x="992" y="350"/>
                  </a:lnTo>
                  <a:lnTo>
                    <a:pt x="1007" y="346"/>
                  </a:lnTo>
                  <a:lnTo>
                    <a:pt x="1022" y="346"/>
                  </a:lnTo>
                  <a:lnTo>
                    <a:pt x="1032" y="343"/>
                  </a:lnTo>
                  <a:lnTo>
                    <a:pt x="1041" y="338"/>
                  </a:lnTo>
                  <a:lnTo>
                    <a:pt x="1049" y="336"/>
                  </a:lnTo>
                  <a:lnTo>
                    <a:pt x="1060" y="340"/>
                  </a:lnTo>
                  <a:lnTo>
                    <a:pt x="1066" y="345"/>
                  </a:lnTo>
                  <a:lnTo>
                    <a:pt x="1085" y="376"/>
                  </a:lnTo>
                  <a:lnTo>
                    <a:pt x="1087" y="382"/>
                  </a:lnTo>
                  <a:lnTo>
                    <a:pt x="1087" y="388"/>
                  </a:lnTo>
                  <a:lnTo>
                    <a:pt x="1085" y="398"/>
                  </a:lnTo>
                  <a:lnTo>
                    <a:pt x="1085" y="405"/>
                  </a:lnTo>
                  <a:lnTo>
                    <a:pt x="1092" y="426"/>
                  </a:lnTo>
                  <a:lnTo>
                    <a:pt x="1092" y="430"/>
                  </a:lnTo>
                  <a:lnTo>
                    <a:pt x="1089" y="438"/>
                  </a:lnTo>
                  <a:lnTo>
                    <a:pt x="1087" y="450"/>
                  </a:lnTo>
                  <a:lnTo>
                    <a:pt x="1083" y="455"/>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22" name="Alicante" descr="{&quot;Key&quot;:&quot;alicante&quot;,&quot;Name&quot;:&quot;Alicante&quot;,&quot;Value&quot;:1.0,&quot;Formula&quot;:&quot;&quot;,&quot;Text&quot;:&quot;1&quot;,&quot;HasValue&quot;:true}">
              <a:extLst>
                <a:ext uri="{FF2B5EF4-FFF2-40B4-BE49-F238E27FC236}">
                  <a16:creationId xmlns:a16="http://schemas.microsoft.com/office/drawing/2014/main" id="{1461753B-5635-5C6C-6DB8-C10B34EF7A4A}"/>
                </a:ext>
              </a:extLst>
            </p:cNvPr>
            <p:cNvSpPr>
              <a:spLocks/>
            </p:cNvSpPr>
            <p:nvPr/>
          </p:nvSpPr>
          <p:spPr bwMode="auto">
            <a:xfrm>
              <a:off x="4301845" y="4437620"/>
              <a:ext cx="504371" cy="508621"/>
            </a:xfrm>
            <a:custGeom>
              <a:avLst/>
              <a:gdLst>
                <a:gd name="T0" fmla="*/ 162 w 731"/>
                <a:gd name="T1" fmla="*/ 734 h 736"/>
                <a:gd name="T2" fmla="*/ 140 w 731"/>
                <a:gd name="T3" fmla="*/ 721 h 736"/>
                <a:gd name="T4" fmla="*/ 108 w 731"/>
                <a:gd name="T5" fmla="*/ 690 h 736"/>
                <a:gd name="T6" fmla="*/ 82 w 731"/>
                <a:gd name="T7" fmla="*/ 654 h 736"/>
                <a:gd name="T8" fmla="*/ 65 w 731"/>
                <a:gd name="T9" fmla="*/ 625 h 736"/>
                <a:gd name="T10" fmla="*/ 35 w 731"/>
                <a:gd name="T11" fmla="*/ 577 h 736"/>
                <a:gd name="T12" fmla="*/ 28 w 731"/>
                <a:gd name="T13" fmla="*/ 544 h 736"/>
                <a:gd name="T14" fmla="*/ 50 w 731"/>
                <a:gd name="T15" fmla="*/ 499 h 736"/>
                <a:gd name="T16" fmla="*/ 60 w 731"/>
                <a:gd name="T17" fmla="*/ 460 h 736"/>
                <a:gd name="T18" fmla="*/ 63 w 731"/>
                <a:gd name="T19" fmla="*/ 435 h 736"/>
                <a:gd name="T20" fmla="*/ 40 w 731"/>
                <a:gd name="T21" fmla="*/ 390 h 736"/>
                <a:gd name="T22" fmla="*/ 3 w 731"/>
                <a:gd name="T23" fmla="*/ 379 h 736"/>
                <a:gd name="T24" fmla="*/ 0 w 731"/>
                <a:gd name="T25" fmla="*/ 332 h 736"/>
                <a:gd name="T26" fmla="*/ 8 w 731"/>
                <a:gd name="T27" fmla="*/ 309 h 736"/>
                <a:gd name="T28" fmla="*/ 37 w 731"/>
                <a:gd name="T29" fmla="*/ 274 h 736"/>
                <a:gd name="T30" fmla="*/ 43 w 731"/>
                <a:gd name="T31" fmla="*/ 226 h 736"/>
                <a:gd name="T32" fmla="*/ 42 w 731"/>
                <a:gd name="T33" fmla="*/ 160 h 736"/>
                <a:gd name="T34" fmla="*/ 70 w 731"/>
                <a:gd name="T35" fmla="*/ 160 h 736"/>
                <a:gd name="T36" fmla="*/ 100 w 731"/>
                <a:gd name="T37" fmla="*/ 139 h 736"/>
                <a:gd name="T38" fmla="*/ 75 w 731"/>
                <a:gd name="T39" fmla="*/ 100 h 736"/>
                <a:gd name="T40" fmla="*/ 75 w 731"/>
                <a:gd name="T41" fmla="*/ 75 h 736"/>
                <a:gd name="T42" fmla="*/ 92 w 731"/>
                <a:gd name="T43" fmla="*/ 79 h 736"/>
                <a:gd name="T44" fmla="*/ 115 w 731"/>
                <a:gd name="T45" fmla="*/ 77 h 736"/>
                <a:gd name="T46" fmla="*/ 140 w 731"/>
                <a:gd name="T47" fmla="*/ 97 h 736"/>
                <a:gd name="T48" fmla="*/ 196 w 731"/>
                <a:gd name="T49" fmla="*/ 92 h 736"/>
                <a:gd name="T50" fmla="*/ 260 w 731"/>
                <a:gd name="T51" fmla="*/ 135 h 736"/>
                <a:gd name="T52" fmla="*/ 305 w 731"/>
                <a:gd name="T53" fmla="*/ 86 h 736"/>
                <a:gd name="T54" fmla="*/ 271 w 731"/>
                <a:gd name="T55" fmla="*/ 62 h 736"/>
                <a:gd name="T56" fmla="*/ 472 w 731"/>
                <a:gd name="T57" fmla="*/ 21 h 736"/>
                <a:gd name="T58" fmla="*/ 610 w 731"/>
                <a:gd name="T59" fmla="*/ 14 h 736"/>
                <a:gd name="T60" fmla="*/ 686 w 731"/>
                <a:gd name="T61" fmla="*/ 37 h 736"/>
                <a:gd name="T62" fmla="*/ 702 w 731"/>
                <a:gd name="T63" fmla="*/ 65 h 736"/>
                <a:gd name="T64" fmla="*/ 727 w 731"/>
                <a:gd name="T65" fmla="*/ 80 h 736"/>
                <a:gd name="T66" fmla="*/ 727 w 731"/>
                <a:gd name="T67" fmla="*/ 106 h 736"/>
                <a:gd name="T68" fmla="*/ 698 w 731"/>
                <a:gd name="T69" fmla="*/ 114 h 736"/>
                <a:gd name="T70" fmla="*/ 681 w 731"/>
                <a:gd name="T71" fmla="*/ 140 h 736"/>
                <a:gd name="T72" fmla="*/ 658 w 731"/>
                <a:gd name="T73" fmla="*/ 150 h 736"/>
                <a:gd name="T74" fmla="*/ 641 w 731"/>
                <a:gd name="T75" fmla="*/ 170 h 736"/>
                <a:gd name="T76" fmla="*/ 626 w 731"/>
                <a:gd name="T77" fmla="*/ 179 h 736"/>
                <a:gd name="T78" fmla="*/ 592 w 731"/>
                <a:gd name="T79" fmla="*/ 184 h 736"/>
                <a:gd name="T80" fmla="*/ 570 w 731"/>
                <a:gd name="T81" fmla="*/ 205 h 736"/>
                <a:gd name="T82" fmla="*/ 567 w 731"/>
                <a:gd name="T83" fmla="*/ 235 h 736"/>
                <a:gd name="T84" fmla="*/ 527 w 731"/>
                <a:gd name="T85" fmla="*/ 247 h 736"/>
                <a:gd name="T86" fmla="*/ 471 w 731"/>
                <a:gd name="T87" fmla="*/ 271 h 736"/>
                <a:gd name="T88" fmla="*/ 406 w 731"/>
                <a:gd name="T89" fmla="*/ 307 h 736"/>
                <a:gd name="T90" fmla="*/ 376 w 731"/>
                <a:gd name="T91" fmla="*/ 344 h 736"/>
                <a:gd name="T92" fmla="*/ 371 w 731"/>
                <a:gd name="T93" fmla="*/ 369 h 736"/>
                <a:gd name="T94" fmla="*/ 340 w 731"/>
                <a:gd name="T95" fmla="*/ 377 h 736"/>
                <a:gd name="T96" fmla="*/ 313 w 731"/>
                <a:gd name="T97" fmla="*/ 415 h 736"/>
                <a:gd name="T98" fmla="*/ 305 w 731"/>
                <a:gd name="T99" fmla="*/ 490 h 736"/>
                <a:gd name="T100" fmla="*/ 262 w 731"/>
                <a:gd name="T101" fmla="*/ 500 h 736"/>
                <a:gd name="T102" fmla="*/ 245 w 731"/>
                <a:gd name="T103" fmla="*/ 532 h 736"/>
                <a:gd name="T104" fmla="*/ 237 w 731"/>
                <a:gd name="T105" fmla="*/ 634 h 736"/>
                <a:gd name="T106" fmla="*/ 207 w 731"/>
                <a:gd name="T107" fmla="*/ 656 h 736"/>
                <a:gd name="T108" fmla="*/ 178 w 731"/>
                <a:gd name="T109" fmla="*/ 734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1" h="736">
                  <a:moveTo>
                    <a:pt x="178" y="734"/>
                  </a:moveTo>
                  <a:lnTo>
                    <a:pt x="168" y="736"/>
                  </a:lnTo>
                  <a:lnTo>
                    <a:pt x="162" y="734"/>
                  </a:lnTo>
                  <a:lnTo>
                    <a:pt x="155" y="726"/>
                  </a:lnTo>
                  <a:lnTo>
                    <a:pt x="150" y="724"/>
                  </a:lnTo>
                  <a:lnTo>
                    <a:pt x="140" y="721"/>
                  </a:lnTo>
                  <a:lnTo>
                    <a:pt x="136" y="719"/>
                  </a:lnTo>
                  <a:lnTo>
                    <a:pt x="112" y="694"/>
                  </a:lnTo>
                  <a:lnTo>
                    <a:pt x="108" y="690"/>
                  </a:lnTo>
                  <a:lnTo>
                    <a:pt x="92" y="672"/>
                  </a:lnTo>
                  <a:lnTo>
                    <a:pt x="88" y="667"/>
                  </a:lnTo>
                  <a:lnTo>
                    <a:pt x="82" y="654"/>
                  </a:lnTo>
                  <a:lnTo>
                    <a:pt x="75" y="641"/>
                  </a:lnTo>
                  <a:lnTo>
                    <a:pt x="71" y="636"/>
                  </a:lnTo>
                  <a:lnTo>
                    <a:pt x="65" y="625"/>
                  </a:lnTo>
                  <a:lnTo>
                    <a:pt x="56" y="607"/>
                  </a:lnTo>
                  <a:lnTo>
                    <a:pt x="45" y="589"/>
                  </a:lnTo>
                  <a:lnTo>
                    <a:pt x="35" y="577"/>
                  </a:lnTo>
                  <a:lnTo>
                    <a:pt x="32" y="570"/>
                  </a:lnTo>
                  <a:lnTo>
                    <a:pt x="28" y="557"/>
                  </a:lnTo>
                  <a:lnTo>
                    <a:pt x="28" y="544"/>
                  </a:lnTo>
                  <a:lnTo>
                    <a:pt x="31" y="530"/>
                  </a:lnTo>
                  <a:lnTo>
                    <a:pt x="33" y="522"/>
                  </a:lnTo>
                  <a:lnTo>
                    <a:pt x="50" y="499"/>
                  </a:lnTo>
                  <a:lnTo>
                    <a:pt x="53" y="487"/>
                  </a:lnTo>
                  <a:lnTo>
                    <a:pt x="56" y="482"/>
                  </a:lnTo>
                  <a:lnTo>
                    <a:pt x="60" y="460"/>
                  </a:lnTo>
                  <a:lnTo>
                    <a:pt x="61" y="455"/>
                  </a:lnTo>
                  <a:lnTo>
                    <a:pt x="63" y="444"/>
                  </a:lnTo>
                  <a:lnTo>
                    <a:pt x="63" y="435"/>
                  </a:lnTo>
                  <a:lnTo>
                    <a:pt x="55" y="406"/>
                  </a:lnTo>
                  <a:lnTo>
                    <a:pt x="50" y="396"/>
                  </a:lnTo>
                  <a:lnTo>
                    <a:pt x="40" y="390"/>
                  </a:lnTo>
                  <a:lnTo>
                    <a:pt x="20" y="382"/>
                  </a:lnTo>
                  <a:lnTo>
                    <a:pt x="8" y="381"/>
                  </a:lnTo>
                  <a:lnTo>
                    <a:pt x="3" y="379"/>
                  </a:lnTo>
                  <a:lnTo>
                    <a:pt x="1" y="372"/>
                  </a:lnTo>
                  <a:lnTo>
                    <a:pt x="0" y="361"/>
                  </a:lnTo>
                  <a:lnTo>
                    <a:pt x="0" y="332"/>
                  </a:lnTo>
                  <a:lnTo>
                    <a:pt x="1" y="321"/>
                  </a:lnTo>
                  <a:lnTo>
                    <a:pt x="5" y="314"/>
                  </a:lnTo>
                  <a:lnTo>
                    <a:pt x="8" y="309"/>
                  </a:lnTo>
                  <a:lnTo>
                    <a:pt x="30" y="289"/>
                  </a:lnTo>
                  <a:lnTo>
                    <a:pt x="33" y="284"/>
                  </a:lnTo>
                  <a:lnTo>
                    <a:pt x="37" y="274"/>
                  </a:lnTo>
                  <a:lnTo>
                    <a:pt x="36" y="257"/>
                  </a:lnTo>
                  <a:lnTo>
                    <a:pt x="37" y="246"/>
                  </a:lnTo>
                  <a:lnTo>
                    <a:pt x="43" y="226"/>
                  </a:lnTo>
                  <a:lnTo>
                    <a:pt x="43" y="209"/>
                  </a:lnTo>
                  <a:lnTo>
                    <a:pt x="33" y="162"/>
                  </a:lnTo>
                  <a:lnTo>
                    <a:pt x="42" y="160"/>
                  </a:lnTo>
                  <a:lnTo>
                    <a:pt x="46" y="161"/>
                  </a:lnTo>
                  <a:lnTo>
                    <a:pt x="58" y="161"/>
                  </a:lnTo>
                  <a:lnTo>
                    <a:pt x="70" y="160"/>
                  </a:lnTo>
                  <a:lnTo>
                    <a:pt x="80" y="156"/>
                  </a:lnTo>
                  <a:lnTo>
                    <a:pt x="97" y="144"/>
                  </a:lnTo>
                  <a:lnTo>
                    <a:pt x="100" y="139"/>
                  </a:lnTo>
                  <a:lnTo>
                    <a:pt x="92" y="129"/>
                  </a:lnTo>
                  <a:lnTo>
                    <a:pt x="78" y="109"/>
                  </a:lnTo>
                  <a:lnTo>
                    <a:pt x="75" y="100"/>
                  </a:lnTo>
                  <a:lnTo>
                    <a:pt x="72" y="86"/>
                  </a:lnTo>
                  <a:lnTo>
                    <a:pt x="72" y="80"/>
                  </a:lnTo>
                  <a:lnTo>
                    <a:pt x="75" y="75"/>
                  </a:lnTo>
                  <a:lnTo>
                    <a:pt x="80" y="74"/>
                  </a:lnTo>
                  <a:lnTo>
                    <a:pt x="85" y="70"/>
                  </a:lnTo>
                  <a:lnTo>
                    <a:pt x="92" y="79"/>
                  </a:lnTo>
                  <a:lnTo>
                    <a:pt x="97" y="80"/>
                  </a:lnTo>
                  <a:lnTo>
                    <a:pt x="102" y="81"/>
                  </a:lnTo>
                  <a:lnTo>
                    <a:pt x="115" y="77"/>
                  </a:lnTo>
                  <a:lnTo>
                    <a:pt x="120" y="77"/>
                  </a:lnTo>
                  <a:lnTo>
                    <a:pt x="125" y="81"/>
                  </a:lnTo>
                  <a:lnTo>
                    <a:pt x="140" y="97"/>
                  </a:lnTo>
                  <a:lnTo>
                    <a:pt x="148" y="101"/>
                  </a:lnTo>
                  <a:lnTo>
                    <a:pt x="186" y="91"/>
                  </a:lnTo>
                  <a:lnTo>
                    <a:pt x="196" y="92"/>
                  </a:lnTo>
                  <a:lnTo>
                    <a:pt x="240" y="117"/>
                  </a:lnTo>
                  <a:lnTo>
                    <a:pt x="248" y="129"/>
                  </a:lnTo>
                  <a:lnTo>
                    <a:pt x="260" y="135"/>
                  </a:lnTo>
                  <a:lnTo>
                    <a:pt x="320" y="100"/>
                  </a:lnTo>
                  <a:lnTo>
                    <a:pt x="312" y="90"/>
                  </a:lnTo>
                  <a:lnTo>
                    <a:pt x="305" y="86"/>
                  </a:lnTo>
                  <a:lnTo>
                    <a:pt x="297" y="87"/>
                  </a:lnTo>
                  <a:lnTo>
                    <a:pt x="287" y="91"/>
                  </a:lnTo>
                  <a:lnTo>
                    <a:pt x="271" y="62"/>
                  </a:lnTo>
                  <a:lnTo>
                    <a:pt x="370" y="46"/>
                  </a:lnTo>
                  <a:lnTo>
                    <a:pt x="428" y="1"/>
                  </a:lnTo>
                  <a:lnTo>
                    <a:pt x="472" y="21"/>
                  </a:lnTo>
                  <a:lnTo>
                    <a:pt x="583" y="0"/>
                  </a:lnTo>
                  <a:lnTo>
                    <a:pt x="595" y="10"/>
                  </a:lnTo>
                  <a:lnTo>
                    <a:pt x="610" y="14"/>
                  </a:lnTo>
                  <a:lnTo>
                    <a:pt x="636" y="16"/>
                  </a:lnTo>
                  <a:lnTo>
                    <a:pt x="662" y="24"/>
                  </a:lnTo>
                  <a:lnTo>
                    <a:pt x="686" y="37"/>
                  </a:lnTo>
                  <a:lnTo>
                    <a:pt x="703" y="56"/>
                  </a:lnTo>
                  <a:lnTo>
                    <a:pt x="695" y="62"/>
                  </a:lnTo>
                  <a:lnTo>
                    <a:pt x="702" y="65"/>
                  </a:lnTo>
                  <a:lnTo>
                    <a:pt x="706" y="70"/>
                  </a:lnTo>
                  <a:lnTo>
                    <a:pt x="721" y="82"/>
                  </a:lnTo>
                  <a:lnTo>
                    <a:pt x="727" y="80"/>
                  </a:lnTo>
                  <a:lnTo>
                    <a:pt x="730" y="89"/>
                  </a:lnTo>
                  <a:lnTo>
                    <a:pt x="731" y="100"/>
                  </a:lnTo>
                  <a:lnTo>
                    <a:pt x="727" y="106"/>
                  </a:lnTo>
                  <a:lnTo>
                    <a:pt x="716" y="106"/>
                  </a:lnTo>
                  <a:lnTo>
                    <a:pt x="707" y="109"/>
                  </a:lnTo>
                  <a:lnTo>
                    <a:pt x="698" y="114"/>
                  </a:lnTo>
                  <a:lnTo>
                    <a:pt x="691" y="121"/>
                  </a:lnTo>
                  <a:lnTo>
                    <a:pt x="685" y="136"/>
                  </a:lnTo>
                  <a:lnTo>
                    <a:pt x="681" y="140"/>
                  </a:lnTo>
                  <a:lnTo>
                    <a:pt x="670" y="141"/>
                  </a:lnTo>
                  <a:lnTo>
                    <a:pt x="666" y="142"/>
                  </a:lnTo>
                  <a:lnTo>
                    <a:pt x="658" y="150"/>
                  </a:lnTo>
                  <a:lnTo>
                    <a:pt x="652" y="154"/>
                  </a:lnTo>
                  <a:lnTo>
                    <a:pt x="646" y="159"/>
                  </a:lnTo>
                  <a:lnTo>
                    <a:pt x="641" y="170"/>
                  </a:lnTo>
                  <a:lnTo>
                    <a:pt x="645" y="180"/>
                  </a:lnTo>
                  <a:lnTo>
                    <a:pt x="633" y="176"/>
                  </a:lnTo>
                  <a:lnTo>
                    <a:pt x="626" y="179"/>
                  </a:lnTo>
                  <a:lnTo>
                    <a:pt x="618" y="182"/>
                  </a:lnTo>
                  <a:lnTo>
                    <a:pt x="608" y="184"/>
                  </a:lnTo>
                  <a:lnTo>
                    <a:pt x="592" y="184"/>
                  </a:lnTo>
                  <a:lnTo>
                    <a:pt x="585" y="186"/>
                  </a:lnTo>
                  <a:lnTo>
                    <a:pt x="577" y="194"/>
                  </a:lnTo>
                  <a:lnTo>
                    <a:pt x="570" y="205"/>
                  </a:lnTo>
                  <a:lnTo>
                    <a:pt x="570" y="215"/>
                  </a:lnTo>
                  <a:lnTo>
                    <a:pt x="571" y="225"/>
                  </a:lnTo>
                  <a:lnTo>
                    <a:pt x="567" y="235"/>
                  </a:lnTo>
                  <a:lnTo>
                    <a:pt x="558" y="244"/>
                  </a:lnTo>
                  <a:lnTo>
                    <a:pt x="551" y="247"/>
                  </a:lnTo>
                  <a:lnTo>
                    <a:pt x="527" y="247"/>
                  </a:lnTo>
                  <a:lnTo>
                    <a:pt x="502" y="254"/>
                  </a:lnTo>
                  <a:lnTo>
                    <a:pt x="488" y="259"/>
                  </a:lnTo>
                  <a:lnTo>
                    <a:pt x="471" y="271"/>
                  </a:lnTo>
                  <a:lnTo>
                    <a:pt x="418" y="294"/>
                  </a:lnTo>
                  <a:lnTo>
                    <a:pt x="410" y="300"/>
                  </a:lnTo>
                  <a:lnTo>
                    <a:pt x="406" y="307"/>
                  </a:lnTo>
                  <a:lnTo>
                    <a:pt x="402" y="311"/>
                  </a:lnTo>
                  <a:lnTo>
                    <a:pt x="381" y="334"/>
                  </a:lnTo>
                  <a:lnTo>
                    <a:pt x="376" y="344"/>
                  </a:lnTo>
                  <a:lnTo>
                    <a:pt x="373" y="357"/>
                  </a:lnTo>
                  <a:lnTo>
                    <a:pt x="373" y="365"/>
                  </a:lnTo>
                  <a:lnTo>
                    <a:pt x="371" y="369"/>
                  </a:lnTo>
                  <a:lnTo>
                    <a:pt x="353" y="369"/>
                  </a:lnTo>
                  <a:lnTo>
                    <a:pt x="346" y="371"/>
                  </a:lnTo>
                  <a:lnTo>
                    <a:pt x="340" y="377"/>
                  </a:lnTo>
                  <a:lnTo>
                    <a:pt x="337" y="387"/>
                  </a:lnTo>
                  <a:lnTo>
                    <a:pt x="318" y="387"/>
                  </a:lnTo>
                  <a:lnTo>
                    <a:pt x="313" y="415"/>
                  </a:lnTo>
                  <a:lnTo>
                    <a:pt x="321" y="480"/>
                  </a:lnTo>
                  <a:lnTo>
                    <a:pt x="315" y="487"/>
                  </a:lnTo>
                  <a:lnTo>
                    <a:pt x="305" y="490"/>
                  </a:lnTo>
                  <a:lnTo>
                    <a:pt x="285" y="489"/>
                  </a:lnTo>
                  <a:lnTo>
                    <a:pt x="272" y="492"/>
                  </a:lnTo>
                  <a:lnTo>
                    <a:pt x="262" y="500"/>
                  </a:lnTo>
                  <a:lnTo>
                    <a:pt x="255" y="511"/>
                  </a:lnTo>
                  <a:lnTo>
                    <a:pt x="248" y="522"/>
                  </a:lnTo>
                  <a:lnTo>
                    <a:pt x="245" y="532"/>
                  </a:lnTo>
                  <a:lnTo>
                    <a:pt x="243" y="544"/>
                  </a:lnTo>
                  <a:lnTo>
                    <a:pt x="238" y="620"/>
                  </a:lnTo>
                  <a:lnTo>
                    <a:pt x="237" y="634"/>
                  </a:lnTo>
                  <a:lnTo>
                    <a:pt x="232" y="640"/>
                  </a:lnTo>
                  <a:lnTo>
                    <a:pt x="218" y="645"/>
                  </a:lnTo>
                  <a:lnTo>
                    <a:pt x="207" y="656"/>
                  </a:lnTo>
                  <a:lnTo>
                    <a:pt x="202" y="666"/>
                  </a:lnTo>
                  <a:lnTo>
                    <a:pt x="180" y="721"/>
                  </a:lnTo>
                  <a:lnTo>
                    <a:pt x="178" y="734"/>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23" name="Almería" descr="{&quot;Key&quot;:&quot;almería&quot;,&quot;Name&quot;:&quot;Almería&quot;,&quot;Value&quot;:1.0,&quot;Formula&quot;:&quot;&quot;,&quot;Text&quot;:&quot;1&quot;,&quot;HasValue&quot;:true}">
              <a:extLst>
                <a:ext uri="{FF2B5EF4-FFF2-40B4-BE49-F238E27FC236}">
                  <a16:creationId xmlns:a16="http://schemas.microsoft.com/office/drawing/2014/main" id="{70AEADF2-2025-99E0-3844-10AF75D85FAF}"/>
                </a:ext>
              </a:extLst>
            </p:cNvPr>
            <p:cNvSpPr>
              <a:spLocks/>
            </p:cNvSpPr>
            <p:nvPr/>
          </p:nvSpPr>
          <p:spPr bwMode="auto">
            <a:xfrm>
              <a:off x="3515537" y="4910822"/>
              <a:ext cx="572376" cy="595044"/>
            </a:xfrm>
            <a:custGeom>
              <a:avLst/>
              <a:gdLst>
                <a:gd name="T0" fmla="*/ 825 w 831"/>
                <a:gd name="T1" fmla="*/ 389 h 861"/>
                <a:gd name="T2" fmla="*/ 806 w 831"/>
                <a:gd name="T3" fmla="*/ 405 h 861"/>
                <a:gd name="T4" fmla="*/ 750 w 831"/>
                <a:gd name="T5" fmla="*/ 476 h 861"/>
                <a:gd name="T6" fmla="*/ 722 w 831"/>
                <a:gd name="T7" fmla="*/ 549 h 861"/>
                <a:gd name="T8" fmla="*/ 696 w 831"/>
                <a:gd name="T9" fmla="*/ 629 h 861"/>
                <a:gd name="T10" fmla="*/ 687 w 831"/>
                <a:gd name="T11" fmla="*/ 668 h 861"/>
                <a:gd name="T12" fmla="*/ 685 w 831"/>
                <a:gd name="T13" fmla="*/ 685 h 861"/>
                <a:gd name="T14" fmla="*/ 665 w 831"/>
                <a:gd name="T15" fmla="*/ 689 h 861"/>
                <a:gd name="T16" fmla="*/ 630 w 831"/>
                <a:gd name="T17" fmla="*/ 719 h 861"/>
                <a:gd name="T18" fmla="*/ 610 w 831"/>
                <a:gd name="T19" fmla="*/ 762 h 861"/>
                <a:gd name="T20" fmla="*/ 595 w 831"/>
                <a:gd name="T21" fmla="*/ 790 h 861"/>
                <a:gd name="T22" fmla="*/ 576 w 831"/>
                <a:gd name="T23" fmla="*/ 802 h 861"/>
                <a:gd name="T24" fmla="*/ 551 w 831"/>
                <a:gd name="T25" fmla="*/ 827 h 861"/>
                <a:gd name="T26" fmla="*/ 503 w 831"/>
                <a:gd name="T27" fmla="*/ 806 h 861"/>
                <a:gd name="T28" fmla="*/ 456 w 831"/>
                <a:gd name="T29" fmla="*/ 760 h 861"/>
                <a:gd name="T30" fmla="*/ 421 w 831"/>
                <a:gd name="T31" fmla="*/ 755 h 861"/>
                <a:gd name="T32" fmla="*/ 387 w 831"/>
                <a:gd name="T33" fmla="*/ 766 h 861"/>
                <a:gd name="T34" fmla="*/ 321 w 831"/>
                <a:gd name="T35" fmla="*/ 766 h 861"/>
                <a:gd name="T36" fmla="*/ 289 w 831"/>
                <a:gd name="T37" fmla="*/ 829 h 861"/>
                <a:gd name="T38" fmla="*/ 252 w 831"/>
                <a:gd name="T39" fmla="*/ 857 h 861"/>
                <a:gd name="T40" fmla="*/ 212 w 831"/>
                <a:gd name="T41" fmla="*/ 861 h 861"/>
                <a:gd name="T42" fmla="*/ 177 w 831"/>
                <a:gd name="T43" fmla="*/ 839 h 861"/>
                <a:gd name="T44" fmla="*/ 162 w 831"/>
                <a:gd name="T45" fmla="*/ 847 h 861"/>
                <a:gd name="T46" fmla="*/ 125 w 831"/>
                <a:gd name="T47" fmla="*/ 814 h 861"/>
                <a:gd name="T48" fmla="*/ 35 w 831"/>
                <a:gd name="T49" fmla="*/ 814 h 861"/>
                <a:gd name="T50" fmla="*/ 61 w 831"/>
                <a:gd name="T51" fmla="*/ 747 h 861"/>
                <a:gd name="T52" fmla="*/ 41 w 831"/>
                <a:gd name="T53" fmla="*/ 714 h 861"/>
                <a:gd name="T54" fmla="*/ 80 w 831"/>
                <a:gd name="T55" fmla="*/ 660 h 861"/>
                <a:gd name="T56" fmla="*/ 72 w 831"/>
                <a:gd name="T57" fmla="*/ 615 h 861"/>
                <a:gd name="T58" fmla="*/ 78 w 831"/>
                <a:gd name="T59" fmla="*/ 574 h 861"/>
                <a:gd name="T60" fmla="*/ 108 w 831"/>
                <a:gd name="T61" fmla="*/ 561 h 861"/>
                <a:gd name="T62" fmla="*/ 123 w 831"/>
                <a:gd name="T63" fmla="*/ 526 h 861"/>
                <a:gd name="T64" fmla="*/ 155 w 831"/>
                <a:gd name="T65" fmla="*/ 459 h 861"/>
                <a:gd name="T66" fmla="*/ 168 w 831"/>
                <a:gd name="T67" fmla="*/ 450 h 861"/>
                <a:gd name="T68" fmla="*/ 205 w 831"/>
                <a:gd name="T69" fmla="*/ 475 h 861"/>
                <a:gd name="T70" fmla="*/ 266 w 831"/>
                <a:gd name="T71" fmla="*/ 492 h 861"/>
                <a:gd name="T72" fmla="*/ 268 w 831"/>
                <a:gd name="T73" fmla="*/ 427 h 861"/>
                <a:gd name="T74" fmla="*/ 276 w 831"/>
                <a:gd name="T75" fmla="*/ 374 h 861"/>
                <a:gd name="T76" fmla="*/ 423 w 831"/>
                <a:gd name="T77" fmla="*/ 212 h 861"/>
                <a:gd name="T78" fmla="*/ 458 w 831"/>
                <a:gd name="T79" fmla="*/ 141 h 861"/>
                <a:gd name="T80" fmla="*/ 471 w 831"/>
                <a:gd name="T81" fmla="*/ 66 h 861"/>
                <a:gd name="T82" fmla="*/ 481 w 831"/>
                <a:gd name="T83" fmla="*/ 24 h 861"/>
                <a:gd name="T84" fmla="*/ 562 w 831"/>
                <a:gd name="T85" fmla="*/ 12 h 861"/>
                <a:gd name="T86" fmla="*/ 641 w 831"/>
                <a:gd name="T87" fmla="*/ 31 h 861"/>
                <a:gd name="T88" fmla="*/ 638 w 831"/>
                <a:gd name="T89" fmla="*/ 47 h 861"/>
                <a:gd name="T90" fmla="*/ 635 w 831"/>
                <a:gd name="T91" fmla="*/ 75 h 861"/>
                <a:gd name="T92" fmla="*/ 632 w 831"/>
                <a:gd name="T93" fmla="*/ 115 h 861"/>
                <a:gd name="T94" fmla="*/ 632 w 831"/>
                <a:gd name="T95" fmla="*/ 136 h 861"/>
                <a:gd name="T96" fmla="*/ 628 w 831"/>
                <a:gd name="T97" fmla="*/ 165 h 861"/>
                <a:gd name="T98" fmla="*/ 633 w 831"/>
                <a:gd name="T99" fmla="*/ 187 h 861"/>
                <a:gd name="T100" fmla="*/ 728 w 831"/>
                <a:gd name="T101" fmla="*/ 330 h 861"/>
                <a:gd name="T102" fmla="*/ 741 w 831"/>
                <a:gd name="T103" fmla="*/ 329 h 861"/>
                <a:gd name="T104" fmla="*/ 780 w 831"/>
                <a:gd name="T105" fmla="*/ 335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861">
                  <a:moveTo>
                    <a:pt x="831" y="375"/>
                  </a:moveTo>
                  <a:lnTo>
                    <a:pt x="828" y="382"/>
                  </a:lnTo>
                  <a:lnTo>
                    <a:pt x="825" y="389"/>
                  </a:lnTo>
                  <a:lnTo>
                    <a:pt x="815" y="387"/>
                  </a:lnTo>
                  <a:lnTo>
                    <a:pt x="810" y="394"/>
                  </a:lnTo>
                  <a:lnTo>
                    <a:pt x="806" y="405"/>
                  </a:lnTo>
                  <a:lnTo>
                    <a:pt x="798" y="420"/>
                  </a:lnTo>
                  <a:lnTo>
                    <a:pt x="782" y="443"/>
                  </a:lnTo>
                  <a:lnTo>
                    <a:pt x="750" y="476"/>
                  </a:lnTo>
                  <a:lnTo>
                    <a:pt x="736" y="496"/>
                  </a:lnTo>
                  <a:lnTo>
                    <a:pt x="726" y="524"/>
                  </a:lnTo>
                  <a:lnTo>
                    <a:pt x="722" y="549"/>
                  </a:lnTo>
                  <a:lnTo>
                    <a:pt x="715" y="567"/>
                  </a:lnTo>
                  <a:lnTo>
                    <a:pt x="712" y="586"/>
                  </a:lnTo>
                  <a:lnTo>
                    <a:pt x="696" y="629"/>
                  </a:lnTo>
                  <a:lnTo>
                    <a:pt x="683" y="649"/>
                  </a:lnTo>
                  <a:lnTo>
                    <a:pt x="683" y="657"/>
                  </a:lnTo>
                  <a:lnTo>
                    <a:pt x="687" y="668"/>
                  </a:lnTo>
                  <a:lnTo>
                    <a:pt x="688" y="675"/>
                  </a:lnTo>
                  <a:lnTo>
                    <a:pt x="687" y="681"/>
                  </a:lnTo>
                  <a:lnTo>
                    <a:pt x="685" y="685"/>
                  </a:lnTo>
                  <a:lnTo>
                    <a:pt x="680" y="686"/>
                  </a:lnTo>
                  <a:lnTo>
                    <a:pt x="667" y="687"/>
                  </a:lnTo>
                  <a:lnTo>
                    <a:pt x="665" y="689"/>
                  </a:lnTo>
                  <a:lnTo>
                    <a:pt x="657" y="696"/>
                  </a:lnTo>
                  <a:lnTo>
                    <a:pt x="638" y="709"/>
                  </a:lnTo>
                  <a:lnTo>
                    <a:pt x="630" y="719"/>
                  </a:lnTo>
                  <a:lnTo>
                    <a:pt x="625" y="747"/>
                  </a:lnTo>
                  <a:lnTo>
                    <a:pt x="618" y="755"/>
                  </a:lnTo>
                  <a:lnTo>
                    <a:pt x="610" y="762"/>
                  </a:lnTo>
                  <a:lnTo>
                    <a:pt x="600" y="771"/>
                  </a:lnTo>
                  <a:lnTo>
                    <a:pt x="598" y="777"/>
                  </a:lnTo>
                  <a:lnTo>
                    <a:pt x="595" y="790"/>
                  </a:lnTo>
                  <a:lnTo>
                    <a:pt x="592" y="796"/>
                  </a:lnTo>
                  <a:lnTo>
                    <a:pt x="587" y="799"/>
                  </a:lnTo>
                  <a:lnTo>
                    <a:pt x="576" y="802"/>
                  </a:lnTo>
                  <a:lnTo>
                    <a:pt x="570" y="816"/>
                  </a:lnTo>
                  <a:lnTo>
                    <a:pt x="562" y="822"/>
                  </a:lnTo>
                  <a:lnTo>
                    <a:pt x="551" y="827"/>
                  </a:lnTo>
                  <a:lnTo>
                    <a:pt x="540" y="829"/>
                  </a:lnTo>
                  <a:lnTo>
                    <a:pt x="518" y="822"/>
                  </a:lnTo>
                  <a:lnTo>
                    <a:pt x="503" y="806"/>
                  </a:lnTo>
                  <a:lnTo>
                    <a:pt x="489" y="787"/>
                  </a:lnTo>
                  <a:lnTo>
                    <a:pt x="474" y="771"/>
                  </a:lnTo>
                  <a:lnTo>
                    <a:pt x="456" y="760"/>
                  </a:lnTo>
                  <a:lnTo>
                    <a:pt x="443" y="755"/>
                  </a:lnTo>
                  <a:lnTo>
                    <a:pt x="431" y="754"/>
                  </a:lnTo>
                  <a:lnTo>
                    <a:pt x="421" y="755"/>
                  </a:lnTo>
                  <a:lnTo>
                    <a:pt x="403" y="765"/>
                  </a:lnTo>
                  <a:lnTo>
                    <a:pt x="392" y="767"/>
                  </a:lnTo>
                  <a:lnTo>
                    <a:pt x="387" y="766"/>
                  </a:lnTo>
                  <a:lnTo>
                    <a:pt x="372" y="760"/>
                  </a:lnTo>
                  <a:lnTo>
                    <a:pt x="364" y="757"/>
                  </a:lnTo>
                  <a:lnTo>
                    <a:pt x="321" y="766"/>
                  </a:lnTo>
                  <a:lnTo>
                    <a:pt x="312" y="771"/>
                  </a:lnTo>
                  <a:lnTo>
                    <a:pt x="301" y="797"/>
                  </a:lnTo>
                  <a:lnTo>
                    <a:pt x="289" y="829"/>
                  </a:lnTo>
                  <a:lnTo>
                    <a:pt x="276" y="844"/>
                  </a:lnTo>
                  <a:lnTo>
                    <a:pt x="266" y="851"/>
                  </a:lnTo>
                  <a:lnTo>
                    <a:pt x="252" y="857"/>
                  </a:lnTo>
                  <a:lnTo>
                    <a:pt x="233" y="860"/>
                  </a:lnTo>
                  <a:lnTo>
                    <a:pt x="223" y="856"/>
                  </a:lnTo>
                  <a:lnTo>
                    <a:pt x="212" y="861"/>
                  </a:lnTo>
                  <a:lnTo>
                    <a:pt x="197" y="851"/>
                  </a:lnTo>
                  <a:lnTo>
                    <a:pt x="187" y="842"/>
                  </a:lnTo>
                  <a:lnTo>
                    <a:pt x="177" y="839"/>
                  </a:lnTo>
                  <a:lnTo>
                    <a:pt x="172" y="840"/>
                  </a:lnTo>
                  <a:lnTo>
                    <a:pt x="167" y="846"/>
                  </a:lnTo>
                  <a:lnTo>
                    <a:pt x="162" y="847"/>
                  </a:lnTo>
                  <a:lnTo>
                    <a:pt x="156" y="845"/>
                  </a:lnTo>
                  <a:lnTo>
                    <a:pt x="141" y="824"/>
                  </a:lnTo>
                  <a:lnTo>
                    <a:pt x="125" y="814"/>
                  </a:lnTo>
                  <a:lnTo>
                    <a:pt x="115" y="812"/>
                  </a:lnTo>
                  <a:lnTo>
                    <a:pt x="85" y="822"/>
                  </a:lnTo>
                  <a:lnTo>
                    <a:pt x="35" y="814"/>
                  </a:lnTo>
                  <a:lnTo>
                    <a:pt x="6" y="816"/>
                  </a:lnTo>
                  <a:lnTo>
                    <a:pt x="0" y="787"/>
                  </a:lnTo>
                  <a:lnTo>
                    <a:pt x="61" y="747"/>
                  </a:lnTo>
                  <a:lnTo>
                    <a:pt x="53" y="724"/>
                  </a:lnTo>
                  <a:lnTo>
                    <a:pt x="48" y="719"/>
                  </a:lnTo>
                  <a:lnTo>
                    <a:pt x="41" y="714"/>
                  </a:lnTo>
                  <a:lnTo>
                    <a:pt x="37" y="707"/>
                  </a:lnTo>
                  <a:lnTo>
                    <a:pt x="40" y="699"/>
                  </a:lnTo>
                  <a:lnTo>
                    <a:pt x="80" y="660"/>
                  </a:lnTo>
                  <a:lnTo>
                    <a:pt x="82" y="650"/>
                  </a:lnTo>
                  <a:lnTo>
                    <a:pt x="81" y="640"/>
                  </a:lnTo>
                  <a:lnTo>
                    <a:pt x="72" y="615"/>
                  </a:lnTo>
                  <a:lnTo>
                    <a:pt x="68" y="591"/>
                  </a:lnTo>
                  <a:lnTo>
                    <a:pt x="71" y="581"/>
                  </a:lnTo>
                  <a:lnTo>
                    <a:pt x="78" y="574"/>
                  </a:lnTo>
                  <a:lnTo>
                    <a:pt x="98" y="572"/>
                  </a:lnTo>
                  <a:lnTo>
                    <a:pt x="103" y="570"/>
                  </a:lnTo>
                  <a:lnTo>
                    <a:pt x="108" y="561"/>
                  </a:lnTo>
                  <a:lnTo>
                    <a:pt x="113" y="540"/>
                  </a:lnTo>
                  <a:lnTo>
                    <a:pt x="117" y="531"/>
                  </a:lnTo>
                  <a:lnTo>
                    <a:pt x="123" y="526"/>
                  </a:lnTo>
                  <a:lnTo>
                    <a:pt x="136" y="521"/>
                  </a:lnTo>
                  <a:lnTo>
                    <a:pt x="141" y="515"/>
                  </a:lnTo>
                  <a:lnTo>
                    <a:pt x="155" y="459"/>
                  </a:lnTo>
                  <a:lnTo>
                    <a:pt x="158" y="454"/>
                  </a:lnTo>
                  <a:lnTo>
                    <a:pt x="162" y="451"/>
                  </a:lnTo>
                  <a:lnTo>
                    <a:pt x="168" y="450"/>
                  </a:lnTo>
                  <a:lnTo>
                    <a:pt x="186" y="454"/>
                  </a:lnTo>
                  <a:lnTo>
                    <a:pt x="191" y="456"/>
                  </a:lnTo>
                  <a:lnTo>
                    <a:pt x="205" y="475"/>
                  </a:lnTo>
                  <a:lnTo>
                    <a:pt x="212" y="479"/>
                  </a:lnTo>
                  <a:lnTo>
                    <a:pt x="238" y="480"/>
                  </a:lnTo>
                  <a:lnTo>
                    <a:pt x="266" y="492"/>
                  </a:lnTo>
                  <a:lnTo>
                    <a:pt x="263" y="442"/>
                  </a:lnTo>
                  <a:lnTo>
                    <a:pt x="263" y="437"/>
                  </a:lnTo>
                  <a:lnTo>
                    <a:pt x="268" y="427"/>
                  </a:lnTo>
                  <a:lnTo>
                    <a:pt x="270" y="422"/>
                  </a:lnTo>
                  <a:lnTo>
                    <a:pt x="272" y="384"/>
                  </a:lnTo>
                  <a:lnTo>
                    <a:pt x="276" y="374"/>
                  </a:lnTo>
                  <a:lnTo>
                    <a:pt x="360" y="299"/>
                  </a:lnTo>
                  <a:lnTo>
                    <a:pt x="433" y="276"/>
                  </a:lnTo>
                  <a:lnTo>
                    <a:pt x="423" y="212"/>
                  </a:lnTo>
                  <a:lnTo>
                    <a:pt x="457" y="206"/>
                  </a:lnTo>
                  <a:lnTo>
                    <a:pt x="453" y="152"/>
                  </a:lnTo>
                  <a:lnTo>
                    <a:pt x="458" y="141"/>
                  </a:lnTo>
                  <a:lnTo>
                    <a:pt x="472" y="119"/>
                  </a:lnTo>
                  <a:lnTo>
                    <a:pt x="475" y="106"/>
                  </a:lnTo>
                  <a:lnTo>
                    <a:pt x="471" y="66"/>
                  </a:lnTo>
                  <a:lnTo>
                    <a:pt x="473" y="36"/>
                  </a:lnTo>
                  <a:lnTo>
                    <a:pt x="476" y="29"/>
                  </a:lnTo>
                  <a:lnTo>
                    <a:pt x="481" y="24"/>
                  </a:lnTo>
                  <a:lnTo>
                    <a:pt x="516" y="0"/>
                  </a:lnTo>
                  <a:lnTo>
                    <a:pt x="537" y="14"/>
                  </a:lnTo>
                  <a:lnTo>
                    <a:pt x="562" y="12"/>
                  </a:lnTo>
                  <a:lnTo>
                    <a:pt x="570" y="14"/>
                  </a:lnTo>
                  <a:lnTo>
                    <a:pt x="590" y="24"/>
                  </a:lnTo>
                  <a:lnTo>
                    <a:pt x="641" y="31"/>
                  </a:lnTo>
                  <a:lnTo>
                    <a:pt x="645" y="35"/>
                  </a:lnTo>
                  <a:lnTo>
                    <a:pt x="645" y="39"/>
                  </a:lnTo>
                  <a:lnTo>
                    <a:pt x="638" y="47"/>
                  </a:lnTo>
                  <a:lnTo>
                    <a:pt x="636" y="52"/>
                  </a:lnTo>
                  <a:lnTo>
                    <a:pt x="636" y="57"/>
                  </a:lnTo>
                  <a:lnTo>
                    <a:pt x="635" y="75"/>
                  </a:lnTo>
                  <a:lnTo>
                    <a:pt x="631" y="85"/>
                  </a:lnTo>
                  <a:lnTo>
                    <a:pt x="630" y="90"/>
                  </a:lnTo>
                  <a:lnTo>
                    <a:pt x="632" y="115"/>
                  </a:lnTo>
                  <a:lnTo>
                    <a:pt x="633" y="121"/>
                  </a:lnTo>
                  <a:lnTo>
                    <a:pt x="635" y="126"/>
                  </a:lnTo>
                  <a:lnTo>
                    <a:pt x="632" y="136"/>
                  </a:lnTo>
                  <a:lnTo>
                    <a:pt x="630" y="144"/>
                  </a:lnTo>
                  <a:lnTo>
                    <a:pt x="630" y="149"/>
                  </a:lnTo>
                  <a:lnTo>
                    <a:pt x="628" y="165"/>
                  </a:lnTo>
                  <a:lnTo>
                    <a:pt x="630" y="176"/>
                  </a:lnTo>
                  <a:lnTo>
                    <a:pt x="631" y="184"/>
                  </a:lnTo>
                  <a:lnTo>
                    <a:pt x="633" y="187"/>
                  </a:lnTo>
                  <a:lnTo>
                    <a:pt x="638" y="194"/>
                  </a:lnTo>
                  <a:lnTo>
                    <a:pt x="721" y="324"/>
                  </a:lnTo>
                  <a:lnTo>
                    <a:pt x="728" y="330"/>
                  </a:lnTo>
                  <a:lnTo>
                    <a:pt x="732" y="332"/>
                  </a:lnTo>
                  <a:lnTo>
                    <a:pt x="740" y="335"/>
                  </a:lnTo>
                  <a:lnTo>
                    <a:pt x="741" y="329"/>
                  </a:lnTo>
                  <a:lnTo>
                    <a:pt x="747" y="326"/>
                  </a:lnTo>
                  <a:lnTo>
                    <a:pt x="775" y="332"/>
                  </a:lnTo>
                  <a:lnTo>
                    <a:pt x="780" y="335"/>
                  </a:lnTo>
                  <a:lnTo>
                    <a:pt x="831" y="375"/>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24" name="Asturias" descr="{&quot;Key&quot;:&quot;asturias&quot;,&quot;Name&quot;:&quot;Asturias&quot;,&quot;Value&quot;:1.0,&quot;Formula&quot;:&quot;&quot;,&quot;Text&quot;:&quot;1&quot;,&quot;HasValue&quot;:true}">
              <a:extLst>
                <a:ext uri="{FF2B5EF4-FFF2-40B4-BE49-F238E27FC236}">
                  <a16:creationId xmlns:a16="http://schemas.microsoft.com/office/drawing/2014/main" id="{037D6A2E-601B-3252-05B5-B00629EB76E3}"/>
                </a:ext>
              </a:extLst>
            </p:cNvPr>
            <p:cNvSpPr>
              <a:spLocks/>
            </p:cNvSpPr>
            <p:nvPr/>
          </p:nvSpPr>
          <p:spPr bwMode="auto">
            <a:xfrm>
              <a:off x="1974089" y="1997939"/>
              <a:ext cx="1015826" cy="405197"/>
            </a:xfrm>
            <a:custGeom>
              <a:avLst/>
              <a:gdLst>
                <a:gd name="T0" fmla="*/ 1461 w 1473"/>
                <a:gd name="T1" fmla="*/ 246 h 588"/>
                <a:gd name="T2" fmla="*/ 1465 w 1473"/>
                <a:gd name="T3" fmla="*/ 292 h 588"/>
                <a:gd name="T4" fmla="*/ 1436 w 1473"/>
                <a:gd name="T5" fmla="*/ 280 h 588"/>
                <a:gd name="T6" fmla="*/ 1390 w 1473"/>
                <a:gd name="T7" fmla="*/ 300 h 588"/>
                <a:gd name="T8" fmla="*/ 1357 w 1473"/>
                <a:gd name="T9" fmla="*/ 314 h 588"/>
                <a:gd name="T10" fmla="*/ 1346 w 1473"/>
                <a:gd name="T11" fmla="*/ 360 h 588"/>
                <a:gd name="T12" fmla="*/ 1282 w 1473"/>
                <a:gd name="T13" fmla="*/ 337 h 588"/>
                <a:gd name="T14" fmla="*/ 1200 w 1473"/>
                <a:gd name="T15" fmla="*/ 359 h 588"/>
                <a:gd name="T16" fmla="*/ 1147 w 1473"/>
                <a:gd name="T17" fmla="*/ 415 h 588"/>
                <a:gd name="T18" fmla="*/ 1086 w 1473"/>
                <a:gd name="T19" fmla="*/ 435 h 588"/>
                <a:gd name="T20" fmla="*/ 983 w 1473"/>
                <a:gd name="T21" fmla="*/ 463 h 588"/>
                <a:gd name="T22" fmla="*/ 932 w 1473"/>
                <a:gd name="T23" fmla="*/ 484 h 588"/>
                <a:gd name="T24" fmla="*/ 883 w 1473"/>
                <a:gd name="T25" fmla="*/ 483 h 588"/>
                <a:gd name="T26" fmla="*/ 813 w 1473"/>
                <a:gd name="T27" fmla="*/ 469 h 588"/>
                <a:gd name="T28" fmla="*/ 777 w 1473"/>
                <a:gd name="T29" fmla="*/ 520 h 588"/>
                <a:gd name="T30" fmla="*/ 726 w 1473"/>
                <a:gd name="T31" fmla="*/ 523 h 588"/>
                <a:gd name="T32" fmla="*/ 675 w 1473"/>
                <a:gd name="T33" fmla="*/ 493 h 588"/>
                <a:gd name="T34" fmla="*/ 640 w 1473"/>
                <a:gd name="T35" fmla="*/ 463 h 588"/>
                <a:gd name="T36" fmla="*/ 592 w 1473"/>
                <a:gd name="T37" fmla="*/ 480 h 588"/>
                <a:gd name="T38" fmla="*/ 531 w 1473"/>
                <a:gd name="T39" fmla="*/ 477 h 588"/>
                <a:gd name="T40" fmla="*/ 485 w 1473"/>
                <a:gd name="T41" fmla="*/ 480 h 588"/>
                <a:gd name="T42" fmla="*/ 432 w 1473"/>
                <a:gd name="T43" fmla="*/ 474 h 588"/>
                <a:gd name="T44" fmla="*/ 413 w 1473"/>
                <a:gd name="T45" fmla="*/ 508 h 588"/>
                <a:gd name="T46" fmla="*/ 390 w 1473"/>
                <a:gd name="T47" fmla="*/ 527 h 588"/>
                <a:gd name="T48" fmla="*/ 363 w 1473"/>
                <a:gd name="T49" fmla="*/ 560 h 588"/>
                <a:gd name="T50" fmla="*/ 271 w 1473"/>
                <a:gd name="T51" fmla="*/ 562 h 588"/>
                <a:gd name="T52" fmla="*/ 226 w 1473"/>
                <a:gd name="T53" fmla="*/ 588 h 588"/>
                <a:gd name="T54" fmla="*/ 186 w 1473"/>
                <a:gd name="T55" fmla="*/ 534 h 588"/>
                <a:gd name="T56" fmla="*/ 137 w 1473"/>
                <a:gd name="T57" fmla="*/ 504 h 588"/>
                <a:gd name="T58" fmla="*/ 108 w 1473"/>
                <a:gd name="T59" fmla="*/ 508 h 588"/>
                <a:gd name="T60" fmla="*/ 116 w 1473"/>
                <a:gd name="T61" fmla="*/ 474 h 588"/>
                <a:gd name="T62" fmla="*/ 143 w 1473"/>
                <a:gd name="T63" fmla="*/ 445 h 588"/>
                <a:gd name="T64" fmla="*/ 180 w 1473"/>
                <a:gd name="T65" fmla="*/ 385 h 588"/>
                <a:gd name="T66" fmla="*/ 158 w 1473"/>
                <a:gd name="T67" fmla="*/ 385 h 588"/>
                <a:gd name="T68" fmla="*/ 122 w 1473"/>
                <a:gd name="T69" fmla="*/ 404 h 588"/>
                <a:gd name="T70" fmla="*/ 113 w 1473"/>
                <a:gd name="T71" fmla="*/ 367 h 588"/>
                <a:gd name="T72" fmla="*/ 83 w 1473"/>
                <a:gd name="T73" fmla="*/ 340 h 588"/>
                <a:gd name="T74" fmla="*/ 52 w 1473"/>
                <a:gd name="T75" fmla="*/ 275 h 588"/>
                <a:gd name="T76" fmla="*/ 26 w 1473"/>
                <a:gd name="T77" fmla="*/ 242 h 588"/>
                <a:gd name="T78" fmla="*/ 0 w 1473"/>
                <a:gd name="T79" fmla="*/ 205 h 588"/>
                <a:gd name="T80" fmla="*/ 25 w 1473"/>
                <a:gd name="T81" fmla="*/ 180 h 588"/>
                <a:gd name="T82" fmla="*/ 70 w 1473"/>
                <a:gd name="T83" fmla="*/ 138 h 588"/>
                <a:gd name="T84" fmla="*/ 90 w 1473"/>
                <a:gd name="T85" fmla="*/ 100 h 588"/>
                <a:gd name="T86" fmla="*/ 245 w 1473"/>
                <a:gd name="T87" fmla="*/ 79 h 588"/>
                <a:gd name="T88" fmla="*/ 372 w 1473"/>
                <a:gd name="T89" fmla="*/ 85 h 588"/>
                <a:gd name="T90" fmla="*/ 418 w 1473"/>
                <a:gd name="T91" fmla="*/ 79 h 588"/>
                <a:gd name="T92" fmla="*/ 518 w 1473"/>
                <a:gd name="T93" fmla="*/ 53 h 588"/>
                <a:gd name="T94" fmla="*/ 611 w 1473"/>
                <a:gd name="T95" fmla="*/ 72 h 588"/>
                <a:gd name="T96" fmla="*/ 700 w 1473"/>
                <a:gd name="T97" fmla="*/ 45 h 588"/>
                <a:gd name="T98" fmla="*/ 727 w 1473"/>
                <a:gd name="T99" fmla="*/ 8 h 588"/>
                <a:gd name="T100" fmla="*/ 811 w 1473"/>
                <a:gd name="T101" fmla="*/ 73 h 588"/>
                <a:gd name="T102" fmla="*/ 968 w 1473"/>
                <a:gd name="T103" fmla="*/ 79 h 588"/>
                <a:gd name="T104" fmla="*/ 980 w 1473"/>
                <a:gd name="T105" fmla="*/ 117 h 588"/>
                <a:gd name="T106" fmla="*/ 1015 w 1473"/>
                <a:gd name="T107" fmla="*/ 94 h 588"/>
                <a:gd name="T108" fmla="*/ 1166 w 1473"/>
                <a:gd name="T109" fmla="*/ 139 h 588"/>
                <a:gd name="T110" fmla="*/ 1236 w 1473"/>
                <a:gd name="T111" fmla="*/ 147 h 588"/>
                <a:gd name="T112" fmla="*/ 1473 w 1473"/>
                <a:gd name="T113" fmla="*/ 19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3" h="588">
                  <a:moveTo>
                    <a:pt x="1473" y="199"/>
                  </a:moveTo>
                  <a:lnTo>
                    <a:pt x="1473" y="214"/>
                  </a:lnTo>
                  <a:lnTo>
                    <a:pt x="1468" y="224"/>
                  </a:lnTo>
                  <a:lnTo>
                    <a:pt x="1462" y="237"/>
                  </a:lnTo>
                  <a:lnTo>
                    <a:pt x="1460" y="242"/>
                  </a:lnTo>
                  <a:lnTo>
                    <a:pt x="1461" y="246"/>
                  </a:lnTo>
                  <a:lnTo>
                    <a:pt x="1463" y="249"/>
                  </a:lnTo>
                  <a:lnTo>
                    <a:pt x="1468" y="263"/>
                  </a:lnTo>
                  <a:lnTo>
                    <a:pt x="1471" y="274"/>
                  </a:lnTo>
                  <a:lnTo>
                    <a:pt x="1470" y="281"/>
                  </a:lnTo>
                  <a:lnTo>
                    <a:pt x="1468" y="288"/>
                  </a:lnTo>
                  <a:lnTo>
                    <a:pt x="1465" y="292"/>
                  </a:lnTo>
                  <a:lnTo>
                    <a:pt x="1461" y="295"/>
                  </a:lnTo>
                  <a:lnTo>
                    <a:pt x="1456" y="297"/>
                  </a:lnTo>
                  <a:lnTo>
                    <a:pt x="1452" y="294"/>
                  </a:lnTo>
                  <a:lnTo>
                    <a:pt x="1450" y="285"/>
                  </a:lnTo>
                  <a:lnTo>
                    <a:pt x="1446" y="283"/>
                  </a:lnTo>
                  <a:lnTo>
                    <a:pt x="1436" y="280"/>
                  </a:lnTo>
                  <a:lnTo>
                    <a:pt x="1430" y="279"/>
                  </a:lnTo>
                  <a:lnTo>
                    <a:pt x="1425" y="280"/>
                  </a:lnTo>
                  <a:lnTo>
                    <a:pt x="1416" y="285"/>
                  </a:lnTo>
                  <a:lnTo>
                    <a:pt x="1410" y="294"/>
                  </a:lnTo>
                  <a:lnTo>
                    <a:pt x="1402" y="299"/>
                  </a:lnTo>
                  <a:lnTo>
                    <a:pt x="1390" y="300"/>
                  </a:lnTo>
                  <a:lnTo>
                    <a:pt x="1380" y="299"/>
                  </a:lnTo>
                  <a:lnTo>
                    <a:pt x="1373" y="299"/>
                  </a:lnTo>
                  <a:lnTo>
                    <a:pt x="1368" y="302"/>
                  </a:lnTo>
                  <a:lnTo>
                    <a:pt x="1361" y="305"/>
                  </a:lnTo>
                  <a:lnTo>
                    <a:pt x="1358" y="309"/>
                  </a:lnTo>
                  <a:lnTo>
                    <a:pt x="1357" y="314"/>
                  </a:lnTo>
                  <a:lnTo>
                    <a:pt x="1358" y="325"/>
                  </a:lnTo>
                  <a:lnTo>
                    <a:pt x="1356" y="335"/>
                  </a:lnTo>
                  <a:lnTo>
                    <a:pt x="1356" y="342"/>
                  </a:lnTo>
                  <a:lnTo>
                    <a:pt x="1355" y="348"/>
                  </a:lnTo>
                  <a:lnTo>
                    <a:pt x="1351" y="357"/>
                  </a:lnTo>
                  <a:lnTo>
                    <a:pt x="1346" y="360"/>
                  </a:lnTo>
                  <a:lnTo>
                    <a:pt x="1341" y="360"/>
                  </a:lnTo>
                  <a:lnTo>
                    <a:pt x="1331" y="358"/>
                  </a:lnTo>
                  <a:lnTo>
                    <a:pt x="1320" y="362"/>
                  </a:lnTo>
                  <a:lnTo>
                    <a:pt x="1303" y="364"/>
                  </a:lnTo>
                  <a:lnTo>
                    <a:pt x="1297" y="363"/>
                  </a:lnTo>
                  <a:lnTo>
                    <a:pt x="1282" y="337"/>
                  </a:lnTo>
                  <a:lnTo>
                    <a:pt x="1271" y="328"/>
                  </a:lnTo>
                  <a:lnTo>
                    <a:pt x="1260" y="325"/>
                  </a:lnTo>
                  <a:lnTo>
                    <a:pt x="1255" y="325"/>
                  </a:lnTo>
                  <a:lnTo>
                    <a:pt x="1225" y="342"/>
                  </a:lnTo>
                  <a:lnTo>
                    <a:pt x="1216" y="350"/>
                  </a:lnTo>
                  <a:lnTo>
                    <a:pt x="1200" y="359"/>
                  </a:lnTo>
                  <a:lnTo>
                    <a:pt x="1178" y="365"/>
                  </a:lnTo>
                  <a:lnTo>
                    <a:pt x="1168" y="370"/>
                  </a:lnTo>
                  <a:lnTo>
                    <a:pt x="1163" y="375"/>
                  </a:lnTo>
                  <a:lnTo>
                    <a:pt x="1158" y="387"/>
                  </a:lnTo>
                  <a:lnTo>
                    <a:pt x="1151" y="409"/>
                  </a:lnTo>
                  <a:lnTo>
                    <a:pt x="1147" y="415"/>
                  </a:lnTo>
                  <a:lnTo>
                    <a:pt x="1138" y="424"/>
                  </a:lnTo>
                  <a:lnTo>
                    <a:pt x="1132" y="425"/>
                  </a:lnTo>
                  <a:lnTo>
                    <a:pt x="1126" y="423"/>
                  </a:lnTo>
                  <a:lnTo>
                    <a:pt x="1121" y="419"/>
                  </a:lnTo>
                  <a:lnTo>
                    <a:pt x="1116" y="420"/>
                  </a:lnTo>
                  <a:lnTo>
                    <a:pt x="1086" y="435"/>
                  </a:lnTo>
                  <a:lnTo>
                    <a:pt x="1033" y="442"/>
                  </a:lnTo>
                  <a:lnTo>
                    <a:pt x="1003" y="437"/>
                  </a:lnTo>
                  <a:lnTo>
                    <a:pt x="996" y="438"/>
                  </a:lnTo>
                  <a:lnTo>
                    <a:pt x="991" y="442"/>
                  </a:lnTo>
                  <a:lnTo>
                    <a:pt x="987" y="458"/>
                  </a:lnTo>
                  <a:lnTo>
                    <a:pt x="983" y="463"/>
                  </a:lnTo>
                  <a:lnTo>
                    <a:pt x="977" y="465"/>
                  </a:lnTo>
                  <a:lnTo>
                    <a:pt x="972" y="467"/>
                  </a:lnTo>
                  <a:lnTo>
                    <a:pt x="941" y="468"/>
                  </a:lnTo>
                  <a:lnTo>
                    <a:pt x="938" y="472"/>
                  </a:lnTo>
                  <a:lnTo>
                    <a:pt x="937" y="475"/>
                  </a:lnTo>
                  <a:lnTo>
                    <a:pt x="932" y="484"/>
                  </a:lnTo>
                  <a:lnTo>
                    <a:pt x="927" y="485"/>
                  </a:lnTo>
                  <a:lnTo>
                    <a:pt x="917" y="484"/>
                  </a:lnTo>
                  <a:lnTo>
                    <a:pt x="903" y="489"/>
                  </a:lnTo>
                  <a:lnTo>
                    <a:pt x="898" y="490"/>
                  </a:lnTo>
                  <a:lnTo>
                    <a:pt x="892" y="489"/>
                  </a:lnTo>
                  <a:lnTo>
                    <a:pt x="883" y="483"/>
                  </a:lnTo>
                  <a:lnTo>
                    <a:pt x="871" y="480"/>
                  </a:lnTo>
                  <a:lnTo>
                    <a:pt x="862" y="480"/>
                  </a:lnTo>
                  <a:lnTo>
                    <a:pt x="851" y="478"/>
                  </a:lnTo>
                  <a:lnTo>
                    <a:pt x="835" y="469"/>
                  </a:lnTo>
                  <a:lnTo>
                    <a:pt x="827" y="469"/>
                  </a:lnTo>
                  <a:lnTo>
                    <a:pt x="813" y="469"/>
                  </a:lnTo>
                  <a:lnTo>
                    <a:pt x="805" y="472"/>
                  </a:lnTo>
                  <a:lnTo>
                    <a:pt x="800" y="475"/>
                  </a:lnTo>
                  <a:lnTo>
                    <a:pt x="791" y="489"/>
                  </a:lnTo>
                  <a:lnTo>
                    <a:pt x="785" y="499"/>
                  </a:lnTo>
                  <a:lnTo>
                    <a:pt x="781" y="512"/>
                  </a:lnTo>
                  <a:lnTo>
                    <a:pt x="777" y="520"/>
                  </a:lnTo>
                  <a:lnTo>
                    <a:pt x="772" y="525"/>
                  </a:lnTo>
                  <a:lnTo>
                    <a:pt x="766" y="527"/>
                  </a:lnTo>
                  <a:lnTo>
                    <a:pt x="757" y="529"/>
                  </a:lnTo>
                  <a:lnTo>
                    <a:pt x="736" y="528"/>
                  </a:lnTo>
                  <a:lnTo>
                    <a:pt x="730" y="525"/>
                  </a:lnTo>
                  <a:lnTo>
                    <a:pt x="726" y="523"/>
                  </a:lnTo>
                  <a:lnTo>
                    <a:pt x="711" y="517"/>
                  </a:lnTo>
                  <a:lnTo>
                    <a:pt x="708" y="514"/>
                  </a:lnTo>
                  <a:lnTo>
                    <a:pt x="702" y="512"/>
                  </a:lnTo>
                  <a:lnTo>
                    <a:pt x="695" y="507"/>
                  </a:lnTo>
                  <a:lnTo>
                    <a:pt x="687" y="502"/>
                  </a:lnTo>
                  <a:lnTo>
                    <a:pt x="675" y="493"/>
                  </a:lnTo>
                  <a:lnTo>
                    <a:pt x="671" y="489"/>
                  </a:lnTo>
                  <a:lnTo>
                    <a:pt x="667" y="478"/>
                  </a:lnTo>
                  <a:lnTo>
                    <a:pt x="666" y="467"/>
                  </a:lnTo>
                  <a:lnTo>
                    <a:pt x="662" y="463"/>
                  </a:lnTo>
                  <a:lnTo>
                    <a:pt x="656" y="459"/>
                  </a:lnTo>
                  <a:lnTo>
                    <a:pt x="640" y="463"/>
                  </a:lnTo>
                  <a:lnTo>
                    <a:pt x="633" y="463"/>
                  </a:lnTo>
                  <a:lnTo>
                    <a:pt x="606" y="457"/>
                  </a:lnTo>
                  <a:lnTo>
                    <a:pt x="601" y="459"/>
                  </a:lnTo>
                  <a:lnTo>
                    <a:pt x="598" y="463"/>
                  </a:lnTo>
                  <a:lnTo>
                    <a:pt x="596" y="474"/>
                  </a:lnTo>
                  <a:lnTo>
                    <a:pt x="592" y="480"/>
                  </a:lnTo>
                  <a:lnTo>
                    <a:pt x="582" y="485"/>
                  </a:lnTo>
                  <a:lnTo>
                    <a:pt x="575" y="485"/>
                  </a:lnTo>
                  <a:lnTo>
                    <a:pt x="567" y="484"/>
                  </a:lnTo>
                  <a:lnTo>
                    <a:pt x="552" y="478"/>
                  </a:lnTo>
                  <a:lnTo>
                    <a:pt x="538" y="475"/>
                  </a:lnTo>
                  <a:lnTo>
                    <a:pt x="531" y="477"/>
                  </a:lnTo>
                  <a:lnTo>
                    <a:pt x="528" y="480"/>
                  </a:lnTo>
                  <a:lnTo>
                    <a:pt x="526" y="492"/>
                  </a:lnTo>
                  <a:lnTo>
                    <a:pt x="523" y="494"/>
                  </a:lnTo>
                  <a:lnTo>
                    <a:pt x="520" y="495"/>
                  </a:lnTo>
                  <a:lnTo>
                    <a:pt x="508" y="493"/>
                  </a:lnTo>
                  <a:lnTo>
                    <a:pt x="485" y="480"/>
                  </a:lnTo>
                  <a:lnTo>
                    <a:pt x="477" y="480"/>
                  </a:lnTo>
                  <a:lnTo>
                    <a:pt x="467" y="478"/>
                  </a:lnTo>
                  <a:lnTo>
                    <a:pt x="462" y="473"/>
                  </a:lnTo>
                  <a:lnTo>
                    <a:pt x="457" y="470"/>
                  </a:lnTo>
                  <a:lnTo>
                    <a:pt x="447" y="467"/>
                  </a:lnTo>
                  <a:lnTo>
                    <a:pt x="432" y="474"/>
                  </a:lnTo>
                  <a:lnTo>
                    <a:pt x="428" y="479"/>
                  </a:lnTo>
                  <a:lnTo>
                    <a:pt x="427" y="484"/>
                  </a:lnTo>
                  <a:lnTo>
                    <a:pt x="420" y="494"/>
                  </a:lnTo>
                  <a:lnTo>
                    <a:pt x="420" y="503"/>
                  </a:lnTo>
                  <a:lnTo>
                    <a:pt x="417" y="505"/>
                  </a:lnTo>
                  <a:lnTo>
                    <a:pt x="413" y="508"/>
                  </a:lnTo>
                  <a:lnTo>
                    <a:pt x="402" y="512"/>
                  </a:lnTo>
                  <a:lnTo>
                    <a:pt x="386" y="513"/>
                  </a:lnTo>
                  <a:lnTo>
                    <a:pt x="383" y="515"/>
                  </a:lnTo>
                  <a:lnTo>
                    <a:pt x="382" y="519"/>
                  </a:lnTo>
                  <a:lnTo>
                    <a:pt x="386" y="524"/>
                  </a:lnTo>
                  <a:lnTo>
                    <a:pt x="390" y="527"/>
                  </a:lnTo>
                  <a:lnTo>
                    <a:pt x="400" y="530"/>
                  </a:lnTo>
                  <a:lnTo>
                    <a:pt x="403" y="534"/>
                  </a:lnTo>
                  <a:lnTo>
                    <a:pt x="403" y="538"/>
                  </a:lnTo>
                  <a:lnTo>
                    <a:pt x="401" y="543"/>
                  </a:lnTo>
                  <a:lnTo>
                    <a:pt x="371" y="559"/>
                  </a:lnTo>
                  <a:lnTo>
                    <a:pt x="363" y="560"/>
                  </a:lnTo>
                  <a:lnTo>
                    <a:pt x="343" y="569"/>
                  </a:lnTo>
                  <a:lnTo>
                    <a:pt x="338" y="569"/>
                  </a:lnTo>
                  <a:lnTo>
                    <a:pt x="312" y="567"/>
                  </a:lnTo>
                  <a:lnTo>
                    <a:pt x="308" y="564"/>
                  </a:lnTo>
                  <a:lnTo>
                    <a:pt x="297" y="562"/>
                  </a:lnTo>
                  <a:lnTo>
                    <a:pt x="271" y="562"/>
                  </a:lnTo>
                  <a:lnTo>
                    <a:pt x="261" y="563"/>
                  </a:lnTo>
                  <a:lnTo>
                    <a:pt x="251" y="567"/>
                  </a:lnTo>
                  <a:lnTo>
                    <a:pt x="245" y="570"/>
                  </a:lnTo>
                  <a:lnTo>
                    <a:pt x="237" y="579"/>
                  </a:lnTo>
                  <a:lnTo>
                    <a:pt x="232" y="584"/>
                  </a:lnTo>
                  <a:lnTo>
                    <a:pt x="226" y="588"/>
                  </a:lnTo>
                  <a:lnTo>
                    <a:pt x="222" y="587"/>
                  </a:lnTo>
                  <a:lnTo>
                    <a:pt x="218" y="579"/>
                  </a:lnTo>
                  <a:lnTo>
                    <a:pt x="208" y="574"/>
                  </a:lnTo>
                  <a:lnTo>
                    <a:pt x="190" y="570"/>
                  </a:lnTo>
                  <a:lnTo>
                    <a:pt x="187" y="543"/>
                  </a:lnTo>
                  <a:lnTo>
                    <a:pt x="186" y="534"/>
                  </a:lnTo>
                  <a:lnTo>
                    <a:pt x="181" y="528"/>
                  </a:lnTo>
                  <a:lnTo>
                    <a:pt x="167" y="515"/>
                  </a:lnTo>
                  <a:lnTo>
                    <a:pt x="163" y="513"/>
                  </a:lnTo>
                  <a:lnTo>
                    <a:pt x="152" y="513"/>
                  </a:lnTo>
                  <a:lnTo>
                    <a:pt x="143" y="510"/>
                  </a:lnTo>
                  <a:lnTo>
                    <a:pt x="137" y="504"/>
                  </a:lnTo>
                  <a:lnTo>
                    <a:pt x="126" y="488"/>
                  </a:lnTo>
                  <a:lnTo>
                    <a:pt x="121" y="488"/>
                  </a:lnTo>
                  <a:lnTo>
                    <a:pt x="121" y="503"/>
                  </a:lnTo>
                  <a:lnTo>
                    <a:pt x="118" y="508"/>
                  </a:lnTo>
                  <a:lnTo>
                    <a:pt x="113" y="510"/>
                  </a:lnTo>
                  <a:lnTo>
                    <a:pt x="108" y="508"/>
                  </a:lnTo>
                  <a:lnTo>
                    <a:pt x="105" y="500"/>
                  </a:lnTo>
                  <a:lnTo>
                    <a:pt x="101" y="492"/>
                  </a:lnTo>
                  <a:lnTo>
                    <a:pt x="102" y="483"/>
                  </a:lnTo>
                  <a:lnTo>
                    <a:pt x="106" y="478"/>
                  </a:lnTo>
                  <a:lnTo>
                    <a:pt x="111" y="477"/>
                  </a:lnTo>
                  <a:lnTo>
                    <a:pt x="116" y="474"/>
                  </a:lnTo>
                  <a:lnTo>
                    <a:pt x="118" y="468"/>
                  </a:lnTo>
                  <a:lnTo>
                    <a:pt x="120" y="462"/>
                  </a:lnTo>
                  <a:lnTo>
                    <a:pt x="123" y="452"/>
                  </a:lnTo>
                  <a:lnTo>
                    <a:pt x="126" y="448"/>
                  </a:lnTo>
                  <a:lnTo>
                    <a:pt x="132" y="445"/>
                  </a:lnTo>
                  <a:lnTo>
                    <a:pt x="143" y="445"/>
                  </a:lnTo>
                  <a:lnTo>
                    <a:pt x="163" y="437"/>
                  </a:lnTo>
                  <a:lnTo>
                    <a:pt x="167" y="434"/>
                  </a:lnTo>
                  <a:lnTo>
                    <a:pt x="188" y="415"/>
                  </a:lnTo>
                  <a:lnTo>
                    <a:pt x="190" y="408"/>
                  </a:lnTo>
                  <a:lnTo>
                    <a:pt x="188" y="400"/>
                  </a:lnTo>
                  <a:lnTo>
                    <a:pt x="180" y="385"/>
                  </a:lnTo>
                  <a:lnTo>
                    <a:pt x="175" y="378"/>
                  </a:lnTo>
                  <a:lnTo>
                    <a:pt x="170" y="373"/>
                  </a:lnTo>
                  <a:lnTo>
                    <a:pt x="165" y="374"/>
                  </a:lnTo>
                  <a:lnTo>
                    <a:pt x="162" y="377"/>
                  </a:lnTo>
                  <a:lnTo>
                    <a:pt x="160" y="382"/>
                  </a:lnTo>
                  <a:lnTo>
                    <a:pt x="158" y="385"/>
                  </a:lnTo>
                  <a:lnTo>
                    <a:pt x="156" y="390"/>
                  </a:lnTo>
                  <a:lnTo>
                    <a:pt x="151" y="393"/>
                  </a:lnTo>
                  <a:lnTo>
                    <a:pt x="146" y="395"/>
                  </a:lnTo>
                  <a:lnTo>
                    <a:pt x="136" y="402"/>
                  </a:lnTo>
                  <a:lnTo>
                    <a:pt x="126" y="405"/>
                  </a:lnTo>
                  <a:lnTo>
                    <a:pt x="122" y="404"/>
                  </a:lnTo>
                  <a:lnTo>
                    <a:pt x="117" y="400"/>
                  </a:lnTo>
                  <a:lnTo>
                    <a:pt x="115" y="397"/>
                  </a:lnTo>
                  <a:lnTo>
                    <a:pt x="111" y="392"/>
                  </a:lnTo>
                  <a:lnTo>
                    <a:pt x="110" y="385"/>
                  </a:lnTo>
                  <a:lnTo>
                    <a:pt x="110" y="378"/>
                  </a:lnTo>
                  <a:lnTo>
                    <a:pt x="113" y="367"/>
                  </a:lnTo>
                  <a:lnTo>
                    <a:pt x="115" y="358"/>
                  </a:lnTo>
                  <a:lnTo>
                    <a:pt x="111" y="355"/>
                  </a:lnTo>
                  <a:lnTo>
                    <a:pt x="106" y="354"/>
                  </a:lnTo>
                  <a:lnTo>
                    <a:pt x="97" y="349"/>
                  </a:lnTo>
                  <a:lnTo>
                    <a:pt x="91" y="342"/>
                  </a:lnTo>
                  <a:lnTo>
                    <a:pt x="83" y="340"/>
                  </a:lnTo>
                  <a:lnTo>
                    <a:pt x="71" y="330"/>
                  </a:lnTo>
                  <a:lnTo>
                    <a:pt x="67" y="325"/>
                  </a:lnTo>
                  <a:lnTo>
                    <a:pt x="63" y="320"/>
                  </a:lnTo>
                  <a:lnTo>
                    <a:pt x="60" y="313"/>
                  </a:lnTo>
                  <a:lnTo>
                    <a:pt x="56" y="280"/>
                  </a:lnTo>
                  <a:lnTo>
                    <a:pt x="52" y="275"/>
                  </a:lnTo>
                  <a:lnTo>
                    <a:pt x="47" y="273"/>
                  </a:lnTo>
                  <a:lnTo>
                    <a:pt x="42" y="272"/>
                  </a:lnTo>
                  <a:lnTo>
                    <a:pt x="35" y="264"/>
                  </a:lnTo>
                  <a:lnTo>
                    <a:pt x="31" y="258"/>
                  </a:lnTo>
                  <a:lnTo>
                    <a:pt x="27" y="250"/>
                  </a:lnTo>
                  <a:lnTo>
                    <a:pt x="26" y="242"/>
                  </a:lnTo>
                  <a:lnTo>
                    <a:pt x="25" y="223"/>
                  </a:lnTo>
                  <a:lnTo>
                    <a:pt x="23" y="218"/>
                  </a:lnTo>
                  <a:lnTo>
                    <a:pt x="20" y="215"/>
                  </a:lnTo>
                  <a:lnTo>
                    <a:pt x="10" y="217"/>
                  </a:lnTo>
                  <a:lnTo>
                    <a:pt x="2" y="213"/>
                  </a:lnTo>
                  <a:lnTo>
                    <a:pt x="0" y="205"/>
                  </a:lnTo>
                  <a:lnTo>
                    <a:pt x="1" y="189"/>
                  </a:lnTo>
                  <a:lnTo>
                    <a:pt x="2" y="184"/>
                  </a:lnTo>
                  <a:lnTo>
                    <a:pt x="6" y="179"/>
                  </a:lnTo>
                  <a:lnTo>
                    <a:pt x="12" y="178"/>
                  </a:lnTo>
                  <a:lnTo>
                    <a:pt x="18" y="178"/>
                  </a:lnTo>
                  <a:lnTo>
                    <a:pt x="25" y="180"/>
                  </a:lnTo>
                  <a:lnTo>
                    <a:pt x="32" y="179"/>
                  </a:lnTo>
                  <a:lnTo>
                    <a:pt x="37" y="177"/>
                  </a:lnTo>
                  <a:lnTo>
                    <a:pt x="42" y="172"/>
                  </a:lnTo>
                  <a:lnTo>
                    <a:pt x="50" y="159"/>
                  </a:lnTo>
                  <a:lnTo>
                    <a:pt x="67" y="143"/>
                  </a:lnTo>
                  <a:lnTo>
                    <a:pt x="70" y="138"/>
                  </a:lnTo>
                  <a:lnTo>
                    <a:pt x="71" y="142"/>
                  </a:lnTo>
                  <a:lnTo>
                    <a:pt x="73" y="142"/>
                  </a:lnTo>
                  <a:lnTo>
                    <a:pt x="77" y="129"/>
                  </a:lnTo>
                  <a:lnTo>
                    <a:pt x="78" y="117"/>
                  </a:lnTo>
                  <a:lnTo>
                    <a:pt x="82" y="105"/>
                  </a:lnTo>
                  <a:lnTo>
                    <a:pt x="90" y="100"/>
                  </a:lnTo>
                  <a:lnTo>
                    <a:pt x="95" y="82"/>
                  </a:lnTo>
                  <a:lnTo>
                    <a:pt x="126" y="75"/>
                  </a:lnTo>
                  <a:lnTo>
                    <a:pt x="181" y="73"/>
                  </a:lnTo>
                  <a:lnTo>
                    <a:pt x="188" y="75"/>
                  </a:lnTo>
                  <a:lnTo>
                    <a:pt x="222" y="73"/>
                  </a:lnTo>
                  <a:lnTo>
                    <a:pt x="245" y="79"/>
                  </a:lnTo>
                  <a:lnTo>
                    <a:pt x="260" y="82"/>
                  </a:lnTo>
                  <a:lnTo>
                    <a:pt x="290" y="65"/>
                  </a:lnTo>
                  <a:lnTo>
                    <a:pt x="318" y="68"/>
                  </a:lnTo>
                  <a:lnTo>
                    <a:pt x="346" y="78"/>
                  </a:lnTo>
                  <a:lnTo>
                    <a:pt x="367" y="89"/>
                  </a:lnTo>
                  <a:lnTo>
                    <a:pt x="372" y="85"/>
                  </a:lnTo>
                  <a:lnTo>
                    <a:pt x="378" y="83"/>
                  </a:lnTo>
                  <a:lnTo>
                    <a:pt x="392" y="83"/>
                  </a:lnTo>
                  <a:lnTo>
                    <a:pt x="390" y="68"/>
                  </a:lnTo>
                  <a:lnTo>
                    <a:pt x="397" y="69"/>
                  </a:lnTo>
                  <a:lnTo>
                    <a:pt x="410" y="77"/>
                  </a:lnTo>
                  <a:lnTo>
                    <a:pt x="418" y="79"/>
                  </a:lnTo>
                  <a:lnTo>
                    <a:pt x="446" y="73"/>
                  </a:lnTo>
                  <a:lnTo>
                    <a:pt x="475" y="73"/>
                  </a:lnTo>
                  <a:lnTo>
                    <a:pt x="483" y="72"/>
                  </a:lnTo>
                  <a:lnTo>
                    <a:pt x="497" y="64"/>
                  </a:lnTo>
                  <a:lnTo>
                    <a:pt x="511" y="62"/>
                  </a:lnTo>
                  <a:lnTo>
                    <a:pt x="518" y="53"/>
                  </a:lnTo>
                  <a:lnTo>
                    <a:pt x="526" y="52"/>
                  </a:lnTo>
                  <a:lnTo>
                    <a:pt x="543" y="65"/>
                  </a:lnTo>
                  <a:lnTo>
                    <a:pt x="551" y="68"/>
                  </a:lnTo>
                  <a:lnTo>
                    <a:pt x="593" y="73"/>
                  </a:lnTo>
                  <a:lnTo>
                    <a:pt x="602" y="68"/>
                  </a:lnTo>
                  <a:lnTo>
                    <a:pt x="611" y="72"/>
                  </a:lnTo>
                  <a:lnTo>
                    <a:pt x="620" y="68"/>
                  </a:lnTo>
                  <a:lnTo>
                    <a:pt x="627" y="62"/>
                  </a:lnTo>
                  <a:lnTo>
                    <a:pt x="636" y="58"/>
                  </a:lnTo>
                  <a:lnTo>
                    <a:pt x="701" y="58"/>
                  </a:lnTo>
                  <a:lnTo>
                    <a:pt x="703" y="50"/>
                  </a:lnTo>
                  <a:lnTo>
                    <a:pt x="700" y="45"/>
                  </a:lnTo>
                  <a:lnTo>
                    <a:pt x="697" y="39"/>
                  </a:lnTo>
                  <a:lnTo>
                    <a:pt x="705" y="32"/>
                  </a:lnTo>
                  <a:lnTo>
                    <a:pt x="701" y="20"/>
                  </a:lnTo>
                  <a:lnTo>
                    <a:pt x="718" y="20"/>
                  </a:lnTo>
                  <a:lnTo>
                    <a:pt x="725" y="17"/>
                  </a:lnTo>
                  <a:lnTo>
                    <a:pt x="727" y="8"/>
                  </a:lnTo>
                  <a:lnTo>
                    <a:pt x="731" y="0"/>
                  </a:lnTo>
                  <a:lnTo>
                    <a:pt x="740" y="2"/>
                  </a:lnTo>
                  <a:lnTo>
                    <a:pt x="758" y="10"/>
                  </a:lnTo>
                  <a:lnTo>
                    <a:pt x="770" y="20"/>
                  </a:lnTo>
                  <a:lnTo>
                    <a:pt x="801" y="57"/>
                  </a:lnTo>
                  <a:lnTo>
                    <a:pt x="811" y="73"/>
                  </a:lnTo>
                  <a:lnTo>
                    <a:pt x="815" y="73"/>
                  </a:lnTo>
                  <a:lnTo>
                    <a:pt x="817" y="62"/>
                  </a:lnTo>
                  <a:lnTo>
                    <a:pt x="822" y="65"/>
                  </a:lnTo>
                  <a:lnTo>
                    <a:pt x="828" y="79"/>
                  </a:lnTo>
                  <a:lnTo>
                    <a:pt x="857" y="83"/>
                  </a:lnTo>
                  <a:lnTo>
                    <a:pt x="968" y="79"/>
                  </a:lnTo>
                  <a:lnTo>
                    <a:pt x="986" y="83"/>
                  </a:lnTo>
                  <a:lnTo>
                    <a:pt x="987" y="94"/>
                  </a:lnTo>
                  <a:lnTo>
                    <a:pt x="980" y="105"/>
                  </a:lnTo>
                  <a:lnTo>
                    <a:pt x="971" y="115"/>
                  </a:lnTo>
                  <a:lnTo>
                    <a:pt x="975" y="120"/>
                  </a:lnTo>
                  <a:lnTo>
                    <a:pt x="980" y="117"/>
                  </a:lnTo>
                  <a:lnTo>
                    <a:pt x="992" y="113"/>
                  </a:lnTo>
                  <a:lnTo>
                    <a:pt x="997" y="110"/>
                  </a:lnTo>
                  <a:lnTo>
                    <a:pt x="1001" y="105"/>
                  </a:lnTo>
                  <a:lnTo>
                    <a:pt x="1003" y="100"/>
                  </a:lnTo>
                  <a:lnTo>
                    <a:pt x="1006" y="95"/>
                  </a:lnTo>
                  <a:lnTo>
                    <a:pt x="1015" y="94"/>
                  </a:lnTo>
                  <a:lnTo>
                    <a:pt x="1037" y="97"/>
                  </a:lnTo>
                  <a:lnTo>
                    <a:pt x="1046" y="100"/>
                  </a:lnTo>
                  <a:lnTo>
                    <a:pt x="1086" y="127"/>
                  </a:lnTo>
                  <a:lnTo>
                    <a:pt x="1105" y="134"/>
                  </a:lnTo>
                  <a:lnTo>
                    <a:pt x="1153" y="135"/>
                  </a:lnTo>
                  <a:lnTo>
                    <a:pt x="1166" y="139"/>
                  </a:lnTo>
                  <a:lnTo>
                    <a:pt x="1172" y="149"/>
                  </a:lnTo>
                  <a:lnTo>
                    <a:pt x="1178" y="145"/>
                  </a:lnTo>
                  <a:lnTo>
                    <a:pt x="1217" y="157"/>
                  </a:lnTo>
                  <a:lnTo>
                    <a:pt x="1222" y="155"/>
                  </a:lnTo>
                  <a:lnTo>
                    <a:pt x="1230" y="148"/>
                  </a:lnTo>
                  <a:lnTo>
                    <a:pt x="1236" y="147"/>
                  </a:lnTo>
                  <a:lnTo>
                    <a:pt x="1242" y="149"/>
                  </a:lnTo>
                  <a:lnTo>
                    <a:pt x="1255" y="155"/>
                  </a:lnTo>
                  <a:lnTo>
                    <a:pt x="1295" y="164"/>
                  </a:lnTo>
                  <a:lnTo>
                    <a:pt x="1340" y="185"/>
                  </a:lnTo>
                  <a:lnTo>
                    <a:pt x="1351" y="189"/>
                  </a:lnTo>
                  <a:lnTo>
                    <a:pt x="1473" y="199"/>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25" name="Ávila" descr="{&quot;Key&quot;:&quot;ávila&quot;,&quot;Name&quot;:&quot;Ávila&quot;,&quot;Value&quot;:1.0,&quot;Formula&quot;:&quot;&quot;,&quot;Text&quot;:&quot;1&quot;,&quot;HasValue&quot;:true}">
              <a:extLst>
                <a:ext uri="{FF2B5EF4-FFF2-40B4-BE49-F238E27FC236}">
                  <a16:creationId xmlns:a16="http://schemas.microsoft.com/office/drawing/2014/main" id="{3A439A95-6A14-CA42-A2F7-727BFF535E96}"/>
                </a:ext>
              </a:extLst>
            </p:cNvPr>
            <p:cNvSpPr>
              <a:spLocks/>
            </p:cNvSpPr>
            <p:nvPr/>
          </p:nvSpPr>
          <p:spPr bwMode="auto">
            <a:xfrm>
              <a:off x="2526630" y="3297120"/>
              <a:ext cx="597878" cy="542623"/>
            </a:xfrm>
            <a:custGeom>
              <a:avLst/>
              <a:gdLst>
                <a:gd name="T0" fmla="*/ 601 w 867"/>
                <a:gd name="T1" fmla="*/ 96 h 784"/>
                <a:gd name="T2" fmla="*/ 630 w 867"/>
                <a:gd name="T3" fmla="*/ 146 h 784"/>
                <a:gd name="T4" fmla="*/ 646 w 867"/>
                <a:gd name="T5" fmla="*/ 181 h 784"/>
                <a:gd name="T6" fmla="*/ 647 w 867"/>
                <a:gd name="T7" fmla="*/ 242 h 784"/>
                <a:gd name="T8" fmla="*/ 687 w 867"/>
                <a:gd name="T9" fmla="*/ 247 h 784"/>
                <a:gd name="T10" fmla="*/ 706 w 867"/>
                <a:gd name="T11" fmla="*/ 291 h 784"/>
                <a:gd name="T12" fmla="*/ 779 w 867"/>
                <a:gd name="T13" fmla="*/ 369 h 784"/>
                <a:gd name="T14" fmla="*/ 821 w 867"/>
                <a:gd name="T15" fmla="*/ 337 h 784"/>
                <a:gd name="T16" fmla="*/ 864 w 867"/>
                <a:gd name="T17" fmla="*/ 366 h 784"/>
                <a:gd name="T18" fmla="*/ 855 w 867"/>
                <a:gd name="T19" fmla="*/ 399 h 784"/>
                <a:gd name="T20" fmla="*/ 814 w 867"/>
                <a:gd name="T21" fmla="*/ 406 h 784"/>
                <a:gd name="T22" fmla="*/ 799 w 867"/>
                <a:gd name="T23" fmla="*/ 391 h 784"/>
                <a:gd name="T24" fmla="*/ 800 w 867"/>
                <a:gd name="T25" fmla="*/ 422 h 784"/>
                <a:gd name="T26" fmla="*/ 780 w 867"/>
                <a:gd name="T27" fmla="*/ 452 h 784"/>
                <a:gd name="T28" fmla="*/ 780 w 867"/>
                <a:gd name="T29" fmla="*/ 497 h 784"/>
                <a:gd name="T30" fmla="*/ 777 w 867"/>
                <a:gd name="T31" fmla="*/ 547 h 784"/>
                <a:gd name="T32" fmla="*/ 739 w 867"/>
                <a:gd name="T33" fmla="*/ 550 h 784"/>
                <a:gd name="T34" fmla="*/ 717 w 867"/>
                <a:gd name="T35" fmla="*/ 565 h 784"/>
                <a:gd name="T36" fmla="*/ 704 w 867"/>
                <a:gd name="T37" fmla="*/ 611 h 784"/>
                <a:gd name="T38" fmla="*/ 676 w 867"/>
                <a:gd name="T39" fmla="*/ 614 h 784"/>
                <a:gd name="T40" fmla="*/ 659 w 867"/>
                <a:gd name="T41" fmla="*/ 605 h 784"/>
                <a:gd name="T42" fmla="*/ 664 w 867"/>
                <a:gd name="T43" fmla="*/ 632 h 784"/>
                <a:gd name="T44" fmla="*/ 647 w 867"/>
                <a:gd name="T45" fmla="*/ 681 h 784"/>
                <a:gd name="T46" fmla="*/ 602 w 867"/>
                <a:gd name="T47" fmla="*/ 705 h 784"/>
                <a:gd name="T48" fmla="*/ 577 w 867"/>
                <a:gd name="T49" fmla="*/ 690 h 784"/>
                <a:gd name="T50" fmla="*/ 572 w 867"/>
                <a:gd name="T51" fmla="*/ 652 h 784"/>
                <a:gd name="T52" fmla="*/ 525 w 867"/>
                <a:gd name="T53" fmla="*/ 655 h 784"/>
                <a:gd name="T54" fmla="*/ 505 w 867"/>
                <a:gd name="T55" fmla="*/ 681 h 784"/>
                <a:gd name="T56" fmla="*/ 471 w 867"/>
                <a:gd name="T57" fmla="*/ 710 h 784"/>
                <a:gd name="T58" fmla="*/ 450 w 867"/>
                <a:gd name="T59" fmla="*/ 736 h 784"/>
                <a:gd name="T60" fmla="*/ 421 w 867"/>
                <a:gd name="T61" fmla="*/ 762 h 784"/>
                <a:gd name="T62" fmla="*/ 395 w 867"/>
                <a:gd name="T63" fmla="*/ 739 h 784"/>
                <a:gd name="T64" fmla="*/ 364 w 867"/>
                <a:gd name="T65" fmla="*/ 744 h 784"/>
                <a:gd name="T66" fmla="*/ 325 w 867"/>
                <a:gd name="T67" fmla="*/ 779 h 784"/>
                <a:gd name="T68" fmla="*/ 291 w 867"/>
                <a:gd name="T69" fmla="*/ 777 h 784"/>
                <a:gd name="T70" fmla="*/ 202 w 867"/>
                <a:gd name="T71" fmla="*/ 729 h 784"/>
                <a:gd name="T72" fmla="*/ 209 w 867"/>
                <a:gd name="T73" fmla="*/ 665 h 784"/>
                <a:gd name="T74" fmla="*/ 149 w 867"/>
                <a:gd name="T75" fmla="*/ 687 h 784"/>
                <a:gd name="T76" fmla="*/ 104 w 867"/>
                <a:gd name="T77" fmla="*/ 705 h 784"/>
                <a:gd name="T78" fmla="*/ 37 w 867"/>
                <a:gd name="T79" fmla="*/ 655 h 784"/>
                <a:gd name="T80" fmla="*/ 29 w 867"/>
                <a:gd name="T81" fmla="*/ 587 h 784"/>
                <a:gd name="T82" fmla="*/ 17 w 867"/>
                <a:gd name="T83" fmla="*/ 546 h 784"/>
                <a:gd name="T84" fmla="*/ 81 w 867"/>
                <a:gd name="T85" fmla="*/ 504 h 784"/>
                <a:gd name="T86" fmla="*/ 106 w 867"/>
                <a:gd name="T87" fmla="*/ 544 h 784"/>
                <a:gd name="T88" fmla="*/ 137 w 867"/>
                <a:gd name="T89" fmla="*/ 514 h 784"/>
                <a:gd name="T90" fmla="*/ 119 w 867"/>
                <a:gd name="T91" fmla="*/ 449 h 784"/>
                <a:gd name="T92" fmla="*/ 174 w 867"/>
                <a:gd name="T93" fmla="*/ 411 h 784"/>
                <a:gd name="T94" fmla="*/ 282 w 867"/>
                <a:gd name="T95" fmla="*/ 285 h 784"/>
                <a:gd name="T96" fmla="*/ 312 w 867"/>
                <a:gd name="T97" fmla="*/ 215 h 784"/>
                <a:gd name="T98" fmla="*/ 349 w 867"/>
                <a:gd name="T99" fmla="*/ 129 h 784"/>
                <a:gd name="T100" fmla="*/ 341 w 867"/>
                <a:gd name="T101" fmla="*/ 92 h 784"/>
                <a:gd name="T102" fmla="*/ 321 w 867"/>
                <a:gd name="T103" fmla="*/ 81 h 784"/>
                <a:gd name="T104" fmla="*/ 344 w 867"/>
                <a:gd name="T105" fmla="*/ 14 h 784"/>
                <a:gd name="T106" fmla="*/ 404 w 867"/>
                <a:gd name="T107" fmla="*/ 0 h 784"/>
                <a:gd name="T108" fmla="*/ 494 w 867"/>
                <a:gd name="T109" fmla="*/ 4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7" h="784">
                  <a:moveTo>
                    <a:pt x="569" y="4"/>
                  </a:moveTo>
                  <a:lnTo>
                    <a:pt x="561" y="51"/>
                  </a:lnTo>
                  <a:lnTo>
                    <a:pt x="570" y="67"/>
                  </a:lnTo>
                  <a:lnTo>
                    <a:pt x="601" y="96"/>
                  </a:lnTo>
                  <a:lnTo>
                    <a:pt x="607" y="106"/>
                  </a:lnTo>
                  <a:lnTo>
                    <a:pt x="619" y="135"/>
                  </a:lnTo>
                  <a:lnTo>
                    <a:pt x="624" y="141"/>
                  </a:lnTo>
                  <a:lnTo>
                    <a:pt x="630" y="146"/>
                  </a:lnTo>
                  <a:lnTo>
                    <a:pt x="639" y="150"/>
                  </a:lnTo>
                  <a:lnTo>
                    <a:pt x="642" y="152"/>
                  </a:lnTo>
                  <a:lnTo>
                    <a:pt x="645" y="157"/>
                  </a:lnTo>
                  <a:lnTo>
                    <a:pt x="646" y="181"/>
                  </a:lnTo>
                  <a:lnTo>
                    <a:pt x="655" y="209"/>
                  </a:lnTo>
                  <a:lnTo>
                    <a:pt x="654" y="219"/>
                  </a:lnTo>
                  <a:lnTo>
                    <a:pt x="646" y="235"/>
                  </a:lnTo>
                  <a:lnTo>
                    <a:pt x="647" y="242"/>
                  </a:lnTo>
                  <a:lnTo>
                    <a:pt x="654" y="247"/>
                  </a:lnTo>
                  <a:lnTo>
                    <a:pt x="674" y="241"/>
                  </a:lnTo>
                  <a:lnTo>
                    <a:pt x="682" y="242"/>
                  </a:lnTo>
                  <a:lnTo>
                    <a:pt x="687" y="247"/>
                  </a:lnTo>
                  <a:lnTo>
                    <a:pt x="689" y="252"/>
                  </a:lnTo>
                  <a:lnTo>
                    <a:pt x="691" y="266"/>
                  </a:lnTo>
                  <a:lnTo>
                    <a:pt x="694" y="277"/>
                  </a:lnTo>
                  <a:lnTo>
                    <a:pt x="706" y="291"/>
                  </a:lnTo>
                  <a:lnTo>
                    <a:pt x="711" y="300"/>
                  </a:lnTo>
                  <a:lnTo>
                    <a:pt x="725" y="386"/>
                  </a:lnTo>
                  <a:lnTo>
                    <a:pt x="766" y="377"/>
                  </a:lnTo>
                  <a:lnTo>
                    <a:pt x="779" y="369"/>
                  </a:lnTo>
                  <a:lnTo>
                    <a:pt x="814" y="366"/>
                  </a:lnTo>
                  <a:lnTo>
                    <a:pt x="804" y="344"/>
                  </a:lnTo>
                  <a:lnTo>
                    <a:pt x="812" y="339"/>
                  </a:lnTo>
                  <a:lnTo>
                    <a:pt x="821" y="337"/>
                  </a:lnTo>
                  <a:lnTo>
                    <a:pt x="855" y="341"/>
                  </a:lnTo>
                  <a:lnTo>
                    <a:pt x="867" y="347"/>
                  </a:lnTo>
                  <a:lnTo>
                    <a:pt x="864" y="361"/>
                  </a:lnTo>
                  <a:lnTo>
                    <a:pt x="864" y="366"/>
                  </a:lnTo>
                  <a:lnTo>
                    <a:pt x="862" y="379"/>
                  </a:lnTo>
                  <a:lnTo>
                    <a:pt x="862" y="389"/>
                  </a:lnTo>
                  <a:lnTo>
                    <a:pt x="861" y="395"/>
                  </a:lnTo>
                  <a:lnTo>
                    <a:pt x="855" y="399"/>
                  </a:lnTo>
                  <a:lnTo>
                    <a:pt x="844" y="402"/>
                  </a:lnTo>
                  <a:lnTo>
                    <a:pt x="834" y="407"/>
                  </a:lnTo>
                  <a:lnTo>
                    <a:pt x="822" y="409"/>
                  </a:lnTo>
                  <a:lnTo>
                    <a:pt x="814" y="406"/>
                  </a:lnTo>
                  <a:lnTo>
                    <a:pt x="810" y="402"/>
                  </a:lnTo>
                  <a:lnTo>
                    <a:pt x="805" y="394"/>
                  </a:lnTo>
                  <a:lnTo>
                    <a:pt x="802" y="391"/>
                  </a:lnTo>
                  <a:lnTo>
                    <a:pt x="799" y="391"/>
                  </a:lnTo>
                  <a:lnTo>
                    <a:pt x="796" y="395"/>
                  </a:lnTo>
                  <a:lnTo>
                    <a:pt x="796" y="402"/>
                  </a:lnTo>
                  <a:lnTo>
                    <a:pt x="800" y="412"/>
                  </a:lnTo>
                  <a:lnTo>
                    <a:pt x="800" y="422"/>
                  </a:lnTo>
                  <a:lnTo>
                    <a:pt x="797" y="431"/>
                  </a:lnTo>
                  <a:lnTo>
                    <a:pt x="795" y="436"/>
                  </a:lnTo>
                  <a:lnTo>
                    <a:pt x="784" y="445"/>
                  </a:lnTo>
                  <a:lnTo>
                    <a:pt x="780" y="452"/>
                  </a:lnTo>
                  <a:lnTo>
                    <a:pt x="781" y="466"/>
                  </a:lnTo>
                  <a:lnTo>
                    <a:pt x="780" y="476"/>
                  </a:lnTo>
                  <a:lnTo>
                    <a:pt x="781" y="484"/>
                  </a:lnTo>
                  <a:lnTo>
                    <a:pt x="780" y="497"/>
                  </a:lnTo>
                  <a:lnTo>
                    <a:pt x="782" y="506"/>
                  </a:lnTo>
                  <a:lnTo>
                    <a:pt x="775" y="534"/>
                  </a:lnTo>
                  <a:lnTo>
                    <a:pt x="777" y="544"/>
                  </a:lnTo>
                  <a:lnTo>
                    <a:pt x="777" y="547"/>
                  </a:lnTo>
                  <a:lnTo>
                    <a:pt x="771" y="550"/>
                  </a:lnTo>
                  <a:lnTo>
                    <a:pt x="756" y="551"/>
                  </a:lnTo>
                  <a:lnTo>
                    <a:pt x="749" y="554"/>
                  </a:lnTo>
                  <a:lnTo>
                    <a:pt x="739" y="550"/>
                  </a:lnTo>
                  <a:lnTo>
                    <a:pt x="731" y="551"/>
                  </a:lnTo>
                  <a:lnTo>
                    <a:pt x="725" y="555"/>
                  </a:lnTo>
                  <a:lnTo>
                    <a:pt x="720" y="561"/>
                  </a:lnTo>
                  <a:lnTo>
                    <a:pt x="717" y="565"/>
                  </a:lnTo>
                  <a:lnTo>
                    <a:pt x="715" y="586"/>
                  </a:lnTo>
                  <a:lnTo>
                    <a:pt x="712" y="594"/>
                  </a:lnTo>
                  <a:lnTo>
                    <a:pt x="707" y="604"/>
                  </a:lnTo>
                  <a:lnTo>
                    <a:pt x="704" y="611"/>
                  </a:lnTo>
                  <a:lnTo>
                    <a:pt x="697" y="615"/>
                  </a:lnTo>
                  <a:lnTo>
                    <a:pt x="691" y="617"/>
                  </a:lnTo>
                  <a:lnTo>
                    <a:pt x="682" y="617"/>
                  </a:lnTo>
                  <a:lnTo>
                    <a:pt x="676" y="614"/>
                  </a:lnTo>
                  <a:lnTo>
                    <a:pt x="670" y="605"/>
                  </a:lnTo>
                  <a:lnTo>
                    <a:pt x="666" y="601"/>
                  </a:lnTo>
                  <a:lnTo>
                    <a:pt x="662" y="602"/>
                  </a:lnTo>
                  <a:lnTo>
                    <a:pt x="659" y="605"/>
                  </a:lnTo>
                  <a:lnTo>
                    <a:pt x="659" y="611"/>
                  </a:lnTo>
                  <a:lnTo>
                    <a:pt x="660" y="617"/>
                  </a:lnTo>
                  <a:lnTo>
                    <a:pt x="662" y="626"/>
                  </a:lnTo>
                  <a:lnTo>
                    <a:pt x="664" y="632"/>
                  </a:lnTo>
                  <a:lnTo>
                    <a:pt x="662" y="637"/>
                  </a:lnTo>
                  <a:lnTo>
                    <a:pt x="660" y="642"/>
                  </a:lnTo>
                  <a:lnTo>
                    <a:pt x="652" y="656"/>
                  </a:lnTo>
                  <a:lnTo>
                    <a:pt x="647" y="681"/>
                  </a:lnTo>
                  <a:lnTo>
                    <a:pt x="640" y="694"/>
                  </a:lnTo>
                  <a:lnTo>
                    <a:pt x="624" y="701"/>
                  </a:lnTo>
                  <a:lnTo>
                    <a:pt x="610" y="704"/>
                  </a:lnTo>
                  <a:lnTo>
                    <a:pt x="602" y="705"/>
                  </a:lnTo>
                  <a:lnTo>
                    <a:pt x="595" y="702"/>
                  </a:lnTo>
                  <a:lnTo>
                    <a:pt x="585" y="697"/>
                  </a:lnTo>
                  <a:lnTo>
                    <a:pt x="581" y="694"/>
                  </a:lnTo>
                  <a:lnTo>
                    <a:pt x="577" y="690"/>
                  </a:lnTo>
                  <a:lnTo>
                    <a:pt x="576" y="685"/>
                  </a:lnTo>
                  <a:lnTo>
                    <a:pt x="574" y="667"/>
                  </a:lnTo>
                  <a:lnTo>
                    <a:pt x="571" y="657"/>
                  </a:lnTo>
                  <a:lnTo>
                    <a:pt x="572" y="652"/>
                  </a:lnTo>
                  <a:lnTo>
                    <a:pt x="569" y="647"/>
                  </a:lnTo>
                  <a:lnTo>
                    <a:pt x="564" y="647"/>
                  </a:lnTo>
                  <a:lnTo>
                    <a:pt x="551" y="651"/>
                  </a:lnTo>
                  <a:lnTo>
                    <a:pt x="525" y="655"/>
                  </a:lnTo>
                  <a:lnTo>
                    <a:pt x="514" y="655"/>
                  </a:lnTo>
                  <a:lnTo>
                    <a:pt x="510" y="659"/>
                  </a:lnTo>
                  <a:lnTo>
                    <a:pt x="507" y="669"/>
                  </a:lnTo>
                  <a:lnTo>
                    <a:pt x="505" y="681"/>
                  </a:lnTo>
                  <a:lnTo>
                    <a:pt x="499" y="690"/>
                  </a:lnTo>
                  <a:lnTo>
                    <a:pt x="490" y="697"/>
                  </a:lnTo>
                  <a:lnTo>
                    <a:pt x="477" y="705"/>
                  </a:lnTo>
                  <a:lnTo>
                    <a:pt x="471" y="710"/>
                  </a:lnTo>
                  <a:lnTo>
                    <a:pt x="462" y="716"/>
                  </a:lnTo>
                  <a:lnTo>
                    <a:pt x="456" y="721"/>
                  </a:lnTo>
                  <a:lnTo>
                    <a:pt x="451" y="730"/>
                  </a:lnTo>
                  <a:lnTo>
                    <a:pt x="450" y="736"/>
                  </a:lnTo>
                  <a:lnTo>
                    <a:pt x="446" y="746"/>
                  </a:lnTo>
                  <a:lnTo>
                    <a:pt x="441" y="750"/>
                  </a:lnTo>
                  <a:lnTo>
                    <a:pt x="430" y="759"/>
                  </a:lnTo>
                  <a:lnTo>
                    <a:pt x="421" y="762"/>
                  </a:lnTo>
                  <a:lnTo>
                    <a:pt x="409" y="765"/>
                  </a:lnTo>
                  <a:lnTo>
                    <a:pt x="401" y="762"/>
                  </a:lnTo>
                  <a:lnTo>
                    <a:pt x="399" y="759"/>
                  </a:lnTo>
                  <a:lnTo>
                    <a:pt x="395" y="739"/>
                  </a:lnTo>
                  <a:lnTo>
                    <a:pt x="391" y="735"/>
                  </a:lnTo>
                  <a:lnTo>
                    <a:pt x="385" y="735"/>
                  </a:lnTo>
                  <a:lnTo>
                    <a:pt x="371" y="740"/>
                  </a:lnTo>
                  <a:lnTo>
                    <a:pt x="364" y="744"/>
                  </a:lnTo>
                  <a:lnTo>
                    <a:pt x="360" y="747"/>
                  </a:lnTo>
                  <a:lnTo>
                    <a:pt x="352" y="756"/>
                  </a:lnTo>
                  <a:lnTo>
                    <a:pt x="330" y="774"/>
                  </a:lnTo>
                  <a:lnTo>
                    <a:pt x="325" y="779"/>
                  </a:lnTo>
                  <a:lnTo>
                    <a:pt x="319" y="781"/>
                  </a:lnTo>
                  <a:lnTo>
                    <a:pt x="310" y="784"/>
                  </a:lnTo>
                  <a:lnTo>
                    <a:pt x="297" y="782"/>
                  </a:lnTo>
                  <a:lnTo>
                    <a:pt x="291" y="777"/>
                  </a:lnTo>
                  <a:lnTo>
                    <a:pt x="275" y="770"/>
                  </a:lnTo>
                  <a:lnTo>
                    <a:pt x="221" y="764"/>
                  </a:lnTo>
                  <a:lnTo>
                    <a:pt x="211" y="747"/>
                  </a:lnTo>
                  <a:lnTo>
                    <a:pt x="202" y="729"/>
                  </a:lnTo>
                  <a:lnTo>
                    <a:pt x="201" y="695"/>
                  </a:lnTo>
                  <a:lnTo>
                    <a:pt x="202" y="685"/>
                  </a:lnTo>
                  <a:lnTo>
                    <a:pt x="209" y="670"/>
                  </a:lnTo>
                  <a:lnTo>
                    <a:pt x="209" y="665"/>
                  </a:lnTo>
                  <a:lnTo>
                    <a:pt x="206" y="662"/>
                  </a:lnTo>
                  <a:lnTo>
                    <a:pt x="196" y="662"/>
                  </a:lnTo>
                  <a:lnTo>
                    <a:pt x="167" y="671"/>
                  </a:lnTo>
                  <a:lnTo>
                    <a:pt x="149" y="687"/>
                  </a:lnTo>
                  <a:lnTo>
                    <a:pt x="137" y="700"/>
                  </a:lnTo>
                  <a:lnTo>
                    <a:pt x="134" y="701"/>
                  </a:lnTo>
                  <a:lnTo>
                    <a:pt x="125" y="704"/>
                  </a:lnTo>
                  <a:lnTo>
                    <a:pt x="104" y="705"/>
                  </a:lnTo>
                  <a:lnTo>
                    <a:pt x="82" y="697"/>
                  </a:lnTo>
                  <a:lnTo>
                    <a:pt x="69" y="689"/>
                  </a:lnTo>
                  <a:lnTo>
                    <a:pt x="55" y="671"/>
                  </a:lnTo>
                  <a:lnTo>
                    <a:pt x="37" y="655"/>
                  </a:lnTo>
                  <a:lnTo>
                    <a:pt x="22" y="644"/>
                  </a:lnTo>
                  <a:lnTo>
                    <a:pt x="0" y="634"/>
                  </a:lnTo>
                  <a:lnTo>
                    <a:pt x="26" y="595"/>
                  </a:lnTo>
                  <a:lnTo>
                    <a:pt x="29" y="587"/>
                  </a:lnTo>
                  <a:lnTo>
                    <a:pt x="29" y="577"/>
                  </a:lnTo>
                  <a:lnTo>
                    <a:pt x="26" y="567"/>
                  </a:lnTo>
                  <a:lnTo>
                    <a:pt x="19" y="554"/>
                  </a:lnTo>
                  <a:lnTo>
                    <a:pt x="17" y="546"/>
                  </a:lnTo>
                  <a:lnTo>
                    <a:pt x="21" y="539"/>
                  </a:lnTo>
                  <a:lnTo>
                    <a:pt x="61" y="507"/>
                  </a:lnTo>
                  <a:lnTo>
                    <a:pt x="75" y="504"/>
                  </a:lnTo>
                  <a:lnTo>
                    <a:pt x="81" y="504"/>
                  </a:lnTo>
                  <a:lnTo>
                    <a:pt x="84" y="509"/>
                  </a:lnTo>
                  <a:lnTo>
                    <a:pt x="85" y="522"/>
                  </a:lnTo>
                  <a:lnTo>
                    <a:pt x="99" y="537"/>
                  </a:lnTo>
                  <a:lnTo>
                    <a:pt x="106" y="544"/>
                  </a:lnTo>
                  <a:lnTo>
                    <a:pt x="115" y="542"/>
                  </a:lnTo>
                  <a:lnTo>
                    <a:pt x="121" y="536"/>
                  </a:lnTo>
                  <a:lnTo>
                    <a:pt x="117" y="516"/>
                  </a:lnTo>
                  <a:lnTo>
                    <a:pt x="137" y="514"/>
                  </a:lnTo>
                  <a:lnTo>
                    <a:pt x="144" y="507"/>
                  </a:lnTo>
                  <a:lnTo>
                    <a:pt x="147" y="499"/>
                  </a:lnTo>
                  <a:lnTo>
                    <a:pt x="161" y="449"/>
                  </a:lnTo>
                  <a:lnTo>
                    <a:pt x="119" y="449"/>
                  </a:lnTo>
                  <a:lnTo>
                    <a:pt x="116" y="424"/>
                  </a:lnTo>
                  <a:lnTo>
                    <a:pt x="119" y="424"/>
                  </a:lnTo>
                  <a:lnTo>
                    <a:pt x="155" y="421"/>
                  </a:lnTo>
                  <a:lnTo>
                    <a:pt x="174" y="411"/>
                  </a:lnTo>
                  <a:lnTo>
                    <a:pt x="189" y="396"/>
                  </a:lnTo>
                  <a:lnTo>
                    <a:pt x="201" y="356"/>
                  </a:lnTo>
                  <a:lnTo>
                    <a:pt x="267" y="309"/>
                  </a:lnTo>
                  <a:lnTo>
                    <a:pt x="282" y="285"/>
                  </a:lnTo>
                  <a:lnTo>
                    <a:pt x="304" y="270"/>
                  </a:lnTo>
                  <a:lnTo>
                    <a:pt x="314" y="251"/>
                  </a:lnTo>
                  <a:lnTo>
                    <a:pt x="315" y="242"/>
                  </a:lnTo>
                  <a:lnTo>
                    <a:pt x="312" y="215"/>
                  </a:lnTo>
                  <a:lnTo>
                    <a:pt x="341" y="181"/>
                  </a:lnTo>
                  <a:lnTo>
                    <a:pt x="332" y="151"/>
                  </a:lnTo>
                  <a:lnTo>
                    <a:pt x="345" y="137"/>
                  </a:lnTo>
                  <a:lnTo>
                    <a:pt x="349" y="129"/>
                  </a:lnTo>
                  <a:lnTo>
                    <a:pt x="350" y="116"/>
                  </a:lnTo>
                  <a:lnTo>
                    <a:pt x="347" y="104"/>
                  </a:lnTo>
                  <a:lnTo>
                    <a:pt x="345" y="97"/>
                  </a:lnTo>
                  <a:lnTo>
                    <a:pt x="341" y="92"/>
                  </a:lnTo>
                  <a:lnTo>
                    <a:pt x="337" y="90"/>
                  </a:lnTo>
                  <a:lnTo>
                    <a:pt x="326" y="87"/>
                  </a:lnTo>
                  <a:lnTo>
                    <a:pt x="322" y="85"/>
                  </a:lnTo>
                  <a:lnTo>
                    <a:pt x="321" y="81"/>
                  </a:lnTo>
                  <a:lnTo>
                    <a:pt x="319" y="56"/>
                  </a:lnTo>
                  <a:lnTo>
                    <a:pt x="322" y="44"/>
                  </a:lnTo>
                  <a:lnTo>
                    <a:pt x="334" y="21"/>
                  </a:lnTo>
                  <a:lnTo>
                    <a:pt x="344" y="14"/>
                  </a:lnTo>
                  <a:lnTo>
                    <a:pt x="351" y="12"/>
                  </a:lnTo>
                  <a:lnTo>
                    <a:pt x="370" y="16"/>
                  </a:lnTo>
                  <a:lnTo>
                    <a:pt x="392" y="1"/>
                  </a:lnTo>
                  <a:lnTo>
                    <a:pt x="404" y="0"/>
                  </a:lnTo>
                  <a:lnTo>
                    <a:pt x="416" y="4"/>
                  </a:lnTo>
                  <a:lnTo>
                    <a:pt x="466" y="40"/>
                  </a:lnTo>
                  <a:lnTo>
                    <a:pt x="482" y="46"/>
                  </a:lnTo>
                  <a:lnTo>
                    <a:pt x="494" y="41"/>
                  </a:lnTo>
                  <a:lnTo>
                    <a:pt x="517" y="17"/>
                  </a:lnTo>
                  <a:lnTo>
                    <a:pt x="569" y="4"/>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26" name="Badajoz" descr="{&quot;Key&quot;:&quot;badajoz&quot;,&quot;Name&quot;:&quot;Badajoz&quot;,&quot;Value&quot;:1.0,&quot;Formula&quot;:&quot;&quot;,&quot;Text&quot;:&quot;1&quot;,&quot;HasValue&quot;:true}">
              <a:extLst>
                <a:ext uri="{FF2B5EF4-FFF2-40B4-BE49-F238E27FC236}">
                  <a16:creationId xmlns:a16="http://schemas.microsoft.com/office/drawing/2014/main" id="{ACEE1285-27E7-9515-3428-720C42F9CC57}"/>
                </a:ext>
              </a:extLst>
            </p:cNvPr>
            <p:cNvSpPr>
              <a:spLocks/>
            </p:cNvSpPr>
            <p:nvPr/>
          </p:nvSpPr>
          <p:spPr bwMode="auto">
            <a:xfrm>
              <a:off x="1901834" y="4158517"/>
              <a:ext cx="1032827" cy="740971"/>
            </a:xfrm>
            <a:custGeom>
              <a:avLst/>
              <a:gdLst>
                <a:gd name="T0" fmla="*/ 1213 w 1497"/>
                <a:gd name="T1" fmla="*/ 535 h 1073"/>
                <a:gd name="T2" fmla="*/ 1142 w 1497"/>
                <a:gd name="T3" fmla="*/ 603 h 1073"/>
                <a:gd name="T4" fmla="*/ 1097 w 1497"/>
                <a:gd name="T5" fmla="*/ 626 h 1073"/>
                <a:gd name="T6" fmla="*/ 1050 w 1497"/>
                <a:gd name="T7" fmla="*/ 685 h 1073"/>
                <a:gd name="T8" fmla="*/ 992 w 1497"/>
                <a:gd name="T9" fmla="*/ 730 h 1073"/>
                <a:gd name="T10" fmla="*/ 995 w 1497"/>
                <a:gd name="T11" fmla="*/ 782 h 1073"/>
                <a:gd name="T12" fmla="*/ 1019 w 1497"/>
                <a:gd name="T13" fmla="*/ 842 h 1073"/>
                <a:gd name="T14" fmla="*/ 1012 w 1497"/>
                <a:gd name="T15" fmla="*/ 903 h 1073"/>
                <a:gd name="T16" fmla="*/ 936 w 1497"/>
                <a:gd name="T17" fmla="*/ 957 h 1073"/>
                <a:gd name="T18" fmla="*/ 909 w 1497"/>
                <a:gd name="T19" fmla="*/ 933 h 1073"/>
                <a:gd name="T20" fmla="*/ 897 w 1497"/>
                <a:gd name="T21" fmla="*/ 896 h 1073"/>
                <a:gd name="T22" fmla="*/ 809 w 1497"/>
                <a:gd name="T23" fmla="*/ 941 h 1073"/>
                <a:gd name="T24" fmla="*/ 802 w 1497"/>
                <a:gd name="T25" fmla="*/ 983 h 1073"/>
                <a:gd name="T26" fmla="*/ 742 w 1497"/>
                <a:gd name="T27" fmla="*/ 1036 h 1073"/>
                <a:gd name="T28" fmla="*/ 570 w 1497"/>
                <a:gd name="T29" fmla="*/ 1035 h 1073"/>
                <a:gd name="T30" fmla="*/ 507 w 1497"/>
                <a:gd name="T31" fmla="*/ 991 h 1073"/>
                <a:gd name="T32" fmla="*/ 436 w 1497"/>
                <a:gd name="T33" fmla="*/ 1013 h 1073"/>
                <a:gd name="T34" fmla="*/ 404 w 1497"/>
                <a:gd name="T35" fmla="*/ 966 h 1073"/>
                <a:gd name="T36" fmla="*/ 309 w 1497"/>
                <a:gd name="T37" fmla="*/ 953 h 1073"/>
                <a:gd name="T38" fmla="*/ 314 w 1497"/>
                <a:gd name="T39" fmla="*/ 913 h 1073"/>
                <a:gd name="T40" fmla="*/ 185 w 1497"/>
                <a:gd name="T41" fmla="*/ 890 h 1073"/>
                <a:gd name="T42" fmla="*/ 104 w 1497"/>
                <a:gd name="T43" fmla="*/ 836 h 1073"/>
                <a:gd name="T44" fmla="*/ 7 w 1497"/>
                <a:gd name="T45" fmla="*/ 718 h 1073"/>
                <a:gd name="T46" fmla="*/ 22 w 1497"/>
                <a:gd name="T47" fmla="*/ 637 h 1073"/>
                <a:gd name="T48" fmla="*/ 37 w 1497"/>
                <a:gd name="T49" fmla="*/ 550 h 1073"/>
                <a:gd name="T50" fmla="*/ 107 w 1497"/>
                <a:gd name="T51" fmla="*/ 462 h 1073"/>
                <a:gd name="T52" fmla="*/ 167 w 1497"/>
                <a:gd name="T53" fmla="*/ 425 h 1073"/>
                <a:gd name="T54" fmla="*/ 211 w 1497"/>
                <a:gd name="T55" fmla="*/ 319 h 1073"/>
                <a:gd name="T56" fmla="*/ 190 w 1497"/>
                <a:gd name="T57" fmla="*/ 252 h 1073"/>
                <a:gd name="T58" fmla="*/ 112 w 1497"/>
                <a:gd name="T59" fmla="*/ 246 h 1073"/>
                <a:gd name="T60" fmla="*/ 77 w 1497"/>
                <a:gd name="T61" fmla="*/ 190 h 1073"/>
                <a:gd name="T62" fmla="*/ 111 w 1497"/>
                <a:gd name="T63" fmla="*/ 97 h 1073"/>
                <a:gd name="T64" fmla="*/ 134 w 1497"/>
                <a:gd name="T65" fmla="*/ 50 h 1073"/>
                <a:gd name="T66" fmla="*/ 177 w 1497"/>
                <a:gd name="T67" fmla="*/ 92 h 1073"/>
                <a:gd name="T68" fmla="*/ 172 w 1497"/>
                <a:gd name="T69" fmla="*/ 8 h 1073"/>
                <a:gd name="T70" fmla="*/ 332 w 1497"/>
                <a:gd name="T71" fmla="*/ 86 h 1073"/>
                <a:gd name="T72" fmla="*/ 387 w 1497"/>
                <a:gd name="T73" fmla="*/ 180 h 1073"/>
                <a:gd name="T74" fmla="*/ 456 w 1497"/>
                <a:gd name="T75" fmla="*/ 201 h 1073"/>
                <a:gd name="T76" fmla="*/ 615 w 1497"/>
                <a:gd name="T77" fmla="*/ 251 h 1073"/>
                <a:gd name="T78" fmla="*/ 675 w 1497"/>
                <a:gd name="T79" fmla="*/ 299 h 1073"/>
                <a:gd name="T80" fmla="*/ 795 w 1497"/>
                <a:gd name="T81" fmla="*/ 262 h 1073"/>
                <a:gd name="T82" fmla="*/ 967 w 1497"/>
                <a:gd name="T83" fmla="*/ 249 h 1073"/>
                <a:gd name="T84" fmla="*/ 993 w 1497"/>
                <a:gd name="T85" fmla="*/ 172 h 1073"/>
                <a:gd name="T86" fmla="*/ 1102 w 1497"/>
                <a:gd name="T87" fmla="*/ 182 h 1073"/>
                <a:gd name="T88" fmla="*/ 1120 w 1497"/>
                <a:gd name="T89" fmla="*/ 90 h 1073"/>
                <a:gd name="T90" fmla="*/ 1243 w 1497"/>
                <a:gd name="T91" fmla="*/ 66 h 1073"/>
                <a:gd name="T92" fmla="*/ 1339 w 1497"/>
                <a:gd name="T93" fmla="*/ 41 h 1073"/>
                <a:gd name="T94" fmla="*/ 1437 w 1497"/>
                <a:gd name="T95" fmla="*/ 32 h 1073"/>
                <a:gd name="T96" fmla="*/ 1467 w 1497"/>
                <a:gd name="T97" fmla="*/ 75 h 1073"/>
                <a:gd name="T98" fmla="*/ 1445 w 1497"/>
                <a:gd name="T99" fmla="*/ 109 h 1073"/>
                <a:gd name="T100" fmla="*/ 1487 w 1497"/>
                <a:gd name="T101" fmla="*/ 196 h 1073"/>
                <a:gd name="T102" fmla="*/ 1415 w 1497"/>
                <a:gd name="T103" fmla="*/ 180 h 1073"/>
                <a:gd name="T104" fmla="*/ 1381 w 1497"/>
                <a:gd name="T105" fmla="*/ 246 h 1073"/>
                <a:gd name="T106" fmla="*/ 1400 w 1497"/>
                <a:gd name="T107" fmla="*/ 287 h 1073"/>
                <a:gd name="T108" fmla="*/ 1337 w 1497"/>
                <a:gd name="T109" fmla="*/ 285 h 1073"/>
                <a:gd name="T110" fmla="*/ 1347 w 1497"/>
                <a:gd name="T111" fmla="*/ 337 h 1073"/>
                <a:gd name="T112" fmla="*/ 1399 w 1497"/>
                <a:gd name="T113" fmla="*/ 372 h 1073"/>
                <a:gd name="T114" fmla="*/ 1356 w 1497"/>
                <a:gd name="T115" fmla="*/ 406 h 1073"/>
                <a:gd name="T116" fmla="*/ 1309 w 1497"/>
                <a:gd name="T117" fmla="*/ 51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7" h="1073">
                  <a:moveTo>
                    <a:pt x="1287" y="515"/>
                  </a:moveTo>
                  <a:lnTo>
                    <a:pt x="1272" y="517"/>
                  </a:lnTo>
                  <a:lnTo>
                    <a:pt x="1263" y="521"/>
                  </a:lnTo>
                  <a:lnTo>
                    <a:pt x="1220" y="522"/>
                  </a:lnTo>
                  <a:lnTo>
                    <a:pt x="1213" y="526"/>
                  </a:lnTo>
                  <a:lnTo>
                    <a:pt x="1212" y="530"/>
                  </a:lnTo>
                  <a:lnTo>
                    <a:pt x="1213" y="535"/>
                  </a:lnTo>
                  <a:lnTo>
                    <a:pt x="1215" y="540"/>
                  </a:lnTo>
                  <a:lnTo>
                    <a:pt x="1210" y="556"/>
                  </a:lnTo>
                  <a:lnTo>
                    <a:pt x="1207" y="560"/>
                  </a:lnTo>
                  <a:lnTo>
                    <a:pt x="1191" y="565"/>
                  </a:lnTo>
                  <a:lnTo>
                    <a:pt x="1166" y="582"/>
                  </a:lnTo>
                  <a:lnTo>
                    <a:pt x="1147" y="597"/>
                  </a:lnTo>
                  <a:lnTo>
                    <a:pt x="1142" y="603"/>
                  </a:lnTo>
                  <a:lnTo>
                    <a:pt x="1140" y="610"/>
                  </a:lnTo>
                  <a:lnTo>
                    <a:pt x="1137" y="616"/>
                  </a:lnTo>
                  <a:lnTo>
                    <a:pt x="1132" y="617"/>
                  </a:lnTo>
                  <a:lnTo>
                    <a:pt x="1125" y="616"/>
                  </a:lnTo>
                  <a:lnTo>
                    <a:pt x="1113" y="616"/>
                  </a:lnTo>
                  <a:lnTo>
                    <a:pt x="1107" y="617"/>
                  </a:lnTo>
                  <a:lnTo>
                    <a:pt x="1097" y="626"/>
                  </a:lnTo>
                  <a:lnTo>
                    <a:pt x="1086" y="642"/>
                  </a:lnTo>
                  <a:lnTo>
                    <a:pt x="1082" y="650"/>
                  </a:lnTo>
                  <a:lnTo>
                    <a:pt x="1081" y="655"/>
                  </a:lnTo>
                  <a:lnTo>
                    <a:pt x="1080" y="660"/>
                  </a:lnTo>
                  <a:lnTo>
                    <a:pt x="1075" y="666"/>
                  </a:lnTo>
                  <a:lnTo>
                    <a:pt x="1059" y="677"/>
                  </a:lnTo>
                  <a:lnTo>
                    <a:pt x="1050" y="685"/>
                  </a:lnTo>
                  <a:lnTo>
                    <a:pt x="1047" y="690"/>
                  </a:lnTo>
                  <a:lnTo>
                    <a:pt x="1041" y="698"/>
                  </a:lnTo>
                  <a:lnTo>
                    <a:pt x="1037" y="702"/>
                  </a:lnTo>
                  <a:lnTo>
                    <a:pt x="1027" y="706"/>
                  </a:lnTo>
                  <a:lnTo>
                    <a:pt x="1004" y="720"/>
                  </a:lnTo>
                  <a:lnTo>
                    <a:pt x="996" y="725"/>
                  </a:lnTo>
                  <a:lnTo>
                    <a:pt x="992" y="730"/>
                  </a:lnTo>
                  <a:lnTo>
                    <a:pt x="989" y="745"/>
                  </a:lnTo>
                  <a:lnTo>
                    <a:pt x="989" y="752"/>
                  </a:lnTo>
                  <a:lnTo>
                    <a:pt x="990" y="755"/>
                  </a:lnTo>
                  <a:lnTo>
                    <a:pt x="995" y="761"/>
                  </a:lnTo>
                  <a:lnTo>
                    <a:pt x="996" y="763"/>
                  </a:lnTo>
                  <a:lnTo>
                    <a:pt x="997" y="771"/>
                  </a:lnTo>
                  <a:lnTo>
                    <a:pt x="995" y="782"/>
                  </a:lnTo>
                  <a:lnTo>
                    <a:pt x="994" y="793"/>
                  </a:lnTo>
                  <a:lnTo>
                    <a:pt x="995" y="796"/>
                  </a:lnTo>
                  <a:lnTo>
                    <a:pt x="1002" y="803"/>
                  </a:lnTo>
                  <a:lnTo>
                    <a:pt x="1006" y="811"/>
                  </a:lnTo>
                  <a:lnTo>
                    <a:pt x="1009" y="818"/>
                  </a:lnTo>
                  <a:lnTo>
                    <a:pt x="1012" y="830"/>
                  </a:lnTo>
                  <a:lnTo>
                    <a:pt x="1019" y="842"/>
                  </a:lnTo>
                  <a:lnTo>
                    <a:pt x="1019" y="852"/>
                  </a:lnTo>
                  <a:lnTo>
                    <a:pt x="1020" y="857"/>
                  </a:lnTo>
                  <a:lnTo>
                    <a:pt x="1021" y="873"/>
                  </a:lnTo>
                  <a:lnTo>
                    <a:pt x="1020" y="883"/>
                  </a:lnTo>
                  <a:lnTo>
                    <a:pt x="1016" y="888"/>
                  </a:lnTo>
                  <a:lnTo>
                    <a:pt x="1014" y="893"/>
                  </a:lnTo>
                  <a:lnTo>
                    <a:pt x="1012" y="903"/>
                  </a:lnTo>
                  <a:lnTo>
                    <a:pt x="1012" y="912"/>
                  </a:lnTo>
                  <a:lnTo>
                    <a:pt x="1010" y="916"/>
                  </a:lnTo>
                  <a:lnTo>
                    <a:pt x="986" y="935"/>
                  </a:lnTo>
                  <a:lnTo>
                    <a:pt x="962" y="933"/>
                  </a:lnTo>
                  <a:lnTo>
                    <a:pt x="951" y="941"/>
                  </a:lnTo>
                  <a:lnTo>
                    <a:pt x="947" y="946"/>
                  </a:lnTo>
                  <a:lnTo>
                    <a:pt x="936" y="957"/>
                  </a:lnTo>
                  <a:lnTo>
                    <a:pt x="924" y="966"/>
                  </a:lnTo>
                  <a:lnTo>
                    <a:pt x="914" y="968"/>
                  </a:lnTo>
                  <a:lnTo>
                    <a:pt x="907" y="967"/>
                  </a:lnTo>
                  <a:lnTo>
                    <a:pt x="904" y="963"/>
                  </a:lnTo>
                  <a:lnTo>
                    <a:pt x="901" y="948"/>
                  </a:lnTo>
                  <a:lnTo>
                    <a:pt x="901" y="938"/>
                  </a:lnTo>
                  <a:lnTo>
                    <a:pt x="909" y="933"/>
                  </a:lnTo>
                  <a:lnTo>
                    <a:pt x="914" y="931"/>
                  </a:lnTo>
                  <a:lnTo>
                    <a:pt x="922" y="926"/>
                  </a:lnTo>
                  <a:lnTo>
                    <a:pt x="925" y="922"/>
                  </a:lnTo>
                  <a:lnTo>
                    <a:pt x="921" y="913"/>
                  </a:lnTo>
                  <a:lnTo>
                    <a:pt x="912" y="903"/>
                  </a:lnTo>
                  <a:lnTo>
                    <a:pt x="905" y="897"/>
                  </a:lnTo>
                  <a:lnTo>
                    <a:pt x="897" y="896"/>
                  </a:lnTo>
                  <a:lnTo>
                    <a:pt x="860" y="901"/>
                  </a:lnTo>
                  <a:lnTo>
                    <a:pt x="844" y="907"/>
                  </a:lnTo>
                  <a:lnTo>
                    <a:pt x="839" y="912"/>
                  </a:lnTo>
                  <a:lnTo>
                    <a:pt x="835" y="916"/>
                  </a:lnTo>
                  <a:lnTo>
                    <a:pt x="830" y="925"/>
                  </a:lnTo>
                  <a:lnTo>
                    <a:pt x="822" y="932"/>
                  </a:lnTo>
                  <a:lnTo>
                    <a:pt x="809" y="941"/>
                  </a:lnTo>
                  <a:lnTo>
                    <a:pt x="804" y="945"/>
                  </a:lnTo>
                  <a:lnTo>
                    <a:pt x="800" y="950"/>
                  </a:lnTo>
                  <a:lnTo>
                    <a:pt x="796" y="960"/>
                  </a:lnTo>
                  <a:lnTo>
                    <a:pt x="796" y="965"/>
                  </a:lnTo>
                  <a:lnTo>
                    <a:pt x="801" y="973"/>
                  </a:lnTo>
                  <a:lnTo>
                    <a:pt x="802" y="978"/>
                  </a:lnTo>
                  <a:lnTo>
                    <a:pt x="802" y="983"/>
                  </a:lnTo>
                  <a:lnTo>
                    <a:pt x="801" y="988"/>
                  </a:lnTo>
                  <a:lnTo>
                    <a:pt x="792" y="1001"/>
                  </a:lnTo>
                  <a:lnTo>
                    <a:pt x="786" y="1017"/>
                  </a:lnTo>
                  <a:lnTo>
                    <a:pt x="780" y="1025"/>
                  </a:lnTo>
                  <a:lnTo>
                    <a:pt x="774" y="1028"/>
                  </a:lnTo>
                  <a:lnTo>
                    <a:pt x="766" y="1031"/>
                  </a:lnTo>
                  <a:lnTo>
                    <a:pt x="742" y="1036"/>
                  </a:lnTo>
                  <a:lnTo>
                    <a:pt x="732" y="1037"/>
                  </a:lnTo>
                  <a:lnTo>
                    <a:pt x="690" y="1046"/>
                  </a:lnTo>
                  <a:lnTo>
                    <a:pt x="676" y="1052"/>
                  </a:lnTo>
                  <a:lnTo>
                    <a:pt x="659" y="1066"/>
                  </a:lnTo>
                  <a:lnTo>
                    <a:pt x="652" y="1073"/>
                  </a:lnTo>
                  <a:lnTo>
                    <a:pt x="642" y="1065"/>
                  </a:lnTo>
                  <a:lnTo>
                    <a:pt x="570" y="1035"/>
                  </a:lnTo>
                  <a:lnTo>
                    <a:pt x="556" y="1031"/>
                  </a:lnTo>
                  <a:lnTo>
                    <a:pt x="551" y="1016"/>
                  </a:lnTo>
                  <a:lnTo>
                    <a:pt x="547" y="1008"/>
                  </a:lnTo>
                  <a:lnTo>
                    <a:pt x="525" y="992"/>
                  </a:lnTo>
                  <a:lnTo>
                    <a:pt x="519" y="991"/>
                  </a:lnTo>
                  <a:lnTo>
                    <a:pt x="512" y="990"/>
                  </a:lnTo>
                  <a:lnTo>
                    <a:pt x="507" y="991"/>
                  </a:lnTo>
                  <a:lnTo>
                    <a:pt x="504" y="995"/>
                  </a:lnTo>
                  <a:lnTo>
                    <a:pt x="499" y="1002"/>
                  </a:lnTo>
                  <a:lnTo>
                    <a:pt x="487" y="1012"/>
                  </a:lnTo>
                  <a:lnTo>
                    <a:pt x="485" y="1018"/>
                  </a:lnTo>
                  <a:lnTo>
                    <a:pt x="476" y="1020"/>
                  </a:lnTo>
                  <a:lnTo>
                    <a:pt x="462" y="1016"/>
                  </a:lnTo>
                  <a:lnTo>
                    <a:pt x="436" y="1013"/>
                  </a:lnTo>
                  <a:lnTo>
                    <a:pt x="434" y="1011"/>
                  </a:lnTo>
                  <a:lnTo>
                    <a:pt x="432" y="1006"/>
                  </a:lnTo>
                  <a:lnTo>
                    <a:pt x="432" y="1001"/>
                  </a:lnTo>
                  <a:lnTo>
                    <a:pt x="430" y="991"/>
                  </a:lnTo>
                  <a:lnTo>
                    <a:pt x="419" y="976"/>
                  </a:lnTo>
                  <a:lnTo>
                    <a:pt x="411" y="970"/>
                  </a:lnTo>
                  <a:lnTo>
                    <a:pt x="404" y="966"/>
                  </a:lnTo>
                  <a:lnTo>
                    <a:pt x="396" y="965"/>
                  </a:lnTo>
                  <a:lnTo>
                    <a:pt x="377" y="962"/>
                  </a:lnTo>
                  <a:lnTo>
                    <a:pt x="365" y="965"/>
                  </a:lnTo>
                  <a:lnTo>
                    <a:pt x="339" y="965"/>
                  </a:lnTo>
                  <a:lnTo>
                    <a:pt x="324" y="960"/>
                  </a:lnTo>
                  <a:lnTo>
                    <a:pt x="316" y="956"/>
                  </a:lnTo>
                  <a:lnTo>
                    <a:pt x="309" y="953"/>
                  </a:lnTo>
                  <a:lnTo>
                    <a:pt x="304" y="951"/>
                  </a:lnTo>
                  <a:lnTo>
                    <a:pt x="302" y="947"/>
                  </a:lnTo>
                  <a:lnTo>
                    <a:pt x="304" y="942"/>
                  </a:lnTo>
                  <a:lnTo>
                    <a:pt x="307" y="932"/>
                  </a:lnTo>
                  <a:lnTo>
                    <a:pt x="312" y="923"/>
                  </a:lnTo>
                  <a:lnTo>
                    <a:pt x="314" y="918"/>
                  </a:lnTo>
                  <a:lnTo>
                    <a:pt x="314" y="913"/>
                  </a:lnTo>
                  <a:lnTo>
                    <a:pt x="311" y="908"/>
                  </a:lnTo>
                  <a:lnTo>
                    <a:pt x="236" y="883"/>
                  </a:lnTo>
                  <a:lnTo>
                    <a:pt x="226" y="891"/>
                  </a:lnTo>
                  <a:lnTo>
                    <a:pt x="219" y="885"/>
                  </a:lnTo>
                  <a:lnTo>
                    <a:pt x="204" y="886"/>
                  </a:lnTo>
                  <a:lnTo>
                    <a:pt x="189" y="891"/>
                  </a:lnTo>
                  <a:lnTo>
                    <a:pt x="185" y="890"/>
                  </a:lnTo>
                  <a:lnTo>
                    <a:pt x="177" y="900"/>
                  </a:lnTo>
                  <a:lnTo>
                    <a:pt x="164" y="905"/>
                  </a:lnTo>
                  <a:lnTo>
                    <a:pt x="150" y="908"/>
                  </a:lnTo>
                  <a:lnTo>
                    <a:pt x="141" y="908"/>
                  </a:lnTo>
                  <a:lnTo>
                    <a:pt x="129" y="896"/>
                  </a:lnTo>
                  <a:lnTo>
                    <a:pt x="106" y="838"/>
                  </a:lnTo>
                  <a:lnTo>
                    <a:pt x="104" y="836"/>
                  </a:lnTo>
                  <a:lnTo>
                    <a:pt x="94" y="828"/>
                  </a:lnTo>
                  <a:lnTo>
                    <a:pt x="90" y="825"/>
                  </a:lnTo>
                  <a:lnTo>
                    <a:pt x="87" y="820"/>
                  </a:lnTo>
                  <a:lnTo>
                    <a:pt x="84" y="811"/>
                  </a:lnTo>
                  <a:lnTo>
                    <a:pt x="82" y="806"/>
                  </a:lnTo>
                  <a:lnTo>
                    <a:pt x="24" y="731"/>
                  </a:lnTo>
                  <a:lnTo>
                    <a:pt x="7" y="718"/>
                  </a:lnTo>
                  <a:lnTo>
                    <a:pt x="0" y="715"/>
                  </a:lnTo>
                  <a:lnTo>
                    <a:pt x="7" y="707"/>
                  </a:lnTo>
                  <a:lnTo>
                    <a:pt x="14" y="698"/>
                  </a:lnTo>
                  <a:lnTo>
                    <a:pt x="14" y="691"/>
                  </a:lnTo>
                  <a:lnTo>
                    <a:pt x="7" y="681"/>
                  </a:lnTo>
                  <a:lnTo>
                    <a:pt x="12" y="673"/>
                  </a:lnTo>
                  <a:lnTo>
                    <a:pt x="22" y="637"/>
                  </a:lnTo>
                  <a:lnTo>
                    <a:pt x="46" y="603"/>
                  </a:lnTo>
                  <a:lnTo>
                    <a:pt x="49" y="593"/>
                  </a:lnTo>
                  <a:lnTo>
                    <a:pt x="47" y="588"/>
                  </a:lnTo>
                  <a:lnTo>
                    <a:pt x="40" y="583"/>
                  </a:lnTo>
                  <a:lnTo>
                    <a:pt x="37" y="580"/>
                  </a:lnTo>
                  <a:lnTo>
                    <a:pt x="36" y="566"/>
                  </a:lnTo>
                  <a:lnTo>
                    <a:pt x="37" y="550"/>
                  </a:lnTo>
                  <a:lnTo>
                    <a:pt x="41" y="526"/>
                  </a:lnTo>
                  <a:lnTo>
                    <a:pt x="44" y="521"/>
                  </a:lnTo>
                  <a:lnTo>
                    <a:pt x="49" y="508"/>
                  </a:lnTo>
                  <a:lnTo>
                    <a:pt x="82" y="481"/>
                  </a:lnTo>
                  <a:lnTo>
                    <a:pt x="90" y="478"/>
                  </a:lnTo>
                  <a:lnTo>
                    <a:pt x="100" y="471"/>
                  </a:lnTo>
                  <a:lnTo>
                    <a:pt x="107" y="462"/>
                  </a:lnTo>
                  <a:lnTo>
                    <a:pt x="110" y="455"/>
                  </a:lnTo>
                  <a:lnTo>
                    <a:pt x="115" y="450"/>
                  </a:lnTo>
                  <a:lnTo>
                    <a:pt x="141" y="445"/>
                  </a:lnTo>
                  <a:lnTo>
                    <a:pt x="150" y="440"/>
                  </a:lnTo>
                  <a:lnTo>
                    <a:pt x="156" y="434"/>
                  </a:lnTo>
                  <a:lnTo>
                    <a:pt x="164" y="427"/>
                  </a:lnTo>
                  <a:lnTo>
                    <a:pt x="167" y="425"/>
                  </a:lnTo>
                  <a:lnTo>
                    <a:pt x="167" y="415"/>
                  </a:lnTo>
                  <a:lnTo>
                    <a:pt x="170" y="404"/>
                  </a:lnTo>
                  <a:lnTo>
                    <a:pt x="162" y="390"/>
                  </a:lnTo>
                  <a:lnTo>
                    <a:pt x="175" y="380"/>
                  </a:lnTo>
                  <a:lnTo>
                    <a:pt x="187" y="362"/>
                  </a:lnTo>
                  <a:lnTo>
                    <a:pt x="205" y="326"/>
                  </a:lnTo>
                  <a:lnTo>
                    <a:pt x="211" y="319"/>
                  </a:lnTo>
                  <a:lnTo>
                    <a:pt x="214" y="311"/>
                  </a:lnTo>
                  <a:lnTo>
                    <a:pt x="212" y="305"/>
                  </a:lnTo>
                  <a:lnTo>
                    <a:pt x="206" y="300"/>
                  </a:lnTo>
                  <a:lnTo>
                    <a:pt x="210" y="287"/>
                  </a:lnTo>
                  <a:lnTo>
                    <a:pt x="207" y="274"/>
                  </a:lnTo>
                  <a:lnTo>
                    <a:pt x="199" y="261"/>
                  </a:lnTo>
                  <a:lnTo>
                    <a:pt x="190" y="252"/>
                  </a:lnTo>
                  <a:lnTo>
                    <a:pt x="177" y="244"/>
                  </a:lnTo>
                  <a:lnTo>
                    <a:pt x="164" y="240"/>
                  </a:lnTo>
                  <a:lnTo>
                    <a:pt x="149" y="241"/>
                  </a:lnTo>
                  <a:lnTo>
                    <a:pt x="135" y="250"/>
                  </a:lnTo>
                  <a:lnTo>
                    <a:pt x="129" y="252"/>
                  </a:lnTo>
                  <a:lnTo>
                    <a:pt x="120" y="251"/>
                  </a:lnTo>
                  <a:lnTo>
                    <a:pt x="112" y="246"/>
                  </a:lnTo>
                  <a:lnTo>
                    <a:pt x="106" y="241"/>
                  </a:lnTo>
                  <a:lnTo>
                    <a:pt x="105" y="235"/>
                  </a:lnTo>
                  <a:lnTo>
                    <a:pt x="111" y="221"/>
                  </a:lnTo>
                  <a:lnTo>
                    <a:pt x="112" y="214"/>
                  </a:lnTo>
                  <a:lnTo>
                    <a:pt x="106" y="200"/>
                  </a:lnTo>
                  <a:lnTo>
                    <a:pt x="92" y="193"/>
                  </a:lnTo>
                  <a:lnTo>
                    <a:pt x="77" y="190"/>
                  </a:lnTo>
                  <a:lnTo>
                    <a:pt x="64" y="181"/>
                  </a:lnTo>
                  <a:lnTo>
                    <a:pt x="56" y="171"/>
                  </a:lnTo>
                  <a:lnTo>
                    <a:pt x="51" y="156"/>
                  </a:lnTo>
                  <a:lnTo>
                    <a:pt x="52" y="141"/>
                  </a:lnTo>
                  <a:lnTo>
                    <a:pt x="60" y="128"/>
                  </a:lnTo>
                  <a:lnTo>
                    <a:pt x="86" y="131"/>
                  </a:lnTo>
                  <a:lnTo>
                    <a:pt x="111" y="97"/>
                  </a:lnTo>
                  <a:lnTo>
                    <a:pt x="114" y="93"/>
                  </a:lnTo>
                  <a:lnTo>
                    <a:pt x="112" y="89"/>
                  </a:lnTo>
                  <a:lnTo>
                    <a:pt x="106" y="81"/>
                  </a:lnTo>
                  <a:lnTo>
                    <a:pt x="105" y="76"/>
                  </a:lnTo>
                  <a:lnTo>
                    <a:pt x="109" y="65"/>
                  </a:lnTo>
                  <a:lnTo>
                    <a:pt x="110" y="64"/>
                  </a:lnTo>
                  <a:lnTo>
                    <a:pt x="134" y="50"/>
                  </a:lnTo>
                  <a:lnTo>
                    <a:pt x="145" y="46"/>
                  </a:lnTo>
                  <a:lnTo>
                    <a:pt x="159" y="48"/>
                  </a:lnTo>
                  <a:lnTo>
                    <a:pt x="156" y="81"/>
                  </a:lnTo>
                  <a:lnTo>
                    <a:pt x="159" y="96"/>
                  </a:lnTo>
                  <a:lnTo>
                    <a:pt x="170" y="98"/>
                  </a:lnTo>
                  <a:lnTo>
                    <a:pt x="174" y="96"/>
                  </a:lnTo>
                  <a:lnTo>
                    <a:pt x="177" y="92"/>
                  </a:lnTo>
                  <a:lnTo>
                    <a:pt x="187" y="53"/>
                  </a:lnTo>
                  <a:lnTo>
                    <a:pt x="187" y="48"/>
                  </a:lnTo>
                  <a:lnTo>
                    <a:pt x="186" y="43"/>
                  </a:lnTo>
                  <a:lnTo>
                    <a:pt x="184" y="39"/>
                  </a:lnTo>
                  <a:lnTo>
                    <a:pt x="180" y="35"/>
                  </a:lnTo>
                  <a:lnTo>
                    <a:pt x="162" y="25"/>
                  </a:lnTo>
                  <a:lnTo>
                    <a:pt x="172" y="8"/>
                  </a:lnTo>
                  <a:lnTo>
                    <a:pt x="261" y="47"/>
                  </a:lnTo>
                  <a:lnTo>
                    <a:pt x="270" y="47"/>
                  </a:lnTo>
                  <a:lnTo>
                    <a:pt x="291" y="43"/>
                  </a:lnTo>
                  <a:lnTo>
                    <a:pt x="301" y="43"/>
                  </a:lnTo>
                  <a:lnTo>
                    <a:pt x="310" y="51"/>
                  </a:lnTo>
                  <a:lnTo>
                    <a:pt x="321" y="77"/>
                  </a:lnTo>
                  <a:lnTo>
                    <a:pt x="332" y="86"/>
                  </a:lnTo>
                  <a:lnTo>
                    <a:pt x="336" y="105"/>
                  </a:lnTo>
                  <a:lnTo>
                    <a:pt x="331" y="122"/>
                  </a:lnTo>
                  <a:lnTo>
                    <a:pt x="310" y="150"/>
                  </a:lnTo>
                  <a:lnTo>
                    <a:pt x="322" y="178"/>
                  </a:lnTo>
                  <a:lnTo>
                    <a:pt x="327" y="185"/>
                  </a:lnTo>
                  <a:lnTo>
                    <a:pt x="376" y="195"/>
                  </a:lnTo>
                  <a:lnTo>
                    <a:pt x="387" y="180"/>
                  </a:lnTo>
                  <a:lnTo>
                    <a:pt x="429" y="191"/>
                  </a:lnTo>
                  <a:lnTo>
                    <a:pt x="432" y="196"/>
                  </a:lnTo>
                  <a:lnTo>
                    <a:pt x="435" y="206"/>
                  </a:lnTo>
                  <a:lnTo>
                    <a:pt x="440" y="210"/>
                  </a:lnTo>
                  <a:lnTo>
                    <a:pt x="446" y="211"/>
                  </a:lnTo>
                  <a:lnTo>
                    <a:pt x="451" y="210"/>
                  </a:lnTo>
                  <a:lnTo>
                    <a:pt x="456" y="201"/>
                  </a:lnTo>
                  <a:lnTo>
                    <a:pt x="460" y="197"/>
                  </a:lnTo>
                  <a:lnTo>
                    <a:pt x="547" y="205"/>
                  </a:lnTo>
                  <a:lnTo>
                    <a:pt x="576" y="190"/>
                  </a:lnTo>
                  <a:lnTo>
                    <a:pt x="577" y="229"/>
                  </a:lnTo>
                  <a:lnTo>
                    <a:pt x="580" y="239"/>
                  </a:lnTo>
                  <a:lnTo>
                    <a:pt x="591" y="250"/>
                  </a:lnTo>
                  <a:lnTo>
                    <a:pt x="615" y="251"/>
                  </a:lnTo>
                  <a:lnTo>
                    <a:pt x="625" y="257"/>
                  </a:lnTo>
                  <a:lnTo>
                    <a:pt x="635" y="274"/>
                  </a:lnTo>
                  <a:lnTo>
                    <a:pt x="640" y="279"/>
                  </a:lnTo>
                  <a:lnTo>
                    <a:pt x="645" y="279"/>
                  </a:lnTo>
                  <a:lnTo>
                    <a:pt x="657" y="279"/>
                  </a:lnTo>
                  <a:lnTo>
                    <a:pt x="660" y="280"/>
                  </a:lnTo>
                  <a:lnTo>
                    <a:pt x="675" y="299"/>
                  </a:lnTo>
                  <a:lnTo>
                    <a:pt x="703" y="261"/>
                  </a:lnTo>
                  <a:lnTo>
                    <a:pt x="741" y="230"/>
                  </a:lnTo>
                  <a:lnTo>
                    <a:pt x="746" y="272"/>
                  </a:lnTo>
                  <a:lnTo>
                    <a:pt x="751" y="276"/>
                  </a:lnTo>
                  <a:lnTo>
                    <a:pt x="761" y="275"/>
                  </a:lnTo>
                  <a:lnTo>
                    <a:pt x="786" y="244"/>
                  </a:lnTo>
                  <a:lnTo>
                    <a:pt x="795" y="262"/>
                  </a:lnTo>
                  <a:lnTo>
                    <a:pt x="832" y="247"/>
                  </a:lnTo>
                  <a:lnTo>
                    <a:pt x="848" y="236"/>
                  </a:lnTo>
                  <a:lnTo>
                    <a:pt x="858" y="219"/>
                  </a:lnTo>
                  <a:lnTo>
                    <a:pt x="882" y="224"/>
                  </a:lnTo>
                  <a:lnTo>
                    <a:pt x="925" y="262"/>
                  </a:lnTo>
                  <a:lnTo>
                    <a:pt x="950" y="249"/>
                  </a:lnTo>
                  <a:lnTo>
                    <a:pt x="967" y="249"/>
                  </a:lnTo>
                  <a:lnTo>
                    <a:pt x="973" y="246"/>
                  </a:lnTo>
                  <a:lnTo>
                    <a:pt x="981" y="237"/>
                  </a:lnTo>
                  <a:lnTo>
                    <a:pt x="987" y="224"/>
                  </a:lnTo>
                  <a:lnTo>
                    <a:pt x="987" y="216"/>
                  </a:lnTo>
                  <a:lnTo>
                    <a:pt x="971" y="190"/>
                  </a:lnTo>
                  <a:lnTo>
                    <a:pt x="968" y="187"/>
                  </a:lnTo>
                  <a:lnTo>
                    <a:pt x="993" y="172"/>
                  </a:lnTo>
                  <a:lnTo>
                    <a:pt x="1007" y="169"/>
                  </a:lnTo>
                  <a:lnTo>
                    <a:pt x="1021" y="172"/>
                  </a:lnTo>
                  <a:lnTo>
                    <a:pt x="1047" y="200"/>
                  </a:lnTo>
                  <a:lnTo>
                    <a:pt x="1061" y="209"/>
                  </a:lnTo>
                  <a:lnTo>
                    <a:pt x="1080" y="205"/>
                  </a:lnTo>
                  <a:lnTo>
                    <a:pt x="1087" y="199"/>
                  </a:lnTo>
                  <a:lnTo>
                    <a:pt x="1102" y="182"/>
                  </a:lnTo>
                  <a:lnTo>
                    <a:pt x="1115" y="159"/>
                  </a:lnTo>
                  <a:lnTo>
                    <a:pt x="1116" y="152"/>
                  </a:lnTo>
                  <a:lnTo>
                    <a:pt x="1115" y="147"/>
                  </a:lnTo>
                  <a:lnTo>
                    <a:pt x="1111" y="139"/>
                  </a:lnTo>
                  <a:lnTo>
                    <a:pt x="1111" y="134"/>
                  </a:lnTo>
                  <a:lnTo>
                    <a:pt x="1115" y="106"/>
                  </a:lnTo>
                  <a:lnTo>
                    <a:pt x="1120" y="90"/>
                  </a:lnTo>
                  <a:lnTo>
                    <a:pt x="1130" y="86"/>
                  </a:lnTo>
                  <a:lnTo>
                    <a:pt x="1171" y="100"/>
                  </a:lnTo>
                  <a:lnTo>
                    <a:pt x="1208" y="100"/>
                  </a:lnTo>
                  <a:lnTo>
                    <a:pt x="1230" y="87"/>
                  </a:lnTo>
                  <a:lnTo>
                    <a:pt x="1240" y="79"/>
                  </a:lnTo>
                  <a:lnTo>
                    <a:pt x="1242" y="72"/>
                  </a:lnTo>
                  <a:lnTo>
                    <a:pt x="1243" y="66"/>
                  </a:lnTo>
                  <a:lnTo>
                    <a:pt x="1243" y="51"/>
                  </a:lnTo>
                  <a:lnTo>
                    <a:pt x="1245" y="45"/>
                  </a:lnTo>
                  <a:lnTo>
                    <a:pt x="1253" y="36"/>
                  </a:lnTo>
                  <a:lnTo>
                    <a:pt x="1261" y="41"/>
                  </a:lnTo>
                  <a:lnTo>
                    <a:pt x="1276" y="61"/>
                  </a:lnTo>
                  <a:lnTo>
                    <a:pt x="1312" y="56"/>
                  </a:lnTo>
                  <a:lnTo>
                    <a:pt x="1339" y="41"/>
                  </a:lnTo>
                  <a:lnTo>
                    <a:pt x="1373" y="59"/>
                  </a:lnTo>
                  <a:lnTo>
                    <a:pt x="1387" y="51"/>
                  </a:lnTo>
                  <a:lnTo>
                    <a:pt x="1395" y="49"/>
                  </a:lnTo>
                  <a:lnTo>
                    <a:pt x="1398" y="47"/>
                  </a:lnTo>
                  <a:lnTo>
                    <a:pt x="1411" y="41"/>
                  </a:lnTo>
                  <a:lnTo>
                    <a:pt x="1431" y="35"/>
                  </a:lnTo>
                  <a:lnTo>
                    <a:pt x="1437" y="32"/>
                  </a:lnTo>
                  <a:lnTo>
                    <a:pt x="1445" y="22"/>
                  </a:lnTo>
                  <a:lnTo>
                    <a:pt x="1472" y="7"/>
                  </a:lnTo>
                  <a:lnTo>
                    <a:pt x="1479" y="0"/>
                  </a:lnTo>
                  <a:lnTo>
                    <a:pt x="1486" y="22"/>
                  </a:lnTo>
                  <a:lnTo>
                    <a:pt x="1485" y="35"/>
                  </a:lnTo>
                  <a:lnTo>
                    <a:pt x="1476" y="51"/>
                  </a:lnTo>
                  <a:lnTo>
                    <a:pt x="1467" y="75"/>
                  </a:lnTo>
                  <a:lnTo>
                    <a:pt x="1462" y="82"/>
                  </a:lnTo>
                  <a:lnTo>
                    <a:pt x="1457" y="86"/>
                  </a:lnTo>
                  <a:lnTo>
                    <a:pt x="1451" y="87"/>
                  </a:lnTo>
                  <a:lnTo>
                    <a:pt x="1446" y="90"/>
                  </a:lnTo>
                  <a:lnTo>
                    <a:pt x="1442" y="95"/>
                  </a:lnTo>
                  <a:lnTo>
                    <a:pt x="1442" y="102"/>
                  </a:lnTo>
                  <a:lnTo>
                    <a:pt x="1445" y="109"/>
                  </a:lnTo>
                  <a:lnTo>
                    <a:pt x="1455" y="135"/>
                  </a:lnTo>
                  <a:lnTo>
                    <a:pt x="1465" y="152"/>
                  </a:lnTo>
                  <a:lnTo>
                    <a:pt x="1468" y="161"/>
                  </a:lnTo>
                  <a:lnTo>
                    <a:pt x="1475" y="166"/>
                  </a:lnTo>
                  <a:lnTo>
                    <a:pt x="1490" y="185"/>
                  </a:lnTo>
                  <a:lnTo>
                    <a:pt x="1497" y="197"/>
                  </a:lnTo>
                  <a:lnTo>
                    <a:pt x="1487" y="196"/>
                  </a:lnTo>
                  <a:lnTo>
                    <a:pt x="1467" y="186"/>
                  </a:lnTo>
                  <a:lnTo>
                    <a:pt x="1459" y="181"/>
                  </a:lnTo>
                  <a:lnTo>
                    <a:pt x="1449" y="180"/>
                  </a:lnTo>
                  <a:lnTo>
                    <a:pt x="1440" y="182"/>
                  </a:lnTo>
                  <a:lnTo>
                    <a:pt x="1429" y="182"/>
                  </a:lnTo>
                  <a:lnTo>
                    <a:pt x="1420" y="180"/>
                  </a:lnTo>
                  <a:lnTo>
                    <a:pt x="1415" y="180"/>
                  </a:lnTo>
                  <a:lnTo>
                    <a:pt x="1411" y="182"/>
                  </a:lnTo>
                  <a:lnTo>
                    <a:pt x="1405" y="191"/>
                  </a:lnTo>
                  <a:lnTo>
                    <a:pt x="1396" y="200"/>
                  </a:lnTo>
                  <a:lnTo>
                    <a:pt x="1392" y="204"/>
                  </a:lnTo>
                  <a:lnTo>
                    <a:pt x="1390" y="207"/>
                  </a:lnTo>
                  <a:lnTo>
                    <a:pt x="1387" y="216"/>
                  </a:lnTo>
                  <a:lnTo>
                    <a:pt x="1381" y="246"/>
                  </a:lnTo>
                  <a:lnTo>
                    <a:pt x="1381" y="256"/>
                  </a:lnTo>
                  <a:lnTo>
                    <a:pt x="1384" y="264"/>
                  </a:lnTo>
                  <a:lnTo>
                    <a:pt x="1386" y="267"/>
                  </a:lnTo>
                  <a:lnTo>
                    <a:pt x="1396" y="272"/>
                  </a:lnTo>
                  <a:lnTo>
                    <a:pt x="1400" y="276"/>
                  </a:lnTo>
                  <a:lnTo>
                    <a:pt x="1401" y="282"/>
                  </a:lnTo>
                  <a:lnTo>
                    <a:pt x="1400" y="287"/>
                  </a:lnTo>
                  <a:lnTo>
                    <a:pt x="1386" y="296"/>
                  </a:lnTo>
                  <a:lnTo>
                    <a:pt x="1381" y="297"/>
                  </a:lnTo>
                  <a:lnTo>
                    <a:pt x="1376" y="299"/>
                  </a:lnTo>
                  <a:lnTo>
                    <a:pt x="1366" y="295"/>
                  </a:lnTo>
                  <a:lnTo>
                    <a:pt x="1352" y="286"/>
                  </a:lnTo>
                  <a:lnTo>
                    <a:pt x="1342" y="284"/>
                  </a:lnTo>
                  <a:lnTo>
                    <a:pt x="1337" y="285"/>
                  </a:lnTo>
                  <a:lnTo>
                    <a:pt x="1334" y="289"/>
                  </a:lnTo>
                  <a:lnTo>
                    <a:pt x="1334" y="294"/>
                  </a:lnTo>
                  <a:lnTo>
                    <a:pt x="1337" y="304"/>
                  </a:lnTo>
                  <a:lnTo>
                    <a:pt x="1339" y="315"/>
                  </a:lnTo>
                  <a:lnTo>
                    <a:pt x="1341" y="319"/>
                  </a:lnTo>
                  <a:lnTo>
                    <a:pt x="1346" y="321"/>
                  </a:lnTo>
                  <a:lnTo>
                    <a:pt x="1347" y="337"/>
                  </a:lnTo>
                  <a:lnTo>
                    <a:pt x="1351" y="347"/>
                  </a:lnTo>
                  <a:lnTo>
                    <a:pt x="1355" y="350"/>
                  </a:lnTo>
                  <a:lnTo>
                    <a:pt x="1375" y="356"/>
                  </a:lnTo>
                  <a:lnTo>
                    <a:pt x="1379" y="359"/>
                  </a:lnTo>
                  <a:lnTo>
                    <a:pt x="1392" y="360"/>
                  </a:lnTo>
                  <a:lnTo>
                    <a:pt x="1396" y="365"/>
                  </a:lnTo>
                  <a:lnTo>
                    <a:pt x="1399" y="372"/>
                  </a:lnTo>
                  <a:lnTo>
                    <a:pt x="1396" y="382"/>
                  </a:lnTo>
                  <a:lnTo>
                    <a:pt x="1393" y="399"/>
                  </a:lnTo>
                  <a:lnTo>
                    <a:pt x="1390" y="402"/>
                  </a:lnTo>
                  <a:lnTo>
                    <a:pt x="1386" y="402"/>
                  </a:lnTo>
                  <a:lnTo>
                    <a:pt x="1371" y="401"/>
                  </a:lnTo>
                  <a:lnTo>
                    <a:pt x="1361" y="402"/>
                  </a:lnTo>
                  <a:lnTo>
                    <a:pt x="1356" y="406"/>
                  </a:lnTo>
                  <a:lnTo>
                    <a:pt x="1347" y="414"/>
                  </a:lnTo>
                  <a:lnTo>
                    <a:pt x="1340" y="430"/>
                  </a:lnTo>
                  <a:lnTo>
                    <a:pt x="1337" y="436"/>
                  </a:lnTo>
                  <a:lnTo>
                    <a:pt x="1323" y="486"/>
                  </a:lnTo>
                  <a:lnTo>
                    <a:pt x="1318" y="500"/>
                  </a:lnTo>
                  <a:lnTo>
                    <a:pt x="1312" y="507"/>
                  </a:lnTo>
                  <a:lnTo>
                    <a:pt x="1309" y="510"/>
                  </a:lnTo>
                  <a:lnTo>
                    <a:pt x="1296" y="511"/>
                  </a:lnTo>
                  <a:lnTo>
                    <a:pt x="1287" y="515"/>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27" name="Barcelona" descr="{&quot;Key&quot;:&quot;barcelona&quot;,&quot;Name&quot;:&quot;Barcelona&quot;,&quot;Value&quot;:1.0,&quot;Formula&quot;:&quot;&quot;,&quot;Text&quot;:&quot;1&quot;,&quot;HasValue&quot;:true}">
              <a:extLst>
                <a:ext uri="{FF2B5EF4-FFF2-40B4-BE49-F238E27FC236}">
                  <a16:creationId xmlns:a16="http://schemas.microsoft.com/office/drawing/2014/main" id="{131AE3CF-5F9A-BEA7-FBAC-7B5AB3D7E30B}"/>
                </a:ext>
              </a:extLst>
            </p:cNvPr>
            <p:cNvSpPr>
              <a:spLocks/>
            </p:cNvSpPr>
            <p:nvPr/>
          </p:nvSpPr>
          <p:spPr bwMode="auto">
            <a:xfrm>
              <a:off x="5239748" y="2703492"/>
              <a:ext cx="538373" cy="578043"/>
            </a:xfrm>
            <a:custGeom>
              <a:avLst/>
              <a:gdLst>
                <a:gd name="T0" fmla="*/ 587 w 781"/>
                <a:gd name="T1" fmla="*/ 596 h 837"/>
                <a:gd name="T2" fmla="*/ 482 w 781"/>
                <a:gd name="T3" fmla="*/ 668 h 837"/>
                <a:gd name="T4" fmla="*/ 382 w 781"/>
                <a:gd name="T5" fmla="*/ 777 h 837"/>
                <a:gd name="T6" fmla="*/ 273 w 781"/>
                <a:gd name="T7" fmla="*/ 803 h 837"/>
                <a:gd name="T8" fmla="*/ 143 w 781"/>
                <a:gd name="T9" fmla="*/ 818 h 837"/>
                <a:gd name="T10" fmla="*/ 113 w 781"/>
                <a:gd name="T11" fmla="*/ 806 h 837"/>
                <a:gd name="T12" fmla="*/ 135 w 781"/>
                <a:gd name="T13" fmla="*/ 783 h 837"/>
                <a:gd name="T14" fmla="*/ 120 w 781"/>
                <a:gd name="T15" fmla="*/ 757 h 837"/>
                <a:gd name="T16" fmla="*/ 92 w 781"/>
                <a:gd name="T17" fmla="*/ 695 h 837"/>
                <a:gd name="T18" fmla="*/ 62 w 781"/>
                <a:gd name="T19" fmla="*/ 627 h 837"/>
                <a:gd name="T20" fmla="*/ 32 w 781"/>
                <a:gd name="T21" fmla="*/ 571 h 837"/>
                <a:gd name="T22" fmla="*/ 12 w 781"/>
                <a:gd name="T23" fmla="*/ 555 h 837"/>
                <a:gd name="T24" fmla="*/ 2 w 781"/>
                <a:gd name="T25" fmla="*/ 521 h 837"/>
                <a:gd name="T26" fmla="*/ 21 w 781"/>
                <a:gd name="T27" fmla="*/ 458 h 837"/>
                <a:gd name="T28" fmla="*/ 35 w 781"/>
                <a:gd name="T29" fmla="*/ 386 h 837"/>
                <a:gd name="T30" fmla="*/ 62 w 781"/>
                <a:gd name="T31" fmla="*/ 405 h 837"/>
                <a:gd name="T32" fmla="*/ 101 w 781"/>
                <a:gd name="T33" fmla="*/ 415 h 837"/>
                <a:gd name="T34" fmla="*/ 146 w 781"/>
                <a:gd name="T35" fmla="*/ 351 h 837"/>
                <a:gd name="T36" fmla="*/ 152 w 781"/>
                <a:gd name="T37" fmla="*/ 272 h 837"/>
                <a:gd name="T38" fmla="*/ 180 w 781"/>
                <a:gd name="T39" fmla="*/ 261 h 837"/>
                <a:gd name="T40" fmla="*/ 191 w 781"/>
                <a:gd name="T41" fmla="*/ 241 h 837"/>
                <a:gd name="T42" fmla="*/ 166 w 781"/>
                <a:gd name="T43" fmla="*/ 240 h 837"/>
                <a:gd name="T44" fmla="*/ 161 w 781"/>
                <a:gd name="T45" fmla="*/ 225 h 837"/>
                <a:gd name="T46" fmla="*/ 178 w 781"/>
                <a:gd name="T47" fmla="*/ 192 h 837"/>
                <a:gd name="T48" fmla="*/ 187 w 781"/>
                <a:gd name="T49" fmla="*/ 170 h 837"/>
                <a:gd name="T50" fmla="*/ 187 w 781"/>
                <a:gd name="T51" fmla="*/ 135 h 837"/>
                <a:gd name="T52" fmla="*/ 203 w 781"/>
                <a:gd name="T53" fmla="*/ 112 h 837"/>
                <a:gd name="T54" fmla="*/ 183 w 781"/>
                <a:gd name="T55" fmla="*/ 87 h 837"/>
                <a:gd name="T56" fmla="*/ 173 w 781"/>
                <a:gd name="T57" fmla="*/ 46 h 837"/>
                <a:gd name="T58" fmla="*/ 301 w 781"/>
                <a:gd name="T59" fmla="*/ 0 h 837"/>
                <a:gd name="T60" fmla="*/ 358 w 781"/>
                <a:gd name="T61" fmla="*/ 15 h 837"/>
                <a:gd name="T62" fmla="*/ 375 w 781"/>
                <a:gd name="T63" fmla="*/ 35 h 837"/>
                <a:gd name="T64" fmla="*/ 363 w 781"/>
                <a:gd name="T65" fmla="*/ 71 h 837"/>
                <a:gd name="T66" fmla="*/ 380 w 781"/>
                <a:gd name="T67" fmla="*/ 123 h 837"/>
                <a:gd name="T68" fmla="*/ 400 w 781"/>
                <a:gd name="T69" fmla="*/ 135 h 837"/>
                <a:gd name="T70" fmla="*/ 437 w 781"/>
                <a:gd name="T71" fmla="*/ 142 h 837"/>
                <a:gd name="T72" fmla="*/ 477 w 781"/>
                <a:gd name="T73" fmla="*/ 132 h 837"/>
                <a:gd name="T74" fmla="*/ 520 w 781"/>
                <a:gd name="T75" fmla="*/ 153 h 837"/>
                <a:gd name="T76" fmla="*/ 582 w 781"/>
                <a:gd name="T77" fmla="*/ 183 h 837"/>
                <a:gd name="T78" fmla="*/ 627 w 781"/>
                <a:gd name="T79" fmla="*/ 218 h 837"/>
                <a:gd name="T80" fmla="*/ 592 w 781"/>
                <a:gd name="T81" fmla="*/ 281 h 837"/>
                <a:gd name="T82" fmla="*/ 606 w 781"/>
                <a:gd name="T83" fmla="*/ 305 h 837"/>
                <a:gd name="T84" fmla="*/ 561 w 781"/>
                <a:gd name="T85" fmla="*/ 333 h 837"/>
                <a:gd name="T86" fmla="*/ 523 w 781"/>
                <a:gd name="T87" fmla="*/ 338 h 837"/>
                <a:gd name="T88" fmla="*/ 550 w 781"/>
                <a:gd name="T89" fmla="*/ 388 h 837"/>
                <a:gd name="T90" fmla="*/ 652 w 781"/>
                <a:gd name="T91" fmla="*/ 447 h 837"/>
                <a:gd name="T92" fmla="*/ 738 w 781"/>
                <a:gd name="T93" fmla="*/ 425 h 837"/>
                <a:gd name="T94" fmla="*/ 777 w 781"/>
                <a:gd name="T95" fmla="*/ 465 h 837"/>
                <a:gd name="T96" fmla="*/ 781 w 781"/>
                <a:gd name="T97" fmla="*/ 502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1" h="837">
                  <a:moveTo>
                    <a:pt x="781" y="502"/>
                  </a:moveTo>
                  <a:lnTo>
                    <a:pt x="711" y="532"/>
                  </a:lnTo>
                  <a:lnTo>
                    <a:pt x="598" y="583"/>
                  </a:lnTo>
                  <a:lnTo>
                    <a:pt x="587" y="596"/>
                  </a:lnTo>
                  <a:lnTo>
                    <a:pt x="555" y="618"/>
                  </a:lnTo>
                  <a:lnTo>
                    <a:pt x="513" y="636"/>
                  </a:lnTo>
                  <a:lnTo>
                    <a:pt x="497" y="648"/>
                  </a:lnTo>
                  <a:lnTo>
                    <a:pt x="482" y="668"/>
                  </a:lnTo>
                  <a:lnTo>
                    <a:pt x="456" y="716"/>
                  </a:lnTo>
                  <a:lnTo>
                    <a:pt x="440" y="738"/>
                  </a:lnTo>
                  <a:lnTo>
                    <a:pt x="421" y="755"/>
                  </a:lnTo>
                  <a:lnTo>
                    <a:pt x="382" y="777"/>
                  </a:lnTo>
                  <a:lnTo>
                    <a:pt x="360" y="783"/>
                  </a:lnTo>
                  <a:lnTo>
                    <a:pt x="322" y="787"/>
                  </a:lnTo>
                  <a:lnTo>
                    <a:pt x="285" y="797"/>
                  </a:lnTo>
                  <a:lnTo>
                    <a:pt x="273" y="803"/>
                  </a:lnTo>
                  <a:lnTo>
                    <a:pt x="268" y="805"/>
                  </a:lnTo>
                  <a:lnTo>
                    <a:pt x="250" y="805"/>
                  </a:lnTo>
                  <a:lnTo>
                    <a:pt x="141" y="837"/>
                  </a:lnTo>
                  <a:lnTo>
                    <a:pt x="143" y="818"/>
                  </a:lnTo>
                  <a:lnTo>
                    <a:pt x="141" y="815"/>
                  </a:lnTo>
                  <a:lnTo>
                    <a:pt x="137" y="812"/>
                  </a:lnTo>
                  <a:lnTo>
                    <a:pt x="118" y="811"/>
                  </a:lnTo>
                  <a:lnTo>
                    <a:pt x="113" y="806"/>
                  </a:lnTo>
                  <a:lnTo>
                    <a:pt x="113" y="798"/>
                  </a:lnTo>
                  <a:lnTo>
                    <a:pt x="116" y="796"/>
                  </a:lnTo>
                  <a:lnTo>
                    <a:pt x="131" y="788"/>
                  </a:lnTo>
                  <a:lnTo>
                    <a:pt x="135" y="783"/>
                  </a:lnTo>
                  <a:lnTo>
                    <a:pt x="136" y="778"/>
                  </a:lnTo>
                  <a:lnTo>
                    <a:pt x="135" y="771"/>
                  </a:lnTo>
                  <a:lnTo>
                    <a:pt x="132" y="766"/>
                  </a:lnTo>
                  <a:lnTo>
                    <a:pt x="120" y="757"/>
                  </a:lnTo>
                  <a:lnTo>
                    <a:pt x="108" y="732"/>
                  </a:lnTo>
                  <a:lnTo>
                    <a:pt x="107" y="715"/>
                  </a:lnTo>
                  <a:lnTo>
                    <a:pt x="105" y="708"/>
                  </a:lnTo>
                  <a:lnTo>
                    <a:pt x="92" y="695"/>
                  </a:lnTo>
                  <a:lnTo>
                    <a:pt x="63" y="678"/>
                  </a:lnTo>
                  <a:lnTo>
                    <a:pt x="56" y="665"/>
                  </a:lnTo>
                  <a:lnTo>
                    <a:pt x="61" y="643"/>
                  </a:lnTo>
                  <a:lnTo>
                    <a:pt x="62" y="627"/>
                  </a:lnTo>
                  <a:lnTo>
                    <a:pt x="50" y="617"/>
                  </a:lnTo>
                  <a:lnTo>
                    <a:pt x="20" y="605"/>
                  </a:lnTo>
                  <a:lnTo>
                    <a:pt x="15" y="595"/>
                  </a:lnTo>
                  <a:lnTo>
                    <a:pt x="32" y="571"/>
                  </a:lnTo>
                  <a:lnTo>
                    <a:pt x="37" y="561"/>
                  </a:lnTo>
                  <a:lnTo>
                    <a:pt x="33" y="555"/>
                  </a:lnTo>
                  <a:lnTo>
                    <a:pt x="27" y="553"/>
                  </a:lnTo>
                  <a:lnTo>
                    <a:pt x="12" y="555"/>
                  </a:lnTo>
                  <a:lnTo>
                    <a:pt x="21" y="543"/>
                  </a:lnTo>
                  <a:lnTo>
                    <a:pt x="10" y="536"/>
                  </a:lnTo>
                  <a:lnTo>
                    <a:pt x="0" y="533"/>
                  </a:lnTo>
                  <a:lnTo>
                    <a:pt x="2" y="521"/>
                  </a:lnTo>
                  <a:lnTo>
                    <a:pt x="11" y="515"/>
                  </a:lnTo>
                  <a:lnTo>
                    <a:pt x="37" y="508"/>
                  </a:lnTo>
                  <a:lnTo>
                    <a:pt x="38" y="503"/>
                  </a:lnTo>
                  <a:lnTo>
                    <a:pt x="21" y="458"/>
                  </a:lnTo>
                  <a:lnTo>
                    <a:pt x="22" y="400"/>
                  </a:lnTo>
                  <a:lnTo>
                    <a:pt x="23" y="395"/>
                  </a:lnTo>
                  <a:lnTo>
                    <a:pt x="28" y="390"/>
                  </a:lnTo>
                  <a:lnTo>
                    <a:pt x="35" y="386"/>
                  </a:lnTo>
                  <a:lnTo>
                    <a:pt x="41" y="386"/>
                  </a:lnTo>
                  <a:lnTo>
                    <a:pt x="47" y="388"/>
                  </a:lnTo>
                  <a:lnTo>
                    <a:pt x="57" y="402"/>
                  </a:lnTo>
                  <a:lnTo>
                    <a:pt x="62" y="405"/>
                  </a:lnTo>
                  <a:lnTo>
                    <a:pt x="77" y="401"/>
                  </a:lnTo>
                  <a:lnTo>
                    <a:pt x="82" y="402"/>
                  </a:lnTo>
                  <a:lnTo>
                    <a:pt x="96" y="415"/>
                  </a:lnTo>
                  <a:lnTo>
                    <a:pt x="101" y="415"/>
                  </a:lnTo>
                  <a:lnTo>
                    <a:pt x="106" y="411"/>
                  </a:lnTo>
                  <a:lnTo>
                    <a:pt x="145" y="366"/>
                  </a:lnTo>
                  <a:lnTo>
                    <a:pt x="146" y="358"/>
                  </a:lnTo>
                  <a:lnTo>
                    <a:pt x="146" y="351"/>
                  </a:lnTo>
                  <a:lnTo>
                    <a:pt x="136" y="325"/>
                  </a:lnTo>
                  <a:lnTo>
                    <a:pt x="136" y="316"/>
                  </a:lnTo>
                  <a:lnTo>
                    <a:pt x="151" y="291"/>
                  </a:lnTo>
                  <a:lnTo>
                    <a:pt x="152" y="272"/>
                  </a:lnTo>
                  <a:lnTo>
                    <a:pt x="153" y="267"/>
                  </a:lnTo>
                  <a:lnTo>
                    <a:pt x="157" y="262"/>
                  </a:lnTo>
                  <a:lnTo>
                    <a:pt x="162" y="260"/>
                  </a:lnTo>
                  <a:lnTo>
                    <a:pt x="180" y="261"/>
                  </a:lnTo>
                  <a:lnTo>
                    <a:pt x="186" y="257"/>
                  </a:lnTo>
                  <a:lnTo>
                    <a:pt x="190" y="253"/>
                  </a:lnTo>
                  <a:lnTo>
                    <a:pt x="192" y="247"/>
                  </a:lnTo>
                  <a:lnTo>
                    <a:pt x="191" y="241"/>
                  </a:lnTo>
                  <a:lnTo>
                    <a:pt x="187" y="236"/>
                  </a:lnTo>
                  <a:lnTo>
                    <a:pt x="183" y="233"/>
                  </a:lnTo>
                  <a:lnTo>
                    <a:pt x="180" y="233"/>
                  </a:lnTo>
                  <a:lnTo>
                    <a:pt x="166" y="240"/>
                  </a:lnTo>
                  <a:lnTo>
                    <a:pt x="163" y="238"/>
                  </a:lnTo>
                  <a:lnTo>
                    <a:pt x="161" y="236"/>
                  </a:lnTo>
                  <a:lnTo>
                    <a:pt x="160" y="230"/>
                  </a:lnTo>
                  <a:lnTo>
                    <a:pt x="161" y="225"/>
                  </a:lnTo>
                  <a:lnTo>
                    <a:pt x="173" y="213"/>
                  </a:lnTo>
                  <a:lnTo>
                    <a:pt x="177" y="207"/>
                  </a:lnTo>
                  <a:lnTo>
                    <a:pt x="178" y="200"/>
                  </a:lnTo>
                  <a:lnTo>
                    <a:pt x="178" y="192"/>
                  </a:lnTo>
                  <a:lnTo>
                    <a:pt x="177" y="178"/>
                  </a:lnTo>
                  <a:lnTo>
                    <a:pt x="177" y="175"/>
                  </a:lnTo>
                  <a:lnTo>
                    <a:pt x="180" y="172"/>
                  </a:lnTo>
                  <a:lnTo>
                    <a:pt x="187" y="170"/>
                  </a:lnTo>
                  <a:lnTo>
                    <a:pt x="190" y="166"/>
                  </a:lnTo>
                  <a:lnTo>
                    <a:pt x="191" y="160"/>
                  </a:lnTo>
                  <a:lnTo>
                    <a:pt x="187" y="141"/>
                  </a:lnTo>
                  <a:lnTo>
                    <a:pt x="187" y="135"/>
                  </a:lnTo>
                  <a:lnTo>
                    <a:pt x="192" y="127"/>
                  </a:lnTo>
                  <a:lnTo>
                    <a:pt x="198" y="123"/>
                  </a:lnTo>
                  <a:lnTo>
                    <a:pt x="201" y="118"/>
                  </a:lnTo>
                  <a:lnTo>
                    <a:pt x="203" y="112"/>
                  </a:lnTo>
                  <a:lnTo>
                    <a:pt x="203" y="106"/>
                  </a:lnTo>
                  <a:lnTo>
                    <a:pt x="202" y="100"/>
                  </a:lnTo>
                  <a:lnTo>
                    <a:pt x="201" y="96"/>
                  </a:lnTo>
                  <a:lnTo>
                    <a:pt x="183" y="87"/>
                  </a:lnTo>
                  <a:lnTo>
                    <a:pt x="180" y="85"/>
                  </a:lnTo>
                  <a:lnTo>
                    <a:pt x="177" y="80"/>
                  </a:lnTo>
                  <a:lnTo>
                    <a:pt x="173" y="52"/>
                  </a:lnTo>
                  <a:lnTo>
                    <a:pt x="173" y="46"/>
                  </a:lnTo>
                  <a:lnTo>
                    <a:pt x="175" y="42"/>
                  </a:lnTo>
                  <a:lnTo>
                    <a:pt x="191" y="22"/>
                  </a:lnTo>
                  <a:lnTo>
                    <a:pt x="262" y="8"/>
                  </a:lnTo>
                  <a:lnTo>
                    <a:pt x="301" y="0"/>
                  </a:lnTo>
                  <a:lnTo>
                    <a:pt x="315" y="3"/>
                  </a:lnTo>
                  <a:lnTo>
                    <a:pt x="335" y="17"/>
                  </a:lnTo>
                  <a:lnTo>
                    <a:pt x="342" y="18"/>
                  </a:lnTo>
                  <a:lnTo>
                    <a:pt x="358" y="15"/>
                  </a:lnTo>
                  <a:lnTo>
                    <a:pt x="366" y="15"/>
                  </a:lnTo>
                  <a:lnTo>
                    <a:pt x="372" y="18"/>
                  </a:lnTo>
                  <a:lnTo>
                    <a:pt x="375" y="26"/>
                  </a:lnTo>
                  <a:lnTo>
                    <a:pt x="375" y="35"/>
                  </a:lnTo>
                  <a:lnTo>
                    <a:pt x="373" y="40"/>
                  </a:lnTo>
                  <a:lnTo>
                    <a:pt x="366" y="50"/>
                  </a:lnTo>
                  <a:lnTo>
                    <a:pt x="362" y="68"/>
                  </a:lnTo>
                  <a:lnTo>
                    <a:pt x="363" y="71"/>
                  </a:lnTo>
                  <a:lnTo>
                    <a:pt x="375" y="86"/>
                  </a:lnTo>
                  <a:lnTo>
                    <a:pt x="377" y="91"/>
                  </a:lnTo>
                  <a:lnTo>
                    <a:pt x="380" y="100"/>
                  </a:lnTo>
                  <a:lnTo>
                    <a:pt x="380" y="123"/>
                  </a:lnTo>
                  <a:lnTo>
                    <a:pt x="382" y="131"/>
                  </a:lnTo>
                  <a:lnTo>
                    <a:pt x="386" y="136"/>
                  </a:lnTo>
                  <a:lnTo>
                    <a:pt x="390" y="136"/>
                  </a:lnTo>
                  <a:lnTo>
                    <a:pt x="400" y="135"/>
                  </a:lnTo>
                  <a:lnTo>
                    <a:pt x="403" y="136"/>
                  </a:lnTo>
                  <a:lnTo>
                    <a:pt x="418" y="147"/>
                  </a:lnTo>
                  <a:lnTo>
                    <a:pt x="421" y="148"/>
                  </a:lnTo>
                  <a:lnTo>
                    <a:pt x="437" y="142"/>
                  </a:lnTo>
                  <a:lnTo>
                    <a:pt x="462" y="142"/>
                  </a:lnTo>
                  <a:lnTo>
                    <a:pt x="465" y="141"/>
                  </a:lnTo>
                  <a:lnTo>
                    <a:pt x="471" y="135"/>
                  </a:lnTo>
                  <a:lnTo>
                    <a:pt x="477" y="132"/>
                  </a:lnTo>
                  <a:lnTo>
                    <a:pt x="505" y="131"/>
                  </a:lnTo>
                  <a:lnTo>
                    <a:pt x="508" y="135"/>
                  </a:lnTo>
                  <a:lnTo>
                    <a:pt x="512" y="146"/>
                  </a:lnTo>
                  <a:lnTo>
                    <a:pt x="520" y="153"/>
                  </a:lnTo>
                  <a:lnTo>
                    <a:pt x="531" y="153"/>
                  </a:lnTo>
                  <a:lnTo>
                    <a:pt x="552" y="147"/>
                  </a:lnTo>
                  <a:lnTo>
                    <a:pt x="573" y="177"/>
                  </a:lnTo>
                  <a:lnTo>
                    <a:pt x="582" y="183"/>
                  </a:lnTo>
                  <a:lnTo>
                    <a:pt x="603" y="183"/>
                  </a:lnTo>
                  <a:lnTo>
                    <a:pt x="615" y="191"/>
                  </a:lnTo>
                  <a:lnTo>
                    <a:pt x="623" y="203"/>
                  </a:lnTo>
                  <a:lnTo>
                    <a:pt x="627" y="218"/>
                  </a:lnTo>
                  <a:lnTo>
                    <a:pt x="626" y="235"/>
                  </a:lnTo>
                  <a:lnTo>
                    <a:pt x="621" y="245"/>
                  </a:lnTo>
                  <a:lnTo>
                    <a:pt x="593" y="276"/>
                  </a:lnTo>
                  <a:lnTo>
                    <a:pt x="592" y="281"/>
                  </a:lnTo>
                  <a:lnTo>
                    <a:pt x="596" y="285"/>
                  </a:lnTo>
                  <a:lnTo>
                    <a:pt x="600" y="288"/>
                  </a:lnTo>
                  <a:lnTo>
                    <a:pt x="606" y="297"/>
                  </a:lnTo>
                  <a:lnTo>
                    <a:pt x="606" y="305"/>
                  </a:lnTo>
                  <a:lnTo>
                    <a:pt x="595" y="322"/>
                  </a:lnTo>
                  <a:lnTo>
                    <a:pt x="585" y="321"/>
                  </a:lnTo>
                  <a:lnTo>
                    <a:pt x="567" y="332"/>
                  </a:lnTo>
                  <a:lnTo>
                    <a:pt x="561" y="333"/>
                  </a:lnTo>
                  <a:lnTo>
                    <a:pt x="536" y="321"/>
                  </a:lnTo>
                  <a:lnTo>
                    <a:pt x="533" y="322"/>
                  </a:lnTo>
                  <a:lnTo>
                    <a:pt x="530" y="328"/>
                  </a:lnTo>
                  <a:lnTo>
                    <a:pt x="523" y="338"/>
                  </a:lnTo>
                  <a:lnTo>
                    <a:pt x="526" y="353"/>
                  </a:lnTo>
                  <a:lnTo>
                    <a:pt x="532" y="368"/>
                  </a:lnTo>
                  <a:lnTo>
                    <a:pt x="541" y="381"/>
                  </a:lnTo>
                  <a:lnTo>
                    <a:pt x="550" y="388"/>
                  </a:lnTo>
                  <a:lnTo>
                    <a:pt x="555" y="388"/>
                  </a:lnTo>
                  <a:lnTo>
                    <a:pt x="568" y="383"/>
                  </a:lnTo>
                  <a:lnTo>
                    <a:pt x="591" y="385"/>
                  </a:lnTo>
                  <a:lnTo>
                    <a:pt x="652" y="447"/>
                  </a:lnTo>
                  <a:lnTo>
                    <a:pt x="702" y="437"/>
                  </a:lnTo>
                  <a:lnTo>
                    <a:pt x="720" y="426"/>
                  </a:lnTo>
                  <a:lnTo>
                    <a:pt x="728" y="425"/>
                  </a:lnTo>
                  <a:lnTo>
                    <a:pt x="738" y="425"/>
                  </a:lnTo>
                  <a:lnTo>
                    <a:pt x="763" y="435"/>
                  </a:lnTo>
                  <a:lnTo>
                    <a:pt x="775" y="446"/>
                  </a:lnTo>
                  <a:lnTo>
                    <a:pt x="778" y="461"/>
                  </a:lnTo>
                  <a:lnTo>
                    <a:pt x="777" y="465"/>
                  </a:lnTo>
                  <a:lnTo>
                    <a:pt x="772" y="471"/>
                  </a:lnTo>
                  <a:lnTo>
                    <a:pt x="770" y="475"/>
                  </a:lnTo>
                  <a:lnTo>
                    <a:pt x="771" y="481"/>
                  </a:lnTo>
                  <a:lnTo>
                    <a:pt x="781" y="502"/>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28" name="Burgos" descr="{&quot;Key&quot;:&quot;burgos&quot;,&quot;Name&quot;:&quot;Burgos&quot;,&quot;Value&quot;:1.0,&quot;Formula&quot;:&quot;&quot;,&quot;Text&quot;:&quot;1&quot;,&quot;HasValue&quot;:true}">
              <a:extLst>
                <a:ext uri="{FF2B5EF4-FFF2-40B4-BE49-F238E27FC236}">
                  <a16:creationId xmlns:a16="http://schemas.microsoft.com/office/drawing/2014/main" id="{F602756D-9459-6F92-6E34-1EDA5ED465AF}"/>
                </a:ext>
              </a:extLst>
            </p:cNvPr>
            <p:cNvSpPr>
              <a:spLocks noEditPoints="1"/>
            </p:cNvSpPr>
            <p:nvPr/>
          </p:nvSpPr>
          <p:spPr bwMode="auto">
            <a:xfrm>
              <a:off x="3059336" y="2241624"/>
              <a:ext cx="695635" cy="903900"/>
            </a:xfrm>
            <a:custGeom>
              <a:avLst/>
              <a:gdLst>
                <a:gd name="T0" fmla="*/ 976 w 1007"/>
                <a:gd name="T1" fmla="*/ 336 h 1309"/>
                <a:gd name="T2" fmla="*/ 960 w 1007"/>
                <a:gd name="T3" fmla="*/ 370 h 1309"/>
                <a:gd name="T4" fmla="*/ 997 w 1007"/>
                <a:gd name="T5" fmla="*/ 389 h 1309"/>
                <a:gd name="T6" fmla="*/ 990 w 1007"/>
                <a:gd name="T7" fmla="*/ 419 h 1309"/>
                <a:gd name="T8" fmla="*/ 809 w 1007"/>
                <a:gd name="T9" fmla="*/ 346 h 1309"/>
                <a:gd name="T10" fmla="*/ 896 w 1007"/>
                <a:gd name="T11" fmla="*/ 310 h 1309"/>
                <a:gd name="T12" fmla="*/ 706 w 1007"/>
                <a:gd name="T13" fmla="*/ 428 h 1309"/>
                <a:gd name="T14" fmla="*/ 691 w 1007"/>
                <a:gd name="T15" fmla="*/ 476 h 1309"/>
                <a:gd name="T16" fmla="*/ 698 w 1007"/>
                <a:gd name="T17" fmla="*/ 509 h 1309"/>
                <a:gd name="T18" fmla="*/ 706 w 1007"/>
                <a:gd name="T19" fmla="*/ 558 h 1309"/>
                <a:gd name="T20" fmla="*/ 697 w 1007"/>
                <a:gd name="T21" fmla="*/ 636 h 1309"/>
                <a:gd name="T22" fmla="*/ 686 w 1007"/>
                <a:gd name="T23" fmla="*/ 688 h 1309"/>
                <a:gd name="T24" fmla="*/ 690 w 1007"/>
                <a:gd name="T25" fmla="*/ 788 h 1309"/>
                <a:gd name="T26" fmla="*/ 738 w 1007"/>
                <a:gd name="T27" fmla="*/ 845 h 1309"/>
                <a:gd name="T28" fmla="*/ 783 w 1007"/>
                <a:gd name="T29" fmla="*/ 864 h 1309"/>
                <a:gd name="T30" fmla="*/ 738 w 1007"/>
                <a:gd name="T31" fmla="*/ 961 h 1309"/>
                <a:gd name="T32" fmla="*/ 611 w 1007"/>
                <a:gd name="T33" fmla="*/ 1025 h 1309"/>
                <a:gd name="T34" fmla="*/ 560 w 1007"/>
                <a:gd name="T35" fmla="*/ 1096 h 1309"/>
                <a:gd name="T36" fmla="*/ 436 w 1007"/>
                <a:gd name="T37" fmla="*/ 1209 h 1309"/>
                <a:gd name="T38" fmla="*/ 351 w 1007"/>
                <a:gd name="T39" fmla="*/ 1255 h 1309"/>
                <a:gd name="T40" fmla="*/ 275 w 1007"/>
                <a:gd name="T41" fmla="*/ 1278 h 1309"/>
                <a:gd name="T42" fmla="*/ 161 w 1007"/>
                <a:gd name="T43" fmla="*/ 1079 h 1309"/>
                <a:gd name="T44" fmla="*/ 192 w 1007"/>
                <a:gd name="T45" fmla="*/ 976 h 1309"/>
                <a:gd name="T46" fmla="*/ 236 w 1007"/>
                <a:gd name="T47" fmla="*/ 913 h 1309"/>
                <a:gd name="T48" fmla="*/ 190 w 1007"/>
                <a:gd name="T49" fmla="*/ 868 h 1309"/>
                <a:gd name="T50" fmla="*/ 53 w 1007"/>
                <a:gd name="T51" fmla="*/ 735 h 1309"/>
                <a:gd name="T52" fmla="*/ 8 w 1007"/>
                <a:gd name="T53" fmla="*/ 564 h 1309"/>
                <a:gd name="T54" fmla="*/ 26 w 1007"/>
                <a:gd name="T55" fmla="*/ 474 h 1309"/>
                <a:gd name="T56" fmla="*/ 40 w 1007"/>
                <a:gd name="T57" fmla="*/ 383 h 1309"/>
                <a:gd name="T58" fmla="*/ 121 w 1007"/>
                <a:gd name="T59" fmla="*/ 354 h 1309"/>
                <a:gd name="T60" fmla="*/ 183 w 1007"/>
                <a:gd name="T61" fmla="*/ 294 h 1309"/>
                <a:gd name="T62" fmla="*/ 257 w 1007"/>
                <a:gd name="T63" fmla="*/ 305 h 1309"/>
                <a:gd name="T64" fmla="*/ 278 w 1007"/>
                <a:gd name="T65" fmla="*/ 255 h 1309"/>
                <a:gd name="T66" fmla="*/ 238 w 1007"/>
                <a:gd name="T67" fmla="*/ 263 h 1309"/>
                <a:gd name="T68" fmla="*/ 272 w 1007"/>
                <a:gd name="T69" fmla="*/ 219 h 1309"/>
                <a:gd name="T70" fmla="*/ 241 w 1007"/>
                <a:gd name="T71" fmla="*/ 210 h 1309"/>
                <a:gd name="T72" fmla="*/ 191 w 1007"/>
                <a:gd name="T73" fmla="*/ 210 h 1309"/>
                <a:gd name="T74" fmla="*/ 250 w 1007"/>
                <a:gd name="T75" fmla="*/ 123 h 1309"/>
                <a:gd name="T76" fmla="*/ 287 w 1007"/>
                <a:gd name="T77" fmla="*/ 85 h 1309"/>
                <a:gd name="T78" fmla="*/ 360 w 1007"/>
                <a:gd name="T79" fmla="*/ 36 h 1309"/>
                <a:gd name="T80" fmla="*/ 435 w 1007"/>
                <a:gd name="T81" fmla="*/ 37 h 1309"/>
                <a:gd name="T82" fmla="*/ 593 w 1007"/>
                <a:gd name="T83" fmla="*/ 0 h 1309"/>
                <a:gd name="T84" fmla="*/ 648 w 1007"/>
                <a:gd name="T85" fmla="*/ 36 h 1309"/>
                <a:gd name="T86" fmla="*/ 656 w 1007"/>
                <a:gd name="T87" fmla="*/ 98 h 1309"/>
                <a:gd name="T88" fmla="*/ 691 w 1007"/>
                <a:gd name="T89" fmla="*/ 145 h 1309"/>
                <a:gd name="T90" fmla="*/ 738 w 1007"/>
                <a:gd name="T91" fmla="*/ 138 h 1309"/>
                <a:gd name="T92" fmla="*/ 723 w 1007"/>
                <a:gd name="T93" fmla="*/ 180 h 1309"/>
                <a:gd name="T94" fmla="*/ 732 w 1007"/>
                <a:gd name="T95" fmla="*/ 211 h 1309"/>
                <a:gd name="T96" fmla="*/ 660 w 1007"/>
                <a:gd name="T97" fmla="*/ 217 h 1309"/>
                <a:gd name="T98" fmla="*/ 605 w 1007"/>
                <a:gd name="T99" fmla="*/ 205 h 1309"/>
                <a:gd name="T100" fmla="*/ 610 w 1007"/>
                <a:gd name="T101" fmla="*/ 277 h 1309"/>
                <a:gd name="T102" fmla="*/ 638 w 1007"/>
                <a:gd name="T103" fmla="*/ 255 h 1309"/>
                <a:gd name="T104" fmla="*/ 675 w 1007"/>
                <a:gd name="T105" fmla="*/ 254 h 1309"/>
                <a:gd name="T106" fmla="*/ 663 w 1007"/>
                <a:gd name="T107" fmla="*/ 310 h 1309"/>
                <a:gd name="T108" fmla="*/ 736 w 1007"/>
                <a:gd name="T109" fmla="*/ 340 h 1309"/>
                <a:gd name="T110" fmla="*/ 132 w 1007"/>
                <a:gd name="T111" fmla="*/ 803 h 1309"/>
                <a:gd name="T112" fmla="*/ 131 w 1007"/>
                <a:gd name="T113" fmla="*/ 778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7" h="1309">
                  <a:moveTo>
                    <a:pt x="937" y="324"/>
                  </a:moveTo>
                  <a:lnTo>
                    <a:pt x="945" y="325"/>
                  </a:lnTo>
                  <a:lnTo>
                    <a:pt x="950" y="325"/>
                  </a:lnTo>
                  <a:lnTo>
                    <a:pt x="955" y="323"/>
                  </a:lnTo>
                  <a:lnTo>
                    <a:pt x="961" y="325"/>
                  </a:lnTo>
                  <a:lnTo>
                    <a:pt x="966" y="331"/>
                  </a:lnTo>
                  <a:lnTo>
                    <a:pt x="971" y="335"/>
                  </a:lnTo>
                  <a:lnTo>
                    <a:pt x="976" y="336"/>
                  </a:lnTo>
                  <a:lnTo>
                    <a:pt x="982" y="335"/>
                  </a:lnTo>
                  <a:lnTo>
                    <a:pt x="983" y="337"/>
                  </a:lnTo>
                  <a:lnTo>
                    <a:pt x="982" y="344"/>
                  </a:lnTo>
                  <a:lnTo>
                    <a:pt x="979" y="351"/>
                  </a:lnTo>
                  <a:lnTo>
                    <a:pt x="974" y="361"/>
                  </a:lnTo>
                  <a:lnTo>
                    <a:pt x="970" y="366"/>
                  </a:lnTo>
                  <a:lnTo>
                    <a:pt x="963" y="369"/>
                  </a:lnTo>
                  <a:lnTo>
                    <a:pt x="960" y="370"/>
                  </a:lnTo>
                  <a:lnTo>
                    <a:pt x="958" y="377"/>
                  </a:lnTo>
                  <a:lnTo>
                    <a:pt x="961" y="380"/>
                  </a:lnTo>
                  <a:lnTo>
                    <a:pt x="970" y="389"/>
                  </a:lnTo>
                  <a:lnTo>
                    <a:pt x="975" y="397"/>
                  </a:lnTo>
                  <a:lnTo>
                    <a:pt x="982" y="400"/>
                  </a:lnTo>
                  <a:lnTo>
                    <a:pt x="988" y="397"/>
                  </a:lnTo>
                  <a:lnTo>
                    <a:pt x="993" y="391"/>
                  </a:lnTo>
                  <a:lnTo>
                    <a:pt x="997" y="389"/>
                  </a:lnTo>
                  <a:lnTo>
                    <a:pt x="1001" y="389"/>
                  </a:lnTo>
                  <a:lnTo>
                    <a:pt x="1003" y="395"/>
                  </a:lnTo>
                  <a:lnTo>
                    <a:pt x="1007" y="406"/>
                  </a:lnTo>
                  <a:lnTo>
                    <a:pt x="1007" y="415"/>
                  </a:lnTo>
                  <a:lnTo>
                    <a:pt x="1006" y="419"/>
                  </a:lnTo>
                  <a:lnTo>
                    <a:pt x="999" y="422"/>
                  </a:lnTo>
                  <a:lnTo>
                    <a:pt x="993" y="424"/>
                  </a:lnTo>
                  <a:lnTo>
                    <a:pt x="990" y="419"/>
                  </a:lnTo>
                  <a:lnTo>
                    <a:pt x="983" y="415"/>
                  </a:lnTo>
                  <a:lnTo>
                    <a:pt x="940" y="415"/>
                  </a:lnTo>
                  <a:lnTo>
                    <a:pt x="912" y="402"/>
                  </a:lnTo>
                  <a:lnTo>
                    <a:pt x="874" y="394"/>
                  </a:lnTo>
                  <a:lnTo>
                    <a:pt x="841" y="379"/>
                  </a:lnTo>
                  <a:lnTo>
                    <a:pt x="826" y="367"/>
                  </a:lnTo>
                  <a:lnTo>
                    <a:pt x="812" y="352"/>
                  </a:lnTo>
                  <a:lnTo>
                    <a:pt x="809" y="346"/>
                  </a:lnTo>
                  <a:lnTo>
                    <a:pt x="811" y="341"/>
                  </a:lnTo>
                  <a:lnTo>
                    <a:pt x="818" y="332"/>
                  </a:lnTo>
                  <a:lnTo>
                    <a:pt x="829" y="315"/>
                  </a:lnTo>
                  <a:lnTo>
                    <a:pt x="833" y="311"/>
                  </a:lnTo>
                  <a:lnTo>
                    <a:pt x="839" y="310"/>
                  </a:lnTo>
                  <a:lnTo>
                    <a:pt x="874" y="307"/>
                  </a:lnTo>
                  <a:lnTo>
                    <a:pt x="889" y="309"/>
                  </a:lnTo>
                  <a:lnTo>
                    <a:pt x="896" y="310"/>
                  </a:lnTo>
                  <a:lnTo>
                    <a:pt x="903" y="314"/>
                  </a:lnTo>
                  <a:lnTo>
                    <a:pt x="937" y="324"/>
                  </a:lnTo>
                  <a:close/>
                  <a:moveTo>
                    <a:pt x="827" y="423"/>
                  </a:moveTo>
                  <a:lnTo>
                    <a:pt x="790" y="436"/>
                  </a:lnTo>
                  <a:lnTo>
                    <a:pt x="775" y="433"/>
                  </a:lnTo>
                  <a:lnTo>
                    <a:pt x="766" y="429"/>
                  </a:lnTo>
                  <a:lnTo>
                    <a:pt x="730" y="425"/>
                  </a:lnTo>
                  <a:lnTo>
                    <a:pt x="706" y="428"/>
                  </a:lnTo>
                  <a:lnTo>
                    <a:pt x="697" y="431"/>
                  </a:lnTo>
                  <a:lnTo>
                    <a:pt x="696" y="436"/>
                  </a:lnTo>
                  <a:lnTo>
                    <a:pt x="702" y="446"/>
                  </a:lnTo>
                  <a:lnTo>
                    <a:pt x="703" y="451"/>
                  </a:lnTo>
                  <a:lnTo>
                    <a:pt x="703" y="456"/>
                  </a:lnTo>
                  <a:lnTo>
                    <a:pt x="701" y="463"/>
                  </a:lnTo>
                  <a:lnTo>
                    <a:pt x="693" y="471"/>
                  </a:lnTo>
                  <a:lnTo>
                    <a:pt x="691" y="476"/>
                  </a:lnTo>
                  <a:lnTo>
                    <a:pt x="674" y="495"/>
                  </a:lnTo>
                  <a:lnTo>
                    <a:pt x="673" y="500"/>
                  </a:lnTo>
                  <a:lnTo>
                    <a:pt x="676" y="504"/>
                  </a:lnTo>
                  <a:lnTo>
                    <a:pt x="681" y="504"/>
                  </a:lnTo>
                  <a:lnTo>
                    <a:pt x="684" y="501"/>
                  </a:lnTo>
                  <a:lnTo>
                    <a:pt x="694" y="501"/>
                  </a:lnTo>
                  <a:lnTo>
                    <a:pt x="697" y="505"/>
                  </a:lnTo>
                  <a:lnTo>
                    <a:pt x="698" y="509"/>
                  </a:lnTo>
                  <a:lnTo>
                    <a:pt x="698" y="515"/>
                  </a:lnTo>
                  <a:lnTo>
                    <a:pt x="697" y="523"/>
                  </a:lnTo>
                  <a:lnTo>
                    <a:pt x="692" y="531"/>
                  </a:lnTo>
                  <a:lnTo>
                    <a:pt x="691" y="538"/>
                  </a:lnTo>
                  <a:lnTo>
                    <a:pt x="693" y="543"/>
                  </a:lnTo>
                  <a:lnTo>
                    <a:pt x="701" y="549"/>
                  </a:lnTo>
                  <a:lnTo>
                    <a:pt x="704" y="553"/>
                  </a:lnTo>
                  <a:lnTo>
                    <a:pt x="706" y="558"/>
                  </a:lnTo>
                  <a:lnTo>
                    <a:pt x="708" y="563"/>
                  </a:lnTo>
                  <a:lnTo>
                    <a:pt x="710" y="568"/>
                  </a:lnTo>
                  <a:lnTo>
                    <a:pt x="710" y="571"/>
                  </a:lnTo>
                  <a:lnTo>
                    <a:pt x="705" y="588"/>
                  </a:lnTo>
                  <a:lnTo>
                    <a:pt x="705" y="604"/>
                  </a:lnTo>
                  <a:lnTo>
                    <a:pt x="706" y="615"/>
                  </a:lnTo>
                  <a:lnTo>
                    <a:pt x="706" y="621"/>
                  </a:lnTo>
                  <a:lnTo>
                    <a:pt x="697" y="636"/>
                  </a:lnTo>
                  <a:lnTo>
                    <a:pt x="693" y="640"/>
                  </a:lnTo>
                  <a:lnTo>
                    <a:pt x="683" y="643"/>
                  </a:lnTo>
                  <a:lnTo>
                    <a:pt x="677" y="645"/>
                  </a:lnTo>
                  <a:lnTo>
                    <a:pt x="677" y="649"/>
                  </a:lnTo>
                  <a:lnTo>
                    <a:pt x="682" y="658"/>
                  </a:lnTo>
                  <a:lnTo>
                    <a:pt x="683" y="663"/>
                  </a:lnTo>
                  <a:lnTo>
                    <a:pt x="683" y="675"/>
                  </a:lnTo>
                  <a:lnTo>
                    <a:pt x="686" y="688"/>
                  </a:lnTo>
                  <a:lnTo>
                    <a:pt x="687" y="693"/>
                  </a:lnTo>
                  <a:lnTo>
                    <a:pt x="688" y="704"/>
                  </a:lnTo>
                  <a:lnTo>
                    <a:pt x="687" y="720"/>
                  </a:lnTo>
                  <a:lnTo>
                    <a:pt x="681" y="743"/>
                  </a:lnTo>
                  <a:lnTo>
                    <a:pt x="677" y="749"/>
                  </a:lnTo>
                  <a:lnTo>
                    <a:pt x="671" y="755"/>
                  </a:lnTo>
                  <a:lnTo>
                    <a:pt x="671" y="759"/>
                  </a:lnTo>
                  <a:lnTo>
                    <a:pt x="690" y="788"/>
                  </a:lnTo>
                  <a:lnTo>
                    <a:pt x="691" y="794"/>
                  </a:lnTo>
                  <a:lnTo>
                    <a:pt x="695" y="803"/>
                  </a:lnTo>
                  <a:lnTo>
                    <a:pt x="707" y="813"/>
                  </a:lnTo>
                  <a:lnTo>
                    <a:pt x="712" y="821"/>
                  </a:lnTo>
                  <a:lnTo>
                    <a:pt x="717" y="831"/>
                  </a:lnTo>
                  <a:lnTo>
                    <a:pt x="723" y="840"/>
                  </a:lnTo>
                  <a:lnTo>
                    <a:pt x="731" y="845"/>
                  </a:lnTo>
                  <a:lnTo>
                    <a:pt x="738" y="845"/>
                  </a:lnTo>
                  <a:lnTo>
                    <a:pt x="743" y="845"/>
                  </a:lnTo>
                  <a:lnTo>
                    <a:pt x="751" y="845"/>
                  </a:lnTo>
                  <a:lnTo>
                    <a:pt x="760" y="844"/>
                  </a:lnTo>
                  <a:lnTo>
                    <a:pt x="765" y="843"/>
                  </a:lnTo>
                  <a:lnTo>
                    <a:pt x="770" y="843"/>
                  </a:lnTo>
                  <a:lnTo>
                    <a:pt x="773" y="844"/>
                  </a:lnTo>
                  <a:lnTo>
                    <a:pt x="780" y="854"/>
                  </a:lnTo>
                  <a:lnTo>
                    <a:pt x="783" y="864"/>
                  </a:lnTo>
                  <a:lnTo>
                    <a:pt x="787" y="889"/>
                  </a:lnTo>
                  <a:lnTo>
                    <a:pt x="775" y="893"/>
                  </a:lnTo>
                  <a:lnTo>
                    <a:pt x="757" y="934"/>
                  </a:lnTo>
                  <a:lnTo>
                    <a:pt x="755" y="951"/>
                  </a:lnTo>
                  <a:lnTo>
                    <a:pt x="752" y="958"/>
                  </a:lnTo>
                  <a:lnTo>
                    <a:pt x="747" y="959"/>
                  </a:lnTo>
                  <a:lnTo>
                    <a:pt x="742" y="959"/>
                  </a:lnTo>
                  <a:lnTo>
                    <a:pt x="738" y="961"/>
                  </a:lnTo>
                  <a:lnTo>
                    <a:pt x="736" y="965"/>
                  </a:lnTo>
                  <a:lnTo>
                    <a:pt x="728" y="990"/>
                  </a:lnTo>
                  <a:lnTo>
                    <a:pt x="712" y="989"/>
                  </a:lnTo>
                  <a:lnTo>
                    <a:pt x="696" y="993"/>
                  </a:lnTo>
                  <a:lnTo>
                    <a:pt x="642" y="1060"/>
                  </a:lnTo>
                  <a:lnTo>
                    <a:pt x="630" y="1035"/>
                  </a:lnTo>
                  <a:lnTo>
                    <a:pt x="626" y="1031"/>
                  </a:lnTo>
                  <a:lnTo>
                    <a:pt x="611" y="1025"/>
                  </a:lnTo>
                  <a:lnTo>
                    <a:pt x="606" y="1019"/>
                  </a:lnTo>
                  <a:lnTo>
                    <a:pt x="597" y="1008"/>
                  </a:lnTo>
                  <a:lnTo>
                    <a:pt x="587" y="1006"/>
                  </a:lnTo>
                  <a:lnTo>
                    <a:pt x="578" y="1014"/>
                  </a:lnTo>
                  <a:lnTo>
                    <a:pt x="578" y="1030"/>
                  </a:lnTo>
                  <a:lnTo>
                    <a:pt x="583" y="1076"/>
                  </a:lnTo>
                  <a:lnTo>
                    <a:pt x="581" y="1081"/>
                  </a:lnTo>
                  <a:lnTo>
                    <a:pt x="560" y="1096"/>
                  </a:lnTo>
                  <a:lnTo>
                    <a:pt x="541" y="1101"/>
                  </a:lnTo>
                  <a:lnTo>
                    <a:pt x="538" y="1134"/>
                  </a:lnTo>
                  <a:lnTo>
                    <a:pt x="520" y="1136"/>
                  </a:lnTo>
                  <a:lnTo>
                    <a:pt x="482" y="1211"/>
                  </a:lnTo>
                  <a:lnTo>
                    <a:pt x="444" y="1198"/>
                  </a:lnTo>
                  <a:lnTo>
                    <a:pt x="441" y="1199"/>
                  </a:lnTo>
                  <a:lnTo>
                    <a:pt x="437" y="1203"/>
                  </a:lnTo>
                  <a:lnTo>
                    <a:pt x="436" y="1209"/>
                  </a:lnTo>
                  <a:lnTo>
                    <a:pt x="437" y="1220"/>
                  </a:lnTo>
                  <a:lnTo>
                    <a:pt x="420" y="1229"/>
                  </a:lnTo>
                  <a:lnTo>
                    <a:pt x="392" y="1224"/>
                  </a:lnTo>
                  <a:lnTo>
                    <a:pt x="378" y="1226"/>
                  </a:lnTo>
                  <a:lnTo>
                    <a:pt x="364" y="1234"/>
                  </a:lnTo>
                  <a:lnTo>
                    <a:pt x="361" y="1238"/>
                  </a:lnTo>
                  <a:lnTo>
                    <a:pt x="355" y="1251"/>
                  </a:lnTo>
                  <a:lnTo>
                    <a:pt x="351" y="1255"/>
                  </a:lnTo>
                  <a:lnTo>
                    <a:pt x="338" y="1261"/>
                  </a:lnTo>
                  <a:lnTo>
                    <a:pt x="335" y="1268"/>
                  </a:lnTo>
                  <a:lnTo>
                    <a:pt x="333" y="1274"/>
                  </a:lnTo>
                  <a:lnTo>
                    <a:pt x="333" y="1309"/>
                  </a:lnTo>
                  <a:lnTo>
                    <a:pt x="311" y="1308"/>
                  </a:lnTo>
                  <a:lnTo>
                    <a:pt x="302" y="1276"/>
                  </a:lnTo>
                  <a:lnTo>
                    <a:pt x="275" y="1279"/>
                  </a:lnTo>
                  <a:lnTo>
                    <a:pt x="275" y="1278"/>
                  </a:lnTo>
                  <a:lnTo>
                    <a:pt x="245" y="1243"/>
                  </a:lnTo>
                  <a:lnTo>
                    <a:pt x="193" y="1216"/>
                  </a:lnTo>
                  <a:lnTo>
                    <a:pt x="187" y="1198"/>
                  </a:lnTo>
                  <a:lnTo>
                    <a:pt x="166" y="1181"/>
                  </a:lnTo>
                  <a:lnTo>
                    <a:pt x="168" y="1141"/>
                  </a:lnTo>
                  <a:lnTo>
                    <a:pt x="166" y="1129"/>
                  </a:lnTo>
                  <a:lnTo>
                    <a:pt x="152" y="1099"/>
                  </a:lnTo>
                  <a:lnTo>
                    <a:pt x="161" y="1079"/>
                  </a:lnTo>
                  <a:lnTo>
                    <a:pt x="162" y="1063"/>
                  </a:lnTo>
                  <a:lnTo>
                    <a:pt x="133" y="1033"/>
                  </a:lnTo>
                  <a:lnTo>
                    <a:pt x="133" y="1003"/>
                  </a:lnTo>
                  <a:lnTo>
                    <a:pt x="153" y="1004"/>
                  </a:lnTo>
                  <a:lnTo>
                    <a:pt x="185" y="991"/>
                  </a:lnTo>
                  <a:lnTo>
                    <a:pt x="188" y="988"/>
                  </a:lnTo>
                  <a:lnTo>
                    <a:pt x="191" y="983"/>
                  </a:lnTo>
                  <a:lnTo>
                    <a:pt x="192" y="976"/>
                  </a:lnTo>
                  <a:lnTo>
                    <a:pt x="193" y="961"/>
                  </a:lnTo>
                  <a:lnTo>
                    <a:pt x="196" y="958"/>
                  </a:lnTo>
                  <a:lnTo>
                    <a:pt x="231" y="949"/>
                  </a:lnTo>
                  <a:lnTo>
                    <a:pt x="238" y="943"/>
                  </a:lnTo>
                  <a:lnTo>
                    <a:pt x="242" y="934"/>
                  </a:lnTo>
                  <a:lnTo>
                    <a:pt x="242" y="925"/>
                  </a:lnTo>
                  <a:lnTo>
                    <a:pt x="241" y="918"/>
                  </a:lnTo>
                  <a:lnTo>
                    <a:pt x="236" y="913"/>
                  </a:lnTo>
                  <a:lnTo>
                    <a:pt x="230" y="911"/>
                  </a:lnTo>
                  <a:lnTo>
                    <a:pt x="180" y="938"/>
                  </a:lnTo>
                  <a:lnTo>
                    <a:pt x="170" y="938"/>
                  </a:lnTo>
                  <a:lnTo>
                    <a:pt x="167" y="924"/>
                  </a:lnTo>
                  <a:lnTo>
                    <a:pt x="198" y="883"/>
                  </a:lnTo>
                  <a:lnTo>
                    <a:pt x="200" y="876"/>
                  </a:lnTo>
                  <a:lnTo>
                    <a:pt x="195" y="870"/>
                  </a:lnTo>
                  <a:lnTo>
                    <a:pt x="190" y="868"/>
                  </a:lnTo>
                  <a:lnTo>
                    <a:pt x="138" y="876"/>
                  </a:lnTo>
                  <a:lnTo>
                    <a:pt x="136" y="874"/>
                  </a:lnTo>
                  <a:lnTo>
                    <a:pt x="126" y="860"/>
                  </a:lnTo>
                  <a:lnTo>
                    <a:pt x="116" y="810"/>
                  </a:lnTo>
                  <a:lnTo>
                    <a:pt x="70" y="805"/>
                  </a:lnTo>
                  <a:lnTo>
                    <a:pt x="77" y="770"/>
                  </a:lnTo>
                  <a:lnTo>
                    <a:pt x="51" y="745"/>
                  </a:lnTo>
                  <a:lnTo>
                    <a:pt x="53" y="735"/>
                  </a:lnTo>
                  <a:lnTo>
                    <a:pt x="30" y="619"/>
                  </a:lnTo>
                  <a:lnTo>
                    <a:pt x="32" y="618"/>
                  </a:lnTo>
                  <a:lnTo>
                    <a:pt x="7" y="620"/>
                  </a:lnTo>
                  <a:lnTo>
                    <a:pt x="2" y="614"/>
                  </a:lnTo>
                  <a:lnTo>
                    <a:pt x="0" y="603"/>
                  </a:lnTo>
                  <a:lnTo>
                    <a:pt x="0" y="578"/>
                  </a:lnTo>
                  <a:lnTo>
                    <a:pt x="3" y="569"/>
                  </a:lnTo>
                  <a:lnTo>
                    <a:pt x="8" y="564"/>
                  </a:lnTo>
                  <a:lnTo>
                    <a:pt x="16" y="561"/>
                  </a:lnTo>
                  <a:lnTo>
                    <a:pt x="48" y="565"/>
                  </a:lnTo>
                  <a:lnTo>
                    <a:pt x="47" y="538"/>
                  </a:lnTo>
                  <a:lnTo>
                    <a:pt x="37" y="504"/>
                  </a:lnTo>
                  <a:lnTo>
                    <a:pt x="30" y="494"/>
                  </a:lnTo>
                  <a:lnTo>
                    <a:pt x="18" y="481"/>
                  </a:lnTo>
                  <a:lnTo>
                    <a:pt x="15" y="479"/>
                  </a:lnTo>
                  <a:lnTo>
                    <a:pt x="26" y="474"/>
                  </a:lnTo>
                  <a:lnTo>
                    <a:pt x="20" y="453"/>
                  </a:lnTo>
                  <a:lnTo>
                    <a:pt x="31" y="443"/>
                  </a:lnTo>
                  <a:lnTo>
                    <a:pt x="30" y="416"/>
                  </a:lnTo>
                  <a:lnTo>
                    <a:pt x="25" y="399"/>
                  </a:lnTo>
                  <a:lnTo>
                    <a:pt x="26" y="391"/>
                  </a:lnTo>
                  <a:lnTo>
                    <a:pt x="35" y="376"/>
                  </a:lnTo>
                  <a:lnTo>
                    <a:pt x="36" y="379"/>
                  </a:lnTo>
                  <a:lnTo>
                    <a:pt x="40" y="383"/>
                  </a:lnTo>
                  <a:lnTo>
                    <a:pt x="47" y="386"/>
                  </a:lnTo>
                  <a:lnTo>
                    <a:pt x="62" y="376"/>
                  </a:lnTo>
                  <a:lnTo>
                    <a:pt x="80" y="353"/>
                  </a:lnTo>
                  <a:lnTo>
                    <a:pt x="95" y="344"/>
                  </a:lnTo>
                  <a:lnTo>
                    <a:pt x="102" y="341"/>
                  </a:lnTo>
                  <a:lnTo>
                    <a:pt x="110" y="344"/>
                  </a:lnTo>
                  <a:lnTo>
                    <a:pt x="118" y="353"/>
                  </a:lnTo>
                  <a:lnTo>
                    <a:pt x="121" y="354"/>
                  </a:lnTo>
                  <a:lnTo>
                    <a:pt x="126" y="351"/>
                  </a:lnTo>
                  <a:lnTo>
                    <a:pt x="130" y="346"/>
                  </a:lnTo>
                  <a:lnTo>
                    <a:pt x="136" y="333"/>
                  </a:lnTo>
                  <a:lnTo>
                    <a:pt x="157" y="328"/>
                  </a:lnTo>
                  <a:lnTo>
                    <a:pt x="172" y="293"/>
                  </a:lnTo>
                  <a:lnTo>
                    <a:pt x="177" y="289"/>
                  </a:lnTo>
                  <a:lnTo>
                    <a:pt x="182" y="288"/>
                  </a:lnTo>
                  <a:lnTo>
                    <a:pt x="183" y="294"/>
                  </a:lnTo>
                  <a:lnTo>
                    <a:pt x="185" y="315"/>
                  </a:lnTo>
                  <a:lnTo>
                    <a:pt x="183" y="328"/>
                  </a:lnTo>
                  <a:lnTo>
                    <a:pt x="202" y="334"/>
                  </a:lnTo>
                  <a:lnTo>
                    <a:pt x="211" y="331"/>
                  </a:lnTo>
                  <a:lnTo>
                    <a:pt x="222" y="329"/>
                  </a:lnTo>
                  <a:lnTo>
                    <a:pt x="228" y="325"/>
                  </a:lnTo>
                  <a:lnTo>
                    <a:pt x="248" y="308"/>
                  </a:lnTo>
                  <a:lnTo>
                    <a:pt x="257" y="305"/>
                  </a:lnTo>
                  <a:lnTo>
                    <a:pt x="277" y="305"/>
                  </a:lnTo>
                  <a:lnTo>
                    <a:pt x="282" y="301"/>
                  </a:lnTo>
                  <a:lnTo>
                    <a:pt x="285" y="298"/>
                  </a:lnTo>
                  <a:lnTo>
                    <a:pt x="286" y="288"/>
                  </a:lnTo>
                  <a:lnTo>
                    <a:pt x="280" y="275"/>
                  </a:lnTo>
                  <a:lnTo>
                    <a:pt x="278" y="269"/>
                  </a:lnTo>
                  <a:lnTo>
                    <a:pt x="280" y="261"/>
                  </a:lnTo>
                  <a:lnTo>
                    <a:pt x="278" y="255"/>
                  </a:lnTo>
                  <a:lnTo>
                    <a:pt x="277" y="250"/>
                  </a:lnTo>
                  <a:lnTo>
                    <a:pt x="272" y="248"/>
                  </a:lnTo>
                  <a:lnTo>
                    <a:pt x="266" y="248"/>
                  </a:lnTo>
                  <a:lnTo>
                    <a:pt x="260" y="250"/>
                  </a:lnTo>
                  <a:lnTo>
                    <a:pt x="251" y="263"/>
                  </a:lnTo>
                  <a:lnTo>
                    <a:pt x="247" y="266"/>
                  </a:lnTo>
                  <a:lnTo>
                    <a:pt x="242" y="266"/>
                  </a:lnTo>
                  <a:lnTo>
                    <a:pt x="238" y="263"/>
                  </a:lnTo>
                  <a:lnTo>
                    <a:pt x="236" y="259"/>
                  </a:lnTo>
                  <a:lnTo>
                    <a:pt x="236" y="253"/>
                  </a:lnTo>
                  <a:lnTo>
                    <a:pt x="233" y="244"/>
                  </a:lnTo>
                  <a:lnTo>
                    <a:pt x="235" y="240"/>
                  </a:lnTo>
                  <a:lnTo>
                    <a:pt x="238" y="238"/>
                  </a:lnTo>
                  <a:lnTo>
                    <a:pt x="240" y="230"/>
                  </a:lnTo>
                  <a:lnTo>
                    <a:pt x="256" y="229"/>
                  </a:lnTo>
                  <a:lnTo>
                    <a:pt x="272" y="219"/>
                  </a:lnTo>
                  <a:lnTo>
                    <a:pt x="275" y="213"/>
                  </a:lnTo>
                  <a:lnTo>
                    <a:pt x="273" y="208"/>
                  </a:lnTo>
                  <a:lnTo>
                    <a:pt x="267" y="198"/>
                  </a:lnTo>
                  <a:lnTo>
                    <a:pt x="263" y="195"/>
                  </a:lnTo>
                  <a:lnTo>
                    <a:pt x="258" y="193"/>
                  </a:lnTo>
                  <a:lnTo>
                    <a:pt x="248" y="196"/>
                  </a:lnTo>
                  <a:lnTo>
                    <a:pt x="246" y="200"/>
                  </a:lnTo>
                  <a:lnTo>
                    <a:pt x="241" y="210"/>
                  </a:lnTo>
                  <a:lnTo>
                    <a:pt x="237" y="214"/>
                  </a:lnTo>
                  <a:lnTo>
                    <a:pt x="223" y="223"/>
                  </a:lnTo>
                  <a:lnTo>
                    <a:pt x="213" y="226"/>
                  </a:lnTo>
                  <a:lnTo>
                    <a:pt x="207" y="226"/>
                  </a:lnTo>
                  <a:lnTo>
                    <a:pt x="202" y="224"/>
                  </a:lnTo>
                  <a:lnTo>
                    <a:pt x="197" y="220"/>
                  </a:lnTo>
                  <a:lnTo>
                    <a:pt x="193" y="215"/>
                  </a:lnTo>
                  <a:lnTo>
                    <a:pt x="191" y="210"/>
                  </a:lnTo>
                  <a:lnTo>
                    <a:pt x="192" y="199"/>
                  </a:lnTo>
                  <a:lnTo>
                    <a:pt x="205" y="163"/>
                  </a:lnTo>
                  <a:lnTo>
                    <a:pt x="210" y="154"/>
                  </a:lnTo>
                  <a:lnTo>
                    <a:pt x="215" y="150"/>
                  </a:lnTo>
                  <a:lnTo>
                    <a:pt x="220" y="148"/>
                  </a:lnTo>
                  <a:lnTo>
                    <a:pt x="230" y="141"/>
                  </a:lnTo>
                  <a:lnTo>
                    <a:pt x="241" y="129"/>
                  </a:lnTo>
                  <a:lnTo>
                    <a:pt x="250" y="123"/>
                  </a:lnTo>
                  <a:lnTo>
                    <a:pt x="258" y="120"/>
                  </a:lnTo>
                  <a:lnTo>
                    <a:pt x="263" y="118"/>
                  </a:lnTo>
                  <a:lnTo>
                    <a:pt x="271" y="110"/>
                  </a:lnTo>
                  <a:lnTo>
                    <a:pt x="272" y="103"/>
                  </a:lnTo>
                  <a:lnTo>
                    <a:pt x="272" y="89"/>
                  </a:lnTo>
                  <a:lnTo>
                    <a:pt x="276" y="86"/>
                  </a:lnTo>
                  <a:lnTo>
                    <a:pt x="281" y="85"/>
                  </a:lnTo>
                  <a:lnTo>
                    <a:pt x="287" y="85"/>
                  </a:lnTo>
                  <a:lnTo>
                    <a:pt x="302" y="86"/>
                  </a:lnTo>
                  <a:lnTo>
                    <a:pt x="307" y="85"/>
                  </a:lnTo>
                  <a:lnTo>
                    <a:pt x="312" y="82"/>
                  </a:lnTo>
                  <a:lnTo>
                    <a:pt x="321" y="75"/>
                  </a:lnTo>
                  <a:lnTo>
                    <a:pt x="331" y="69"/>
                  </a:lnTo>
                  <a:lnTo>
                    <a:pt x="337" y="64"/>
                  </a:lnTo>
                  <a:lnTo>
                    <a:pt x="346" y="55"/>
                  </a:lnTo>
                  <a:lnTo>
                    <a:pt x="360" y="36"/>
                  </a:lnTo>
                  <a:lnTo>
                    <a:pt x="371" y="25"/>
                  </a:lnTo>
                  <a:lnTo>
                    <a:pt x="378" y="20"/>
                  </a:lnTo>
                  <a:lnTo>
                    <a:pt x="385" y="19"/>
                  </a:lnTo>
                  <a:lnTo>
                    <a:pt x="390" y="21"/>
                  </a:lnTo>
                  <a:lnTo>
                    <a:pt x="398" y="27"/>
                  </a:lnTo>
                  <a:lnTo>
                    <a:pt x="402" y="30"/>
                  </a:lnTo>
                  <a:lnTo>
                    <a:pt x="420" y="32"/>
                  </a:lnTo>
                  <a:lnTo>
                    <a:pt x="435" y="37"/>
                  </a:lnTo>
                  <a:lnTo>
                    <a:pt x="450" y="44"/>
                  </a:lnTo>
                  <a:lnTo>
                    <a:pt x="460" y="46"/>
                  </a:lnTo>
                  <a:lnTo>
                    <a:pt x="471" y="46"/>
                  </a:lnTo>
                  <a:lnTo>
                    <a:pt x="487" y="48"/>
                  </a:lnTo>
                  <a:lnTo>
                    <a:pt x="502" y="46"/>
                  </a:lnTo>
                  <a:lnTo>
                    <a:pt x="536" y="34"/>
                  </a:lnTo>
                  <a:lnTo>
                    <a:pt x="583" y="4"/>
                  </a:lnTo>
                  <a:lnTo>
                    <a:pt x="593" y="0"/>
                  </a:lnTo>
                  <a:lnTo>
                    <a:pt x="601" y="3"/>
                  </a:lnTo>
                  <a:lnTo>
                    <a:pt x="610" y="11"/>
                  </a:lnTo>
                  <a:lnTo>
                    <a:pt x="622" y="14"/>
                  </a:lnTo>
                  <a:lnTo>
                    <a:pt x="641" y="14"/>
                  </a:lnTo>
                  <a:lnTo>
                    <a:pt x="653" y="15"/>
                  </a:lnTo>
                  <a:lnTo>
                    <a:pt x="658" y="20"/>
                  </a:lnTo>
                  <a:lnTo>
                    <a:pt x="658" y="28"/>
                  </a:lnTo>
                  <a:lnTo>
                    <a:pt x="648" y="36"/>
                  </a:lnTo>
                  <a:lnTo>
                    <a:pt x="646" y="41"/>
                  </a:lnTo>
                  <a:lnTo>
                    <a:pt x="642" y="54"/>
                  </a:lnTo>
                  <a:lnTo>
                    <a:pt x="642" y="60"/>
                  </a:lnTo>
                  <a:lnTo>
                    <a:pt x="646" y="65"/>
                  </a:lnTo>
                  <a:lnTo>
                    <a:pt x="656" y="69"/>
                  </a:lnTo>
                  <a:lnTo>
                    <a:pt x="658" y="74"/>
                  </a:lnTo>
                  <a:lnTo>
                    <a:pt x="658" y="84"/>
                  </a:lnTo>
                  <a:lnTo>
                    <a:pt x="656" y="98"/>
                  </a:lnTo>
                  <a:lnTo>
                    <a:pt x="655" y="115"/>
                  </a:lnTo>
                  <a:lnTo>
                    <a:pt x="651" y="124"/>
                  </a:lnTo>
                  <a:lnTo>
                    <a:pt x="646" y="134"/>
                  </a:lnTo>
                  <a:lnTo>
                    <a:pt x="648" y="136"/>
                  </a:lnTo>
                  <a:lnTo>
                    <a:pt x="653" y="139"/>
                  </a:lnTo>
                  <a:lnTo>
                    <a:pt x="670" y="143"/>
                  </a:lnTo>
                  <a:lnTo>
                    <a:pt x="686" y="144"/>
                  </a:lnTo>
                  <a:lnTo>
                    <a:pt x="691" y="145"/>
                  </a:lnTo>
                  <a:lnTo>
                    <a:pt x="697" y="143"/>
                  </a:lnTo>
                  <a:lnTo>
                    <a:pt x="707" y="121"/>
                  </a:lnTo>
                  <a:lnTo>
                    <a:pt x="717" y="116"/>
                  </a:lnTo>
                  <a:lnTo>
                    <a:pt x="722" y="118"/>
                  </a:lnTo>
                  <a:lnTo>
                    <a:pt x="725" y="121"/>
                  </a:lnTo>
                  <a:lnTo>
                    <a:pt x="725" y="130"/>
                  </a:lnTo>
                  <a:lnTo>
                    <a:pt x="728" y="134"/>
                  </a:lnTo>
                  <a:lnTo>
                    <a:pt x="738" y="138"/>
                  </a:lnTo>
                  <a:lnTo>
                    <a:pt x="743" y="143"/>
                  </a:lnTo>
                  <a:lnTo>
                    <a:pt x="745" y="146"/>
                  </a:lnTo>
                  <a:lnTo>
                    <a:pt x="741" y="158"/>
                  </a:lnTo>
                  <a:lnTo>
                    <a:pt x="738" y="161"/>
                  </a:lnTo>
                  <a:lnTo>
                    <a:pt x="722" y="164"/>
                  </a:lnTo>
                  <a:lnTo>
                    <a:pt x="716" y="164"/>
                  </a:lnTo>
                  <a:lnTo>
                    <a:pt x="716" y="170"/>
                  </a:lnTo>
                  <a:lnTo>
                    <a:pt x="723" y="180"/>
                  </a:lnTo>
                  <a:lnTo>
                    <a:pt x="731" y="185"/>
                  </a:lnTo>
                  <a:lnTo>
                    <a:pt x="747" y="190"/>
                  </a:lnTo>
                  <a:lnTo>
                    <a:pt x="750" y="195"/>
                  </a:lnTo>
                  <a:lnTo>
                    <a:pt x="750" y="200"/>
                  </a:lnTo>
                  <a:lnTo>
                    <a:pt x="747" y="207"/>
                  </a:lnTo>
                  <a:lnTo>
                    <a:pt x="745" y="209"/>
                  </a:lnTo>
                  <a:lnTo>
                    <a:pt x="737" y="211"/>
                  </a:lnTo>
                  <a:lnTo>
                    <a:pt x="732" y="211"/>
                  </a:lnTo>
                  <a:lnTo>
                    <a:pt x="721" y="221"/>
                  </a:lnTo>
                  <a:lnTo>
                    <a:pt x="716" y="222"/>
                  </a:lnTo>
                  <a:lnTo>
                    <a:pt x="705" y="222"/>
                  </a:lnTo>
                  <a:lnTo>
                    <a:pt x="696" y="225"/>
                  </a:lnTo>
                  <a:lnTo>
                    <a:pt x="685" y="224"/>
                  </a:lnTo>
                  <a:lnTo>
                    <a:pt x="680" y="222"/>
                  </a:lnTo>
                  <a:lnTo>
                    <a:pt x="668" y="221"/>
                  </a:lnTo>
                  <a:lnTo>
                    <a:pt x="660" y="217"/>
                  </a:lnTo>
                  <a:lnTo>
                    <a:pt x="656" y="213"/>
                  </a:lnTo>
                  <a:lnTo>
                    <a:pt x="653" y="204"/>
                  </a:lnTo>
                  <a:lnTo>
                    <a:pt x="650" y="199"/>
                  </a:lnTo>
                  <a:lnTo>
                    <a:pt x="646" y="196"/>
                  </a:lnTo>
                  <a:lnTo>
                    <a:pt x="633" y="194"/>
                  </a:lnTo>
                  <a:lnTo>
                    <a:pt x="613" y="196"/>
                  </a:lnTo>
                  <a:lnTo>
                    <a:pt x="608" y="200"/>
                  </a:lnTo>
                  <a:lnTo>
                    <a:pt x="605" y="205"/>
                  </a:lnTo>
                  <a:lnTo>
                    <a:pt x="602" y="210"/>
                  </a:lnTo>
                  <a:lnTo>
                    <a:pt x="596" y="220"/>
                  </a:lnTo>
                  <a:lnTo>
                    <a:pt x="587" y="229"/>
                  </a:lnTo>
                  <a:lnTo>
                    <a:pt x="582" y="239"/>
                  </a:lnTo>
                  <a:lnTo>
                    <a:pt x="582" y="244"/>
                  </a:lnTo>
                  <a:lnTo>
                    <a:pt x="585" y="249"/>
                  </a:lnTo>
                  <a:lnTo>
                    <a:pt x="592" y="256"/>
                  </a:lnTo>
                  <a:lnTo>
                    <a:pt x="610" y="277"/>
                  </a:lnTo>
                  <a:lnTo>
                    <a:pt x="617" y="282"/>
                  </a:lnTo>
                  <a:lnTo>
                    <a:pt x="620" y="280"/>
                  </a:lnTo>
                  <a:lnTo>
                    <a:pt x="621" y="276"/>
                  </a:lnTo>
                  <a:lnTo>
                    <a:pt x="621" y="272"/>
                  </a:lnTo>
                  <a:lnTo>
                    <a:pt x="625" y="264"/>
                  </a:lnTo>
                  <a:lnTo>
                    <a:pt x="628" y="259"/>
                  </a:lnTo>
                  <a:lnTo>
                    <a:pt x="633" y="256"/>
                  </a:lnTo>
                  <a:lnTo>
                    <a:pt x="638" y="255"/>
                  </a:lnTo>
                  <a:lnTo>
                    <a:pt x="650" y="256"/>
                  </a:lnTo>
                  <a:lnTo>
                    <a:pt x="653" y="254"/>
                  </a:lnTo>
                  <a:lnTo>
                    <a:pt x="657" y="249"/>
                  </a:lnTo>
                  <a:lnTo>
                    <a:pt x="665" y="237"/>
                  </a:lnTo>
                  <a:lnTo>
                    <a:pt x="670" y="236"/>
                  </a:lnTo>
                  <a:lnTo>
                    <a:pt x="675" y="239"/>
                  </a:lnTo>
                  <a:lnTo>
                    <a:pt x="676" y="245"/>
                  </a:lnTo>
                  <a:lnTo>
                    <a:pt x="675" y="254"/>
                  </a:lnTo>
                  <a:lnTo>
                    <a:pt x="671" y="261"/>
                  </a:lnTo>
                  <a:lnTo>
                    <a:pt x="665" y="271"/>
                  </a:lnTo>
                  <a:lnTo>
                    <a:pt x="660" y="279"/>
                  </a:lnTo>
                  <a:lnTo>
                    <a:pt x="656" y="286"/>
                  </a:lnTo>
                  <a:lnTo>
                    <a:pt x="653" y="291"/>
                  </a:lnTo>
                  <a:lnTo>
                    <a:pt x="653" y="297"/>
                  </a:lnTo>
                  <a:lnTo>
                    <a:pt x="656" y="302"/>
                  </a:lnTo>
                  <a:lnTo>
                    <a:pt x="663" y="310"/>
                  </a:lnTo>
                  <a:lnTo>
                    <a:pt x="666" y="315"/>
                  </a:lnTo>
                  <a:lnTo>
                    <a:pt x="662" y="327"/>
                  </a:lnTo>
                  <a:lnTo>
                    <a:pt x="668" y="327"/>
                  </a:lnTo>
                  <a:lnTo>
                    <a:pt x="671" y="329"/>
                  </a:lnTo>
                  <a:lnTo>
                    <a:pt x="686" y="324"/>
                  </a:lnTo>
                  <a:lnTo>
                    <a:pt x="702" y="316"/>
                  </a:lnTo>
                  <a:lnTo>
                    <a:pt x="720" y="325"/>
                  </a:lnTo>
                  <a:lnTo>
                    <a:pt x="736" y="340"/>
                  </a:lnTo>
                  <a:lnTo>
                    <a:pt x="746" y="347"/>
                  </a:lnTo>
                  <a:lnTo>
                    <a:pt x="755" y="352"/>
                  </a:lnTo>
                  <a:lnTo>
                    <a:pt x="768" y="370"/>
                  </a:lnTo>
                  <a:lnTo>
                    <a:pt x="783" y="376"/>
                  </a:lnTo>
                  <a:lnTo>
                    <a:pt x="820" y="406"/>
                  </a:lnTo>
                  <a:lnTo>
                    <a:pt x="825" y="414"/>
                  </a:lnTo>
                  <a:lnTo>
                    <a:pt x="827" y="423"/>
                  </a:lnTo>
                  <a:close/>
                  <a:moveTo>
                    <a:pt x="132" y="803"/>
                  </a:moveTo>
                  <a:lnTo>
                    <a:pt x="142" y="806"/>
                  </a:lnTo>
                  <a:lnTo>
                    <a:pt x="151" y="804"/>
                  </a:lnTo>
                  <a:lnTo>
                    <a:pt x="155" y="799"/>
                  </a:lnTo>
                  <a:lnTo>
                    <a:pt x="153" y="789"/>
                  </a:lnTo>
                  <a:lnTo>
                    <a:pt x="150" y="783"/>
                  </a:lnTo>
                  <a:lnTo>
                    <a:pt x="143" y="778"/>
                  </a:lnTo>
                  <a:lnTo>
                    <a:pt x="137" y="775"/>
                  </a:lnTo>
                  <a:lnTo>
                    <a:pt x="131" y="778"/>
                  </a:lnTo>
                  <a:lnTo>
                    <a:pt x="127" y="783"/>
                  </a:lnTo>
                  <a:lnTo>
                    <a:pt x="126" y="790"/>
                  </a:lnTo>
                  <a:lnTo>
                    <a:pt x="127" y="797"/>
                  </a:lnTo>
                  <a:lnTo>
                    <a:pt x="132" y="803"/>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29" name="Cáceres" descr="{&quot;Key&quot;:&quot;cáceres&quot;,&quot;Name&quot;:&quot;Cáceres&quot;,&quot;Value&quot;:1.0,&quot;Formula&quot;:&quot;&quot;,&quot;Text&quot;:&quot;1&quot;,&quot;HasValue&quot;:true}">
              <a:extLst>
                <a:ext uri="{FF2B5EF4-FFF2-40B4-BE49-F238E27FC236}">
                  <a16:creationId xmlns:a16="http://schemas.microsoft.com/office/drawing/2014/main" id="{F5BD849B-8185-9BDD-3D4B-FC2873D9E856}"/>
                </a:ext>
              </a:extLst>
            </p:cNvPr>
            <p:cNvSpPr>
              <a:spLocks/>
            </p:cNvSpPr>
            <p:nvPr/>
          </p:nvSpPr>
          <p:spPr bwMode="auto">
            <a:xfrm>
              <a:off x="1825328" y="3641395"/>
              <a:ext cx="998825" cy="722554"/>
            </a:xfrm>
            <a:custGeom>
              <a:avLst/>
              <a:gdLst>
                <a:gd name="T0" fmla="*/ 1097 w 1448"/>
                <a:gd name="T1" fmla="*/ 199 h 1045"/>
                <a:gd name="T2" fmla="*/ 1182 w 1448"/>
                <a:gd name="T3" fmla="*/ 173 h 1045"/>
                <a:gd name="T4" fmla="*/ 1216 w 1448"/>
                <a:gd name="T5" fmla="*/ 197 h 1045"/>
                <a:gd name="T6" fmla="*/ 1212 w 1448"/>
                <a:gd name="T7" fmla="*/ 301 h 1045"/>
                <a:gd name="T8" fmla="*/ 1204 w 1448"/>
                <a:gd name="T9" fmla="*/ 436 h 1045"/>
                <a:gd name="T10" fmla="*/ 1249 w 1448"/>
                <a:gd name="T11" fmla="*/ 437 h 1045"/>
                <a:gd name="T12" fmla="*/ 1247 w 1448"/>
                <a:gd name="T13" fmla="*/ 474 h 1045"/>
                <a:gd name="T14" fmla="*/ 1266 w 1448"/>
                <a:gd name="T15" fmla="*/ 528 h 1045"/>
                <a:gd name="T16" fmla="*/ 1306 w 1448"/>
                <a:gd name="T17" fmla="*/ 498 h 1045"/>
                <a:gd name="T18" fmla="*/ 1330 w 1448"/>
                <a:gd name="T19" fmla="*/ 522 h 1045"/>
                <a:gd name="T20" fmla="*/ 1338 w 1448"/>
                <a:gd name="T21" fmla="*/ 563 h 1045"/>
                <a:gd name="T22" fmla="*/ 1320 w 1448"/>
                <a:gd name="T23" fmla="*/ 620 h 1045"/>
                <a:gd name="T24" fmla="*/ 1330 w 1448"/>
                <a:gd name="T25" fmla="*/ 664 h 1045"/>
                <a:gd name="T26" fmla="*/ 1392 w 1448"/>
                <a:gd name="T27" fmla="*/ 723 h 1045"/>
                <a:gd name="T28" fmla="*/ 1448 w 1448"/>
                <a:gd name="T29" fmla="*/ 788 h 1045"/>
                <a:gd name="T30" fmla="*/ 1353 w 1448"/>
                <a:gd name="T31" fmla="*/ 798 h 1045"/>
                <a:gd name="T32" fmla="*/ 1281 w 1448"/>
                <a:gd name="T33" fmla="*/ 847 h 1045"/>
                <a:gd name="T34" fmla="*/ 1225 w 1448"/>
                <a:gd name="T35" fmla="*/ 894 h 1045"/>
                <a:gd name="T36" fmla="*/ 1171 w 1448"/>
                <a:gd name="T37" fmla="*/ 955 h 1045"/>
                <a:gd name="T38" fmla="*/ 1081 w 1448"/>
                <a:gd name="T39" fmla="*/ 937 h 1045"/>
                <a:gd name="T40" fmla="*/ 1060 w 1448"/>
                <a:gd name="T41" fmla="*/ 995 h 1045"/>
                <a:gd name="T42" fmla="*/ 905 w 1448"/>
                <a:gd name="T43" fmla="*/ 1009 h 1045"/>
                <a:gd name="T44" fmla="*/ 813 w 1448"/>
                <a:gd name="T45" fmla="*/ 1008 h 1045"/>
                <a:gd name="T46" fmla="*/ 745 w 1448"/>
                <a:gd name="T47" fmla="*/ 1020 h 1045"/>
                <a:gd name="T48" fmla="*/ 686 w 1448"/>
                <a:gd name="T49" fmla="*/ 937 h 1045"/>
                <a:gd name="T50" fmla="*/ 550 w 1448"/>
                <a:gd name="T51" fmla="*/ 957 h 1045"/>
                <a:gd name="T52" fmla="*/ 437 w 1448"/>
                <a:gd name="T53" fmla="*/ 932 h 1045"/>
                <a:gd name="T54" fmla="*/ 431 w 1448"/>
                <a:gd name="T55" fmla="*/ 824 h 1045"/>
                <a:gd name="T56" fmla="*/ 282 w 1448"/>
                <a:gd name="T57" fmla="*/ 755 h 1045"/>
                <a:gd name="T58" fmla="*/ 297 w 1448"/>
                <a:gd name="T59" fmla="*/ 800 h 1045"/>
                <a:gd name="T60" fmla="*/ 269 w 1448"/>
                <a:gd name="T61" fmla="*/ 795 h 1045"/>
                <a:gd name="T62" fmla="*/ 216 w 1448"/>
                <a:gd name="T63" fmla="*/ 828 h 1045"/>
                <a:gd name="T64" fmla="*/ 142 w 1448"/>
                <a:gd name="T65" fmla="*/ 840 h 1045"/>
                <a:gd name="T66" fmla="*/ 132 w 1448"/>
                <a:gd name="T67" fmla="*/ 773 h 1045"/>
                <a:gd name="T68" fmla="*/ 87 w 1448"/>
                <a:gd name="T69" fmla="*/ 714 h 1045"/>
                <a:gd name="T70" fmla="*/ 24 w 1448"/>
                <a:gd name="T71" fmla="*/ 643 h 1045"/>
                <a:gd name="T72" fmla="*/ 147 w 1448"/>
                <a:gd name="T73" fmla="*/ 578 h 1045"/>
                <a:gd name="T74" fmla="*/ 297 w 1448"/>
                <a:gd name="T75" fmla="*/ 570 h 1045"/>
                <a:gd name="T76" fmla="*/ 312 w 1448"/>
                <a:gd name="T77" fmla="*/ 513 h 1045"/>
                <a:gd name="T78" fmla="*/ 330 w 1448"/>
                <a:gd name="T79" fmla="*/ 473 h 1045"/>
                <a:gd name="T80" fmla="*/ 351 w 1448"/>
                <a:gd name="T81" fmla="*/ 413 h 1045"/>
                <a:gd name="T82" fmla="*/ 365 w 1448"/>
                <a:gd name="T83" fmla="*/ 374 h 1045"/>
                <a:gd name="T84" fmla="*/ 334 w 1448"/>
                <a:gd name="T85" fmla="*/ 274 h 1045"/>
                <a:gd name="T86" fmla="*/ 290 w 1448"/>
                <a:gd name="T87" fmla="*/ 228 h 1045"/>
                <a:gd name="T88" fmla="*/ 333 w 1448"/>
                <a:gd name="T89" fmla="*/ 165 h 1045"/>
                <a:gd name="T90" fmla="*/ 378 w 1448"/>
                <a:gd name="T91" fmla="*/ 147 h 1045"/>
                <a:gd name="T92" fmla="*/ 417 w 1448"/>
                <a:gd name="T93" fmla="*/ 172 h 1045"/>
                <a:gd name="T94" fmla="*/ 466 w 1448"/>
                <a:gd name="T95" fmla="*/ 162 h 1045"/>
                <a:gd name="T96" fmla="*/ 538 w 1448"/>
                <a:gd name="T97" fmla="*/ 152 h 1045"/>
                <a:gd name="T98" fmla="*/ 553 w 1448"/>
                <a:gd name="T99" fmla="*/ 120 h 1045"/>
                <a:gd name="T100" fmla="*/ 597 w 1448"/>
                <a:gd name="T101" fmla="*/ 84 h 1045"/>
                <a:gd name="T102" fmla="*/ 662 w 1448"/>
                <a:gd name="T103" fmla="*/ 52 h 1045"/>
                <a:gd name="T104" fmla="*/ 701 w 1448"/>
                <a:gd name="T105" fmla="*/ 22 h 1045"/>
                <a:gd name="T106" fmla="*/ 767 w 1448"/>
                <a:gd name="T107" fmla="*/ 14 h 1045"/>
                <a:gd name="T108" fmla="*/ 803 w 1448"/>
                <a:gd name="T109" fmla="*/ 48 h 1045"/>
                <a:gd name="T110" fmla="*/ 821 w 1448"/>
                <a:gd name="T111" fmla="*/ 70 h 1045"/>
                <a:gd name="T112" fmla="*/ 818 w 1448"/>
                <a:gd name="T113" fmla="*/ 97 h 1045"/>
                <a:gd name="T114" fmla="*/ 890 w 1448"/>
                <a:gd name="T115" fmla="*/ 139 h 1045"/>
                <a:gd name="T116" fmla="*/ 926 w 1448"/>
                <a:gd name="T117" fmla="*/ 123 h 1045"/>
                <a:gd name="T118" fmla="*/ 977 w 1448"/>
                <a:gd name="T119" fmla="*/ 102 h 1045"/>
                <a:gd name="T120" fmla="*/ 980 w 1448"/>
                <a:gd name="T121" fmla="*/ 138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8" h="1045">
                  <a:moveTo>
                    <a:pt x="1015" y="136"/>
                  </a:moveTo>
                  <a:lnTo>
                    <a:pt x="1037" y="146"/>
                  </a:lnTo>
                  <a:lnTo>
                    <a:pt x="1052" y="157"/>
                  </a:lnTo>
                  <a:lnTo>
                    <a:pt x="1070" y="173"/>
                  </a:lnTo>
                  <a:lnTo>
                    <a:pt x="1084" y="191"/>
                  </a:lnTo>
                  <a:lnTo>
                    <a:pt x="1097" y="199"/>
                  </a:lnTo>
                  <a:lnTo>
                    <a:pt x="1119" y="207"/>
                  </a:lnTo>
                  <a:lnTo>
                    <a:pt x="1140" y="206"/>
                  </a:lnTo>
                  <a:lnTo>
                    <a:pt x="1149" y="203"/>
                  </a:lnTo>
                  <a:lnTo>
                    <a:pt x="1152" y="202"/>
                  </a:lnTo>
                  <a:lnTo>
                    <a:pt x="1164" y="189"/>
                  </a:lnTo>
                  <a:lnTo>
                    <a:pt x="1182" y="173"/>
                  </a:lnTo>
                  <a:lnTo>
                    <a:pt x="1211" y="164"/>
                  </a:lnTo>
                  <a:lnTo>
                    <a:pt x="1221" y="164"/>
                  </a:lnTo>
                  <a:lnTo>
                    <a:pt x="1224" y="167"/>
                  </a:lnTo>
                  <a:lnTo>
                    <a:pt x="1224" y="172"/>
                  </a:lnTo>
                  <a:lnTo>
                    <a:pt x="1217" y="187"/>
                  </a:lnTo>
                  <a:lnTo>
                    <a:pt x="1216" y="197"/>
                  </a:lnTo>
                  <a:lnTo>
                    <a:pt x="1217" y="231"/>
                  </a:lnTo>
                  <a:lnTo>
                    <a:pt x="1226" y="249"/>
                  </a:lnTo>
                  <a:lnTo>
                    <a:pt x="1236" y="266"/>
                  </a:lnTo>
                  <a:lnTo>
                    <a:pt x="1220" y="273"/>
                  </a:lnTo>
                  <a:lnTo>
                    <a:pt x="1215" y="282"/>
                  </a:lnTo>
                  <a:lnTo>
                    <a:pt x="1212" y="301"/>
                  </a:lnTo>
                  <a:lnTo>
                    <a:pt x="1212" y="308"/>
                  </a:lnTo>
                  <a:lnTo>
                    <a:pt x="1214" y="314"/>
                  </a:lnTo>
                  <a:lnTo>
                    <a:pt x="1210" y="353"/>
                  </a:lnTo>
                  <a:lnTo>
                    <a:pt x="1201" y="407"/>
                  </a:lnTo>
                  <a:lnTo>
                    <a:pt x="1201" y="427"/>
                  </a:lnTo>
                  <a:lnTo>
                    <a:pt x="1204" y="436"/>
                  </a:lnTo>
                  <a:lnTo>
                    <a:pt x="1209" y="433"/>
                  </a:lnTo>
                  <a:lnTo>
                    <a:pt x="1220" y="431"/>
                  </a:lnTo>
                  <a:lnTo>
                    <a:pt x="1235" y="429"/>
                  </a:lnTo>
                  <a:lnTo>
                    <a:pt x="1240" y="431"/>
                  </a:lnTo>
                  <a:lnTo>
                    <a:pt x="1244" y="433"/>
                  </a:lnTo>
                  <a:lnTo>
                    <a:pt x="1249" y="437"/>
                  </a:lnTo>
                  <a:lnTo>
                    <a:pt x="1255" y="446"/>
                  </a:lnTo>
                  <a:lnTo>
                    <a:pt x="1257" y="449"/>
                  </a:lnTo>
                  <a:lnTo>
                    <a:pt x="1257" y="454"/>
                  </a:lnTo>
                  <a:lnTo>
                    <a:pt x="1256" y="459"/>
                  </a:lnTo>
                  <a:lnTo>
                    <a:pt x="1250" y="468"/>
                  </a:lnTo>
                  <a:lnTo>
                    <a:pt x="1247" y="474"/>
                  </a:lnTo>
                  <a:lnTo>
                    <a:pt x="1245" y="492"/>
                  </a:lnTo>
                  <a:lnTo>
                    <a:pt x="1244" y="499"/>
                  </a:lnTo>
                  <a:lnTo>
                    <a:pt x="1242" y="514"/>
                  </a:lnTo>
                  <a:lnTo>
                    <a:pt x="1244" y="521"/>
                  </a:lnTo>
                  <a:lnTo>
                    <a:pt x="1247" y="524"/>
                  </a:lnTo>
                  <a:lnTo>
                    <a:pt x="1266" y="528"/>
                  </a:lnTo>
                  <a:lnTo>
                    <a:pt x="1274" y="528"/>
                  </a:lnTo>
                  <a:lnTo>
                    <a:pt x="1280" y="524"/>
                  </a:lnTo>
                  <a:lnTo>
                    <a:pt x="1286" y="514"/>
                  </a:lnTo>
                  <a:lnTo>
                    <a:pt x="1291" y="509"/>
                  </a:lnTo>
                  <a:lnTo>
                    <a:pt x="1302" y="499"/>
                  </a:lnTo>
                  <a:lnTo>
                    <a:pt x="1306" y="498"/>
                  </a:lnTo>
                  <a:lnTo>
                    <a:pt x="1316" y="497"/>
                  </a:lnTo>
                  <a:lnTo>
                    <a:pt x="1320" y="497"/>
                  </a:lnTo>
                  <a:lnTo>
                    <a:pt x="1325" y="499"/>
                  </a:lnTo>
                  <a:lnTo>
                    <a:pt x="1327" y="506"/>
                  </a:lnTo>
                  <a:lnTo>
                    <a:pt x="1330" y="514"/>
                  </a:lnTo>
                  <a:lnTo>
                    <a:pt x="1330" y="522"/>
                  </a:lnTo>
                  <a:lnTo>
                    <a:pt x="1326" y="532"/>
                  </a:lnTo>
                  <a:lnTo>
                    <a:pt x="1327" y="537"/>
                  </a:lnTo>
                  <a:lnTo>
                    <a:pt x="1335" y="545"/>
                  </a:lnTo>
                  <a:lnTo>
                    <a:pt x="1338" y="552"/>
                  </a:lnTo>
                  <a:lnTo>
                    <a:pt x="1340" y="557"/>
                  </a:lnTo>
                  <a:lnTo>
                    <a:pt x="1338" y="563"/>
                  </a:lnTo>
                  <a:lnTo>
                    <a:pt x="1336" y="568"/>
                  </a:lnTo>
                  <a:lnTo>
                    <a:pt x="1335" y="578"/>
                  </a:lnTo>
                  <a:lnTo>
                    <a:pt x="1333" y="593"/>
                  </a:lnTo>
                  <a:lnTo>
                    <a:pt x="1328" y="607"/>
                  </a:lnTo>
                  <a:lnTo>
                    <a:pt x="1322" y="615"/>
                  </a:lnTo>
                  <a:lnTo>
                    <a:pt x="1320" y="620"/>
                  </a:lnTo>
                  <a:lnTo>
                    <a:pt x="1308" y="638"/>
                  </a:lnTo>
                  <a:lnTo>
                    <a:pt x="1307" y="643"/>
                  </a:lnTo>
                  <a:lnTo>
                    <a:pt x="1308" y="647"/>
                  </a:lnTo>
                  <a:lnTo>
                    <a:pt x="1316" y="654"/>
                  </a:lnTo>
                  <a:lnTo>
                    <a:pt x="1325" y="661"/>
                  </a:lnTo>
                  <a:lnTo>
                    <a:pt x="1330" y="664"/>
                  </a:lnTo>
                  <a:lnTo>
                    <a:pt x="1350" y="691"/>
                  </a:lnTo>
                  <a:lnTo>
                    <a:pt x="1361" y="703"/>
                  </a:lnTo>
                  <a:lnTo>
                    <a:pt x="1370" y="711"/>
                  </a:lnTo>
                  <a:lnTo>
                    <a:pt x="1373" y="715"/>
                  </a:lnTo>
                  <a:lnTo>
                    <a:pt x="1382" y="720"/>
                  </a:lnTo>
                  <a:lnTo>
                    <a:pt x="1392" y="723"/>
                  </a:lnTo>
                  <a:lnTo>
                    <a:pt x="1396" y="725"/>
                  </a:lnTo>
                  <a:lnTo>
                    <a:pt x="1403" y="739"/>
                  </a:lnTo>
                  <a:lnTo>
                    <a:pt x="1421" y="759"/>
                  </a:lnTo>
                  <a:lnTo>
                    <a:pt x="1426" y="767"/>
                  </a:lnTo>
                  <a:lnTo>
                    <a:pt x="1433" y="775"/>
                  </a:lnTo>
                  <a:lnTo>
                    <a:pt x="1448" y="788"/>
                  </a:lnTo>
                  <a:lnTo>
                    <a:pt x="1422" y="803"/>
                  </a:lnTo>
                  <a:lnTo>
                    <a:pt x="1386" y="808"/>
                  </a:lnTo>
                  <a:lnTo>
                    <a:pt x="1371" y="788"/>
                  </a:lnTo>
                  <a:lnTo>
                    <a:pt x="1363" y="783"/>
                  </a:lnTo>
                  <a:lnTo>
                    <a:pt x="1355" y="792"/>
                  </a:lnTo>
                  <a:lnTo>
                    <a:pt x="1353" y="798"/>
                  </a:lnTo>
                  <a:lnTo>
                    <a:pt x="1353" y="813"/>
                  </a:lnTo>
                  <a:lnTo>
                    <a:pt x="1352" y="819"/>
                  </a:lnTo>
                  <a:lnTo>
                    <a:pt x="1350" y="825"/>
                  </a:lnTo>
                  <a:lnTo>
                    <a:pt x="1340" y="834"/>
                  </a:lnTo>
                  <a:lnTo>
                    <a:pt x="1318" y="847"/>
                  </a:lnTo>
                  <a:lnTo>
                    <a:pt x="1281" y="847"/>
                  </a:lnTo>
                  <a:lnTo>
                    <a:pt x="1240" y="833"/>
                  </a:lnTo>
                  <a:lnTo>
                    <a:pt x="1230" y="837"/>
                  </a:lnTo>
                  <a:lnTo>
                    <a:pt x="1225" y="853"/>
                  </a:lnTo>
                  <a:lnTo>
                    <a:pt x="1221" y="880"/>
                  </a:lnTo>
                  <a:lnTo>
                    <a:pt x="1221" y="885"/>
                  </a:lnTo>
                  <a:lnTo>
                    <a:pt x="1225" y="894"/>
                  </a:lnTo>
                  <a:lnTo>
                    <a:pt x="1226" y="899"/>
                  </a:lnTo>
                  <a:lnTo>
                    <a:pt x="1225" y="905"/>
                  </a:lnTo>
                  <a:lnTo>
                    <a:pt x="1212" y="929"/>
                  </a:lnTo>
                  <a:lnTo>
                    <a:pt x="1197" y="945"/>
                  </a:lnTo>
                  <a:lnTo>
                    <a:pt x="1190" y="952"/>
                  </a:lnTo>
                  <a:lnTo>
                    <a:pt x="1171" y="955"/>
                  </a:lnTo>
                  <a:lnTo>
                    <a:pt x="1157" y="947"/>
                  </a:lnTo>
                  <a:lnTo>
                    <a:pt x="1131" y="919"/>
                  </a:lnTo>
                  <a:lnTo>
                    <a:pt x="1117" y="915"/>
                  </a:lnTo>
                  <a:lnTo>
                    <a:pt x="1103" y="919"/>
                  </a:lnTo>
                  <a:lnTo>
                    <a:pt x="1078" y="934"/>
                  </a:lnTo>
                  <a:lnTo>
                    <a:pt x="1081" y="937"/>
                  </a:lnTo>
                  <a:lnTo>
                    <a:pt x="1097" y="963"/>
                  </a:lnTo>
                  <a:lnTo>
                    <a:pt x="1097" y="970"/>
                  </a:lnTo>
                  <a:lnTo>
                    <a:pt x="1091" y="984"/>
                  </a:lnTo>
                  <a:lnTo>
                    <a:pt x="1083" y="993"/>
                  </a:lnTo>
                  <a:lnTo>
                    <a:pt x="1077" y="995"/>
                  </a:lnTo>
                  <a:lnTo>
                    <a:pt x="1060" y="995"/>
                  </a:lnTo>
                  <a:lnTo>
                    <a:pt x="1035" y="1009"/>
                  </a:lnTo>
                  <a:lnTo>
                    <a:pt x="992" y="970"/>
                  </a:lnTo>
                  <a:lnTo>
                    <a:pt x="968" y="965"/>
                  </a:lnTo>
                  <a:lnTo>
                    <a:pt x="958" y="983"/>
                  </a:lnTo>
                  <a:lnTo>
                    <a:pt x="942" y="994"/>
                  </a:lnTo>
                  <a:lnTo>
                    <a:pt x="905" y="1009"/>
                  </a:lnTo>
                  <a:lnTo>
                    <a:pt x="896" y="990"/>
                  </a:lnTo>
                  <a:lnTo>
                    <a:pt x="871" y="1022"/>
                  </a:lnTo>
                  <a:lnTo>
                    <a:pt x="861" y="1023"/>
                  </a:lnTo>
                  <a:lnTo>
                    <a:pt x="856" y="1019"/>
                  </a:lnTo>
                  <a:lnTo>
                    <a:pt x="851" y="977"/>
                  </a:lnTo>
                  <a:lnTo>
                    <a:pt x="813" y="1008"/>
                  </a:lnTo>
                  <a:lnTo>
                    <a:pt x="785" y="1045"/>
                  </a:lnTo>
                  <a:lnTo>
                    <a:pt x="770" y="1027"/>
                  </a:lnTo>
                  <a:lnTo>
                    <a:pt x="767" y="1025"/>
                  </a:lnTo>
                  <a:lnTo>
                    <a:pt x="755" y="1025"/>
                  </a:lnTo>
                  <a:lnTo>
                    <a:pt x="750" y="1025"/>
                  </a:lnTo>
                  <a:lnTo>
                    <a:pt x="745" y="1020"/>
                  </a:lnTo>
                  <a:lnTo>
                    <a:pt x="735" y="1004"/>
                  </a:lnTo>
                  <a:lnTo>
                    <a:pt x="725" y="998"/>
                  </a:lnTo>
                  <a:lnTo>
                    <a:pt x="701" y="997"/>
                  </a:lnTo>
                  <a:lnTo>
                    <a:pt x="690" y="985"/>
                  </a:lnTo>
                  <a:lnTo>
                    <a:pt x="687" y="975"/>
                  </a:lnTo>
                  <a:lnTo>
                    <a:pt x="686" y="937"/>
                  </a:lnTo>
                  <a:lnTo>
                    <a:pt x="657" y="952"/>
                  </a:lnTo>
                  <a:lnTo>
                    <a:pt x="570" y="944"/>
                  </a:lnTo>
                  <a:lnTo>
                    <a:pt x="566" y="948"/>
                  </a:lnTo>
                  <a:lnTo>
                    <a:pt x="561" y="957"/>
                  </a:lnTo>
                  <a:lnTo>
                    <a:pt x="556" y="958"/>
                  </a:lnTo>
                  <a:lnTo>
                    <a:pt x="550" y="957"/>
                  </a:lnTo>
                  <a:lnTo>
                    <a:pt x="545" y="953"/>
                  </a:lnTo>
                  <a:lnTo>
                    <a:pt x="542" y="943"/>
                  </a:lnTo>
                  <a:lnTo>
                    <a:pt x="539" y="938"/>
                  </a:lnTo>
                  <a:lnTo>
                    <a:pt x="497" y="927"/>
                  </a:lnTo>
                  <a:lnTo>
                    <a:pt x="486" y="942"/>
                  </a:lnTo>
                  <a:lnTo>
                    <a:pt x="437" y="932"/>
                  </a:lnTo>
                  <a:lnTo>
                    <a:pt x="432" y="925"/>
                  </a:lnTo>
                  <a:lnTo>
                    <a:pt x="420" y="897"/>
                  </a:lnTo>
                  <a:lnTo>
                    <a:pt x="441" y="869"/>
                  </a:lnTo>
                  <a:lnTo>
                    <a:pt x="446" y="852"/>
                  </a:lnTo>
                  <a:lnTo>
                    <a:pt x="442" y="833"/>
                  </a:lnTo>
                  <a:lnTo>
                    <a:pt x="431" y="824"/>
                  </a:lnTo>
                  <a:lnTo>
                    <a:pt x="420" y="798"/>
                  </a:lnTo>
                  <a:lnTo>
                    <a:pt x="411" y="790"/>
                  </a:lnTo>
                  <a:lnTo>
                    <a:pt x="401" y="790"/>
                  </a:lnTo>
                  <a:lnTo>
                    <a:pt x="380" y="794"/>
                  </a:lnTo>
                  <a:lnTo>
                    <a:pt x="371" y="794"/>
                  </a:lnTo>
                  <a:lnTo>
                    <a:pt x="282" y="755"/>
                  </a:lnTo>
                  <a:lnTo>
                    <a:pt x="272" y="772"/>
                  </a:lnTo>
                  <a:lnTo>
                    <a:pt x="290" y="782"/>
                  </a:lnTo>
                  <a:lnTo>
                    <a:pt x="294" y="785"/>
                  </a:lnTo>
                  <a:lnTo>
                    <a:pt x="296" y="790"/>
                  </a:lnTo>
                  <a:lnTo>
                    <a:pt x="297" y="795"/>
                  </a:lnTo>
                  <a:lnTo>
                    <a:pt x="297" y="800"/>
                  </a:lnTo>
                  <a:lnTo>
                    <a:pt x="287" y="839"/>
                  </a:lnTo>
                  <a:lnTo>
                    <a:pt x="284" y="843"/>
                  </a:lnTo>
                  <a:lnTo>
                    <a:pt x="280" y="845"/>
                  </a:lnTo>
                  <a:lnTo>
                    <a:pt x="269" y="843"/>
                  </a:lnTo>
                  <a:lnTo>
                    <a:pt x="266" y="828"/>
                  </a:lnTo>
                  <a:lnTo>
                    <a:pt x="269" y="795"/>
                  </a:lnTo>
                  <a:lnTo>
                    <a:pt x="255" y="793"/>
                  </a:lnTo>
                  <a:lnTo>
                    <a:pt x="244" y="797"/>
                  </a:lnTo>
                  <a:lnTo>
                    <a:pt x="220" y="810"/>
                  </a:lnTo>
                  <a:lnTo>
                    <a:pt x="219" y="812"/>
                  </a:lnTo>
                  <a:lnTo>
                    <a:pt x="215" y="823"/>
                  </a:lnTo>
                  <a:lnTo>
                    <a:pt x="216" y="828"/>
                  </a:lnTo>
                  <a:lnTo>
                    <a:pt x="222" y="835"/>
                  </a:lnTo>
                  <a:lnTo>
                    <a:pt x="224" y="840"/>
                  </a:lnTo>
                  <a:lnTo>
                    <a:pt x="221" y="844"/>
                  </a:lnTo>
                  <a:lnTo>
                    <a:pt x="196" y="878"/>
                  </a:lnTo>
                  <a:lnTo>
                    <a:pt x="170" y="875"/>
                  </a:lnTo>
                  <a:lnTo>
                    <a:pt x="142" y="840"/>
                  </a:lnTo>
                  <a:lnTo>
                    <a:pt x="132" y="833"/>
                  </a:lnTo>
                  <a:lnTo>
                    <a:pt x="127" y="824"/>
                  </a:lnTo>
                  <a:lnTo>
                    <a:pt x="125" y="809"/>
                  </a:lnTo>
                  <a:lnTo>
                    <a:pt x="125" y="793"/>
                  </a:lnTo>
                  <a:lnTo>
                    <a:pt x="127" y="783"/>
                  </a:lnTo>
                  <a:lnTo>
                    <a:pt x="132" y="773"/>
                  </a:lnTo>
                  <a:lnTo>
                    <a:pt x="135" y="757"/>
                  </a:lnTo>
                  <a:lnTo>
                    <a:pt x="135" y="740"/>
                  </a:lnTo>
                  <a:lnTo>
                    <a:pt x="131" y="734"/>
                  </a:lnTo>
                  <a:lnTo>
                    <a:pt x="107" y="728"/>
                  </a:lnTo>
                  <a:lnTo>
                    <a:pt x="96" y="722"/>
                  </a:lnTo>
                  <a:lnTo>
                    <a:pt x="87" y="714"/>
                  </a:lnTo>
                  <a:lnTo>
                    <a:pt x="82" y="699"/>
                  </a:lnTo>
                  <a:lnTo>
                    <a:pt x="77" y="693"/>
                  </a:lnTo>
                  <a:lnTo>
                    <a:pt x="59" y="683"/>
                  </a:lnTo>
                  <a:lnTo>
                    <a:pt x="50" y="674"/>
                  </a:lnTo>
                  <a:lnTo>
                    <a:pt x="34" y="652"/>
                  </a:lnTo>
                  <a:lnTo>
                    <a:pt x="24" y="643"/>
                  </a:lnTo>
                  <a:lnTo>
                    <a:pt x="5" y="593"/>
                  </a:lnTo>
                  <a:lnTo>
                    <a:pt x="0" y="580"/>
                  </a:lnTo>
                  <a:lnTo>
                    <a:pt x="120" y="587"/>
                  </a:lnTo>
                  <a:lnTo>
                    <a:pt x="127" y="584"/>
                  </a:lnTo>
                  <a:lnTo>
                    <a:pt x="136" y="580"/>
                  </a:lnTo>
                  <a:lnTo>
                    <a:pt x="147" y="578"/>
                  </a:lnTo>
                  <a:lnTo>
                    <a:pt x="169" y="579"/>
                  </a:lnTo>
                  <a:lnTo>
                    <a:pt x="179" y="575"/>
                  </a:lnTo>
                  <a:lnTo>
                    <a:pt x="190" y="583"/>
                  </a:lnTo>
                  <a:lnTo>
                    <a:pt x="207" y="584"/>
                  </a:lnTo>
                  <a:lnTo>
                    <a:pt x="289" y="574"/>
                  </a:lnTo>
                  <a:lnTo>
                    <a:pt x="297" y="570"/>
                  </a:lnTo>
                  <a:lnTo>
                    <a:pt x="304" y="555"/>
                  </a:lnTo>
                  <a:lnTo>
                    <a:pt x="301" y="545"/>
                  </a:lnTo>
                  <a:lnTo>
                    <a:pt x="301" y="538"/>
                  </a:lnTo>
                  <a:lnTo>
                    <a:pt x="304" y="532"/>
                  </a:lnTo>
                  <a:lnTo>
                    <a:pt x="311" y="519"/>
                  </a:lnTo>
                  <a:lnTo>
                    <a:pt x="312" y="513"/>
                  </a:lnTo>
                  <a:lnTo>
                    <a:pt x="312" y="507"/>
                  </a:lnTo>
                  <a:lnTo>
                    <a:pt x="310" y="500"/>
                  </a:lnTo>
                  <a:lnTo>
                    <a:pt x="309" y="492"/>
                  </a:lnTo>
                  <a:lnTo>
                    <a:pt x="312" y="483"/>
                  </a:lnTo>
                  <a:lnTo>
                    <a:pt x="317" y="479"/>
                  </a:lnTo>
                  <a:lnTo>
                    <a:pt x="330" y="473"/>
                  </a:lnTo>
                  <a:lnTo>
                    <a:pt x="335" y="470"/>
                  </a:lnTo>
                  <a:lnTo>
                    <a:pt x="349" y="449"/>
                  </a:lnTo>
                  <a:lnTo>
                    <a:pt x="351" y="442"/>
                  </a:lnTo>
                  <a:lnTo>
                    <a:pt x="351" y="430"/>
                  </a:lnTo>
                  <a:lnTo>
                    <a:pt x="352" y="420"/>
                  </a:lnTo>
                  <a:lnTo>
                    <a:pt x="351" y="413"/>
                  </a:lnTo>
                  <a:lnTo>
                    <a:pt x="350" y="409"/>
                  </a:lnTo>
                  <a:lnTo>
                    <a:pt x="352" y="405"/>
                  </a:lnTo>
                  <a:lnTo>
                    <a:pt x="357" y="402"/>
                  </a:lnTo>
                  <a:lnTo>
                    <a:pt x="359" y="399"/>
                  </a:lnTo>
                  <a:lnTo>
                    <a:pt x="362" y="380"/>
                  </a:lnTo>
                  <a:lnTo>
                    <a:pt x="365" y="374"/>
                  </a:lnTo>
                  <a:lnTo>
                    <a:pt x="364" y="367"/>
                  </a:lnTo>
                  <a:lnTo>
                    <a:pt x="366" y="359"/>
                  </a:lnTo>
                  <a:lnTo>
                    <a:pt x="376" y="343"/>
                  </a:lnTo>
                  <a:lnTo>
                    <a:pt x="354" y="303"/>
                  </a:lnTo>
                  <a:lnTo>
                    <a:pt x="341" y="287"/>
                  </a:lnTo>
                  <a:lnTo>
                    <a:pt x="334" y="274"/>
                  </a:lnTo>
                  <a:lnTo>
                    <a:pt x="327" y="269"/>
                  </a:lnTo>
                  <a:lnTo>
                    <a:pt x="321" y="267"/>
                  </a:lnTo>
                  <a:lnTo>
                    <a:pt x="307" y="265"/>
                  </a:lnTo>
                  <a:lnTo>
                    <a:pt x="300" y="263"/>
                  </a:lnTo>
                  <a:lnTo>
                    <a:pt x="294" y="253"/>
                  </a:lnTo>
                  <a:lnTo>
                    <a:pt x="290" y="228"/>
                  </a:lnTo>
                  <a:lnTo>
                    <a:pt x="285" y="218"/>
                  </a:lnTo>
                  <a:lnTo>
                    <a:pt x="290" y="209"/>
                  </a:lnTo>
                  <a:lnTo>
                    <a:pt x="295" y="193"/>
                  </a:lnTo>
                  <a:lnTo>
                    <a:pt x="300" y="185"/>
                  </a:lnTo>
                  <a:lnTo>
                    <a:pt x="310" y="182"/>
                  </a:lnTo>
                  <a:lnTo>
                    <a:pt x="333" y="165"/>
                  </a:lnTo>
                  <a:lnTo>
                    <a:pt x="345" y="164"/>
                  </a:lnTo>
                  <a:lnTo>
                    <a:pt x="356" y="164"/>
                  </a:lnTo>
                  <a:lnTo>
                    <a:pt x="366" y="164"/>
                  </a:lnTo>
                  <a:lnTo>
                    <a:pt x="376" y="157"/>
                  </a:lnTo>
                  <a:lnTo>
                    <a:pt x="378" y="153"/>
                  </a:lnTo>
                  <a:lnTo>
                    <a:pt x="378" y="147"/>
                  </a:lnTo>
                  <a:lnTo>
                    <a:pt x="385" y="152"/>
                  </a:lnTo>
                  <a:lnTo>
                    <a:pt x="395" y="164"/>
                  </a:lnTo>
                  <a:lnTo>
                    <a:pt x="401" y="168"/>
                  </a:lnTo>
                  <a:lnTo>
                    <a:pt x="406" y="170"/>
                  </a:lnTo>
                  <a:lnTo>
                    <a:pt x="412" y="172"/>
                  </a:lnTo>
                  <a:lnTo>
                    <a:pt x="417" y="172"/>
                  </a:lnTo>
                  <a:lnTo>
                    <a:pt x="423" y="169"/>
                  </a:lnTo>
                  <a:lnTo>
                    <a:pt x="428" y="169"/>
                  </a:lnTo>
                  <a:lnTo>
                    <a:pt x="432" y="170"/>
                  </a:lnTo>
                  <a:lnTo>
                    <a:pt x="442" y="172"/>
                  </a:lnTo>
                  <a:lnTo>
                    <a:pt x="461" y="162"/>
                  </a:lnTo>
                  <a:lnTo>
                    <a:pt x="466" y="162"/>
                  </a:lnTo>
                  <a:lnTo>
                    <a:pt x="476" y="168"/>
                  </a:lnTo>
                  <a:lnTo>
                    <a:pt x="481" y="168"/>
                  </a:lnTo>
                  <a:lnTo>
                    <a:pt x="487" y="165"/>
                  </a:lnTo>
                  <a:lnTo>
                    <a:pt x="492" y="162"/>
                  </a:lnTo>
                  <a:lnTo>
                    <a:pt x="500" y="159"/>
                  </a:lnTo>
                  <a:lnTo>
                    <a:pt x="538" y="152"/>
                  </a:lnTo>
                  <a:lnTo>
                    <a:pt x="547" y="149"/>
                  </a:lnTo>
                  <a:lnTo>
                    <a:pt x="551" y="145"/>
                  </a:lnTo>
                  <a:lnTo>
                    <a:pt x="555" y="140"/>
                  </a:lnTo>
                  <a:lnTo>
                    <a:pt x="556" y="137"/>
                  </a:lnTo>
                  <a:lnTo>
                    <a:pt x="557" y="130"/>
                  </a:lnTo>
                  <a:lnTo>
                    <a:pt x="553" y="120"/>
                  </a:lnTo>
                  <a:lnTo>
                    <a:pt x="553" y="115"/>
                  </a:lnTo>
                  <a:lnTo>
                    <a:pt x="560" y="107"/>
                  </a:lnTo>
                  <a:lnTo>
                    <a:pt x="577" y="93"/>
                  </a:lnTo>
                  <a:lnTo>
                    <a:pt x="582" y="90"/>
                  </a:lnTo>
                  <a:lnTo>
                    <a:pt x="593" y="87"/>
                  </a:lnTo>
                  <a:lnTo>
                    <a:pt x="597" y="84"/>
                  </a:lnTo>
                  <a:lnTo>
                    <a:pt x="618" y="77"/>
                  </a:lnTo>
                  <a:lnTo>
                    <a:pt x="630" y="64"/>
                  </a:lnTo>
                  <a:lnTo>
                    <a:pt x="635" y="60"/>
                  </a:lnTo>
                  <a:lnTo>
                    <a:pt x="640" y="58"/>
                  </a:lnTo>
                  <a:lnTo>
                    <a:pt x="657" y="55"/>
                  </a:lnTo>
                  <a:lnTo>
                    <a:pt x="662" y="52"/>
                  </a:lnTo>
                  <a:lnTo>
                    <a:pt x="667" y="42"/>
                  </a:lnTo>
                  <a:lnTo>
                    <a:pt x="670" y="37"/>
                  </a:lnTo>
                  <a:lnTo>
                    <a:pt x="678" y="28"/>
                  </a:lnTo>
                  <a:lnTo>
                    <a:pt x="683" y="25"/>
                  </a:lnTo>
                  <a:lnTo>
                    <a:pt x="693" y="23"/>
                  </a:lnTo>
                  <a:lnTo>
                    <a:pt x="701" y="22"/>
                  </a:lnTo>
                  <a:lnTo>
                    <a:pt x="708" y="18"/>
                  </a:lnTo>
                  <a:lnTo>
                    <a:pt x="727" y="4"/>
                  </a:lnTo>
                  <a:lnTo>
                    <a:pt x="732" y="0"/>
                  </a:lnTo>
                  <a:lnTo>
                    <a:pt x="738" y="0"/>
                  </a:lnTo>
                  <a:lnTo>
                    <a:pt x="748" y="2"/>
                  </a:lnTo>
                  <a:lnTo>
                    <a:pt x="767" y="14"/>
                  </a:lnTo>
                  <a:lnTo>
                    <a:pt x="773" y="19"/>
                  </a:lnTo>
                  <a:lnTo>
                    <a:pt x="782" y="29"/>
                  </a:lnTo>
                  <a:lnTo>
                    <a:pt x="787" y="32"/>
                  </a:lnTo>
                  <a:lnTo>
                    <a:pt x="797" y="34"/>
                  </a:lnTo>
                  <a:lnTo>
                    <a:pt x="798" y="43"/>
                  </a:lnTo>
                  <a:lnTo>
                    <a:pt x="803" y="48"/>
                  </a:lnTo>
                  <a:lnTo>
                    <a:pt x="810" y="52"/>
                  </a:lnTo>
                  <a:lnTo>
                    <a:pt x="822" y="55"/>
                  </a:lnTo>
                  <a:lnTo>
                    <a:pt x="825" y="59"/>
                  </a:lnTo>
                  <a:lnTo>
                    <a:pt x="825" y="62"/>
                  </a:lnTo>
                  <a:lnTo>
                    <a:pt x="822" y="67"/>
                  </a:lnTo>
                  <a:lnTo>
                    <a:pt x="821" y="70"/>
                  </a:lnTo>
                  <a:lnTo>
                    <a:pt x="817" y="75"/>
                  </a:lnTo>
                  <a:lnTo>
                    <a:pt x="815" y="84"/>
                  </a:lnTo>
                  <a:lnTo>
                    <a:pt x="813" y="87"/>
                  </a:lnTo>
                  <a:lnTo>
                    <a:pt x="810" y="89"/>
                  </a:lnTo>
                  <a:lnTo>
                    <a:pt x="811" y="93"/>
                  </a:lnTo>
                  <a:lnTo>
                    <a:pt x="818" y="97"/>
                  </a:lnTo>
                  <a:lnTo>
                    <a:pt x="838" y="104"/>
                  </a:lnTo>
                  <a:lnTo>
                    <a:pt x="851" y="112"/>
                  </a:lnTo>
                  <a:lnTo>
                    <a:pt x="858" y="118"/>
                  </a:lnTo>
                  <a:lnTo>
                    <a:pt x="862" y="123"/>
                  </a:lnTo>
                  <a:lnTo>
                    <a:pt x="870" y="129"/>
                  </a:lnTo>
                  <a:lnTo>
                    <a:pt x="890" y="139"/>
                  </a:lnTo>
                  <a:lnTo>
                    <a:pt x="905" y="145"/>
                  </a:lnTo>
                  <a:lnTo>
                    <a:pt x="912" y="145"/>
                  </a:lnTo>
                  <a:lnTo>
                    <a:pt x="917" y="143"/>
                  </a:lnTo>
                  <a:lnTo>
                    <a:pt x="921" y="139"/>
                  </a:lnTo>
                  <a:lnTo>
                    <a:pt x="923" y="134"/>
                  </a:lnTo>
                  <a:lnTo>
                    <a:pt x="926" y="123"/>
                  </a:lnTo>
                  <a:lnTo>
                    <a:pt x="928" y="119"/>
                  </a:lnTo>
                  <a:lnTo>
                    <a:pt x="937" y="113"/>
                  </a:lnTo>
                  <a:lnTo>
                    <a:pt x="955" y="108"/>
                  </a:lnTo>
                  <a:lnTo>
                    <a:pt x="967" y="102"/>
                  </a:lnTo>
                  <a:lnTo>
                    <a:pt x="972" y="100"/>
                  </a:lnTo>
                  <a:lnTo>
                    <a:pt x="977" y="102"/>
                  </a:lnTo>
                  <a:lnTo>
                    <a:pt x="982" y="109"/>
                  </a:lnTo>
                  <a:lnTo>
                    <a:pt x="985" y="114"/>
                  </a:lnTo>
                  <a:lnTo>
                    <a:pt x="985" y="120"/>
                  </a:lnTo>
                  <a:lnTo>
                    <a:pt x="983" y="125"/>
                  </a:lnTo>
                  <a:lnTo>
                    <a:pt x="978" y="134"/>
                  </a:lnTo>
                  <a:lnTo>
                    <a:pt x="980" y="138"/>
                  </a:lnTo>
                  <a:lnTo>
                    <a:pt x="983" y="142"/>
                  </a:lnTo>
                  <a:lnTo>
                    <a:pt x="995" y="143"/>
                  </a:lnTo>
                  <a:lnTo>
                    <a:pt x="1015" y="13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0" name="Cádiz" descr="{&quot;Key&quot;:&quot;cádiz&quot;,&quot;Name&quot;:&quot;Cádiz&quot;,&quot;Value&quot;:1.0,&quot;Formula&quot;:&quot;&quot;,&quot;Text&quot;:&quot;1&quot;,&quot;HasValue&quot;:true}">
              <a:extLst>
                <a:ext uri="{FF2B5EF4-FFF2-40B4-BE49-F238E27FC236}">
                  <a16:creationId xmlns:a16="http://schemas.microsoft.com/office/drawing/2014/main" id="{C4D68CA0-A355-6795-F2A7-E70208D9DEE4}"/>
                </a:ext>
              </a:extLst>
            </p:cNvPr>
            <p:cNvSpPr>
              <a:spLocks/>
            </p:cNvSpPr>
            <p:nvPr/>
          </p:nvSpPr>
          <p:spPr bwMode="auto">
            <a:xfrm>
              <a:off x="2254610" y="5331604"/>
              <a:ext cx="517122" cy="495870"/>
            </a:xfrm>
            <a:custGeom>
              <a:avLst/>
              <a:gdLst>
                <a:gd name="T0" fmla="*/ 750 w 750"/>
                <a:gd name="T1" fmla="*/ 84 h 718"/>
                <a:gd name="T2" fmla="*/ 724 w 750"/>
                <a:gd name="T3" fmla="*/ 141 h 718"/>
                <a:gd name="T4" fmla="*/ 651 w 750"/>
                <a:gd name="T5" fmla="*/ 119 h 718"/>
                <a:gd name="T6" fmla="*/ 611 w 750"/>
                <a:gd name="T7" fmla="*/ 143 h 718"/>
                <a:gd name="T8" fmla="*/ 631 w 750"/>
                <a:gd name="T9" fmla="*/ 191 h 718"/>
                <a:gd name="T10" fmla="*/ 609 w 750"/>
                <a:gd name="T11" fmla="*/ 263 h 718"/>
                <a:gd name="T12" fmla="*/ 550 w 750"/>
                <a:gd name="T13" fmla="*/ 297 h 718"/>
                <a:gd name="T14" fmla="*/ 529 w 750"/>
                <a:gd name="T15" fmla="*/ 328 h 718"/>
                <a:gd name="T16" fmla="*/ 463 w 750"/>
                <a:gd name="T17" fmla="*/ 355 h 718"/>
                <a:gd name="T18" fmla="*/ 473 w 750"/>
                <a:gd name="T19" fmla="*/ 379 h 718"/>
                <a:gd name="T20" fmla="*/ 513 w 750"/>
                <a:gd name="T21" fmla="*/ 370 h 718"/>
                <a:gd name="T22" fmla="*/ 560 w 750"/>
                <a:gd name="T23" fmla="*/ 365 h 718"/>
                <a:gd name="T24" fmla="*/ 600 w 750"/>
                <a:gd name="T25" fmla="*/ 424 h 718"/>
                <a:gd name="T26" fmla="*/ 643 w 750"/>
                <a:gd name="T27" fmla="*/ 490 h 718"/>
                <a:gd name="T28" fmla="*/ 645 w 750"/>
                <a:gd name="T29" fmla="*/ 528 h 718"/>
                <a:gd name="T30" fmla="*/ 639 w 750"/>
                <a:gd name="T31" fmla="*/ 543 h 718"/>
                <a:gd name="T32" fmla="*/ 611 w 750"/>
                <a:gd name="T33" fmla="*/ 593 h 718"/>
                <a:gd name="T34" fmla="*/ 594 w 750"/>
                <a:gd name="T35" fmla="*/ 610 h 718"/>
                <a:gd name="T36" fmla="*/ 561 w 750"/>
                <a:gd name="T37" fmla="*/ 599 h 718"/>
                <a:gd name="T38" fmla="*/ 551 w 750"/>
                <a:gd name="T39" fmla="*/ 621 h 718"/>
                <a:gd name="T40" fmla="*/ 553 w 750"/>
                <a:gd name="T41" fmla="*/ 644 h 718"/>
                <a:gd name="T42" fmla="*/ 559 w 750"/>
                <a:gd name="T43" fmla="*/ 667 h 718"/>
                <a:gd name="T44" fmla="*/ 538 w 750"/>
                <a:gd name="T45" fmla="*/ 687 h 718"/>
                <a:gd name="T46" fmla="*/ 458 w 750"/>
                <a:gd name="T47" fmla="*/ 718 h 718"/>
                <a:gd name="T48" fmla="*/ 415 w 750"/>
                <a:gd name="T49" fmla="*/ 676 h 718"/>
                <a:gd name="T50" fmla="*/ 379 w 750"/>
                <a:gd name="T51" fmla="*/ 671 h 718"/>
                <a:gd name="T52" fmla="*/ 335 w 750"/>
                <a:gd name="T53" fmla="*/ 638 h 718"/>
                <a:gd name="T54" fmla="*/ 276 w 750"/>
                <a:gd name="T55" fmla="*/ 595 h 718"/>
                <a:gd name="T56" fmla="*/ 208 w 750"/>
                <a:gd name="T57" fmla="*/ 573 h 718"/>
                <a:gd name="T58" fmla="*/ 154 w 750"/>
                <a:gd name="T59" fmla="*/ 513 h 718"/>
                <a:gd name="T60" fmla="*/ 145 w 750"/>
                <a:gd name="T61" fmla="*/ 479 h 718"/>
                <a:gd name="T62" fmla="*/ 108 w 750"/>
                <a:gd name="T63" fmla="*/ 415 h 718"/>
                <a:gd name="T64" fmla="*/ 75 w 750"/>
                <a:gd name="T65" fmla="*/ 360 h 718"/>
                <a:gd name="T66" fmla="*/ 81 w 750"/>
                <a:gd name="T67" fmla="*/ 352 h 718"/>
                <a:gd name="T68" fmla="*/ 101 w 750"/>
                <a:gd name="T69" fmla="*/ 381 h 718"/>
                <a:gd name="T70" fmla="*/ 121 w 750"/>
                <a:gd name="T71" fmla="*/ 396 h 718"/>
                <a:gd name="T72" fmla="*/ 143 w 750"/>
                <a:gd name="T73" fmla="*/ 369 h 718"/>
                <a:gd name="T74" fmla="*/ 118 w 750"/>
                <a:gd name="T75" fmla="*/ 370 h 718"/>
                <a:gd name="T76" fmla="*/ 113 w 750"/>
                <a:gd name="T77" fmla="*/ 325 h 718"/>
                <a:gd name="T78" fmla="*/ 41 w 750"/>
                <a:gd name="T79" fmla="*/ 294 h 718"/>
                <a:gd name="T80" fmla="*/ 16 w 750"/>
                <a:gd name="T81" fmla="*/ 255 h 718"/>
                <a:gd name="T82" fmla="*/ 0 w 750"/>
                <a:gd name="T83" fmla="*/ 217 h 718"/>
                <a:gd name="T84" fmla="*/ 23 w 750"/>
                <a:gd name="T85" fmla="*/ 188 h 718"/>
                <a:gd name="T86" fmla="*/ 56 w 750"/>
                <a:gd name="T87" fmla="*/ 158 h 718"/>
                <a:gd name="T88" fmla="*/ 74 w 750"/>
                <a:gd name="T89" fmla="*/ 97 h 718"/>
                <a:gd name="T90" fmla="*/ 184 w 750"/>
                <a:gd name="T91" fmla="*/ 130 h 718"/>
                <a:gd name="T92" fmla="*/ 303 w 750"/>
                <a:gd name="T93" fmla="*/ 142 h 718"/>
                <a:gd name="T94" fmla="*/ 329 w 750"/>
                <a:gd name="T95" fmla="*/ 93 h 718"/>
                <a:gd name="T96" fmla="*/ 413 w 750"/>
                <a:gd name="T97" fmla="*/ 64 h 718"/>
                <a:gd name="T98" fmla="*/ 471 w 750"/>
                <a:gd name="T99" fmla="*/ 85 h 718"/>
                <a:gd name="T100" fmla="*/ 506 w 750"/>
                <a:gd name="T101" fmla="*/ 74 h 718"/>
                <a:gd name="T102" fmla="*/ 524 w 750"/>
                <a:gd name="T103" fmla="*/ 41 h 718"/>
                <a:gd name="T104" fmla="*/ 525 w 750"/>
                <a:gd name="T105" fmla="*/ 4 h 718"/>
                <a:gd name="T106" fmla="*/ 550 w 750"/>
                <a:gd name="T107" fmla="*/ 2 h 718"/>
                <a:gd name="T108" fmla="*/ 559 w 750"/>
                <a:gd name="T109" fmla="*/ 27 h 718"/>
                <a:gd name="T110" fmla="*/ 555 w 750"/>
                <a:gd name="T111" fmla="*/ 68 h 718"/>
                <a:gd name="T112" fmla="*/ 626 w 750"/>
                <a:gd name="T113" fmla="*/ 19 h 718"/>
                <a:gd name="T114" fmla="*/ 665 w 750"/>
                <a:gd name="T115" fmla="*/ 67 h 718"/>
                <a:gd name="T116" fmla="*/ 699 w 750"/>
                <a:gd name="T117" fmla="*/ 5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0" h="718">
                  <a:moveTo>
                    <a:pt x="718" y="29"/>
                  </a:moveTo>
                  <a:lnTo>
                    <a:pt x="743" y="63"/>
                  </a:lnTo>
                  <a:lnTo>
                    <a:pt x="750" y="84"/>
                  </a:lnTo>
                  <a:lnTo>
                    <a:pt x="748" y="106"/>
                  </a:lnTo>
                  <a:lnTo>
                    <a:pt x="738" y="124"/>
                  </a:lnTo>
                  <a:lnTo>
                    <a:pt x="724" y="141"/>
                  </a:lnTo>
                  <a:lnTo>
                    <a:pt x="708" y="149"/>
                  </a:lnTo>
                  <a:lnTo>
                    <a:pt x="689" y="151"/>
                  </a:lnTo>
                  <a:lnTo>
                    <a:pt x="651" y="119"/>
                  </a:lnTo>
                  <a:lnTo>
                    <a:pt x="635" y="121"/>
                  </a:lnTo>
                  <a:lnTo>
                    <a:pt x="628" y="126"/>
                  </a:lnTo>
                  <a:lnTo>
                    <a:pt x="611" y="143"/>
                  </a:lnTo>
                  <a:lnTo>
                    <a:pt x="608" y="153"/>
                  </a:lnTo>
                  <a:lnTo>
                    <a:pt x="613" y="167"/>
                  </a:lnTo>
                  <a:lnTo>
                    <a:pt x="631" y="191"/>
                  </a:lnTo>
                  <a:lnTo>
                    <a:pt x="630" y="206"/>
                  </a:lnTo>
                  <a:lnTo>
                    <a:pt x="619" y="221"/>
                  </a:lnTo>
                  <a:lnTo>
                    <a:pt x="609" y="263"/>
                  </a:lnTo>
                  <a:lnTo>
                    <a:pt x="600" y="275"/>
                  </a:lnTo>
                  <a:lnTo>
                    <a:pt x="584" y="285"/>
                  </a:lnTo>
                  <a:lnTo>
                    <a:pt x="550" y="297"/>
                  </a:lnTo>
                  <a:lnTo>
                    <a:pt x="545" y="302"/>
                  </a:lnTo>
                  <a:lnTo>
                    <a:pt x="535" y="320"/>
                  </a:lnTo>
                  <a:lnTo>
                    <a:pt x="529" y="328"/>
                  </a:lnTo>
                  <a:lnTo>
                    <a:pt x="514" y="337"/>
                  </a:lnTo>
                  <a:lnTo>
                    <a:pt x="468" y="352"/>
                  </a:lnTo>
                  <a:lnTo>
                    <a:pt x="463" y="355"/>
                  </a:lnTo>
                  <a:lnTo>
                    <a:pt x="460" y="364"/>
                  </a:lnTo>
                  <a:lnTo>
                    <a:pt x="464" y="373"/>
                  </a:lnTo>
                  <a:lnTo>
                    <a:pt x="473" y="379"/>
                  </a:lnTo>
                  <a:lnTo>
                    <a:pt x="480" y="383"/>
                  </a:lnTo>
                  <a:lnTo>
                    <a:pt x="491" y="383"/>
                  </a:lnTo>
                  <a:lnTo>
                    <a:pt x="513" y="370"/>
                  </a:lnTo>
                  <a:lnTo>
                    <a:pt x="533" y="363"/>
                  </a:lnTo>
                  <a:lnTo>
                    <a:pt x="553" y="362"/>
                  </a:lnTo>
                  <a:lnTo>
                    <a:pt x="560" y="365"/>
                  </a:lnTo>
                  <a:lnTo>
                    <a:pt x="566" y="373"/>
                  </a:lnTo>
                  <a:lnTo>
                    <a:pt x="580" y="402"/>
                  </a:lnTo>
                  <a:lnTo>
                    <a:pt x="600" y="424"/>
                  </a:lnTo>
                  <a:lnTo>
                    <a:pt x="611" y="450"/>
                  </a:lnTo>
                  <a:lnTo>
                    <a:pt x="619" y="499"/>
                  </a:lnTo>
                  <a:lnTo>
                    <a:pt x="643" y="490"/>
                  </a:lnTo>
                  <a:lnTo>
                    <a:pt x="656" y="518"/>
                  </a:lnTo>
                  <a:lnTo>
                    <a:pt x="649" y="524"/>
                  </a:lnTo>
                  <a:lnTo>
                    <a:pt x="645" y="528"/>
                  </a:lnTo>
                  <a:lnTo>
                    <a:pt x="635" y="532"/>
                  </a:lnTo>
                  <a:lnTo>
                    <a:pt x="636" y="537"/>
                  </a:lnTo>
                  <a:lnTo>
                    <a:pt x="639" y="543"/>
                  </a:lnTo>
                  <a:lnTo>
                    <a:pt x="633" y="552"/>
                  </a:lnTo>
                  <a:lnTo>
                    <a:pt x="614" y="585"/>
                  </a:lnTo>
                  <a:lnTo>
                    <a:pt x="611" y="593"/>
                  </a:lnTo>
                  <a:lnTo>
                    <a:pt x="609" y="625"/>
                  </a:lnTo>
                  <a:lnTo>
                    <a:pt x="598" y="625"/>
                  </a:lnTo>
                  <a:lnTo>
                    <a:pt x="594" y="610"/>
                  </a:lnTo>
                  <a:lnTo>
                    <a:pt x="585" y="604"/>
                  </a:lnTo>
                  <a:lnTo>
                    <a:pt x="571" y="599"/>
                  </a:lnTo>
                  <a:lnTo>
                    <a:pt x="561" y="599"/>
                  </a:lnTo>
                  <a:lnTo>
                    <a:pt x="559" y="606"/>
                  </a:lnTo>
                  <a:lnTo>
                    <a:pt x="554" y="612"/>
                  </a:lnTo>
                  <a:lnTo>
                    <a:pt x="551" y="621"/>
                  </a:lnTo>
                  <a:lnTo>
                    <a:pt x="551" y="629"/>
                  </a:lnTo>
                  <a:lnTo>
                    <a:pt x="555" y="639"/>
                  </a:lnTo>
                  <a:lnTo>
                    <a:pt x="553" y="644"/>
                  </a:lnTo>
                  <a:lnTo>
                    <a:pt x="554" y="654"/>
                  </a:lnTo>
                  <a:lnTo>
                    <a:pt x="558" y="660"/>
                  </a:lnTo>
                  <a:lnTo>
                    <a:pt x="559" y="667"/>
                  </a:lnTo>
                  <a:lnTo>
                    <a:pt x="558" y="674"/>
                  </a:lnTo>
                  <a:lnTo>
                    <a:pt x="550" y="683"/>
                  </a:lnTo>
                  <a:lnTo>
                    <a:pt x="538" y="687"/>
                  </a:lnTo>
                  <a:lnTo>
                    <a:pt x="483" y="707"/>
                  </a:lnTo>
                  <a:lnTo>
                    <a:pt x="475" y="713"/>
                  </a:lnTo>
                  <a:lnTo>
                    <a:pt x="458" y="718"/>
                  </a:lnTo>
                  <a:lnTo>
                    <a:pt x="448" y="697"/>
                  </a:lnTo>
                  <a:lnTo>
                    <a:pt x="424" y="684"/>
                  </a:lnTo>
                  <a:lnTo>
                    <a:pt x="415" y="676"/>
                  </a:lnTo>
                  <a:lnTo>
                    <a:pt x="401" y="681"/>
                  </a:lnTo>
                  <a:lnTo>
                    <a:pt x="390" y="677"/>
                  </a:lnTo>
                  <a:lnTo>
                    <a:pt x="379" y="671"/>
                  </a:lnTo>
                  <a:lnTo>
                    <a:pt x="355" y="663"/>
                  </a:lnTo>
                  <a:lnTo>
                    <a:pt x="348" y="655"/>
                  </a:lnTo>
                  <a:lnTo>
                    <a:pt x="335" y="638"/>
                  </a:lnTo>
                  <a:lnTo>
                    <a:pt x="299" y="603"/>
                  </a:lnTo>
                  <a:lnTo>
                    <a:pt x="289" y="595"/>
                  </a:lnTo>
                  <a:lnTo>
                    <a:pt x="276" y="595"/>
                  </a:lnTo>
                  <a:lnTo>
                    <a:pt x="251" y="600"/>
                  </a:lnTo>
                  <a:lnTo>
                    <a:pt x="221" y="592"/>
                  </a:lnTo>
                  <a:lnTo>
                    <a:pt x="208" y="573"/>
                  </a:lnTo>
                  <a:lnTo>
                    <a:pt x="196" y="549"/>
                  </a:lnTo>
                  <a:lnTo>
                    <a:pt x="184" y="529"/>
                  </a:lnTo>
                  <a:lnTo>
                    <a:pt x="154" y="513"/>
                  </a:lnTo>
                  <a:lnTo>
                    <a:pt x="150" y="503"/>
                  </a:lnTo>
                  <a:lnTo>
                    <a:pt x="149" y="492"/>
                  </a:lnTo>
                  <a:lnTo>
                    <a:pt x="145" y="479"/>
                  </a:lnTo>
                  <a:lnTo>
                    <a:pt x="140" y="467"/>
                  </a:lnTo>
                  <a:lnTo>
                    <a:pt x="121" y="445"/>
                  </a:lnTo>
                  <a:lnTo>
                    <a:pt x="108" y="415"/>
                  </a:lnTo>
                  <a:lnTo>
                    <a:pt x="100" y="394"/>
                  </a:lnTo>
                  <a:lnTo>
                    <a:pt x="88" y="371"/>
                  </a:lnTo>
                  <a:lnTo>
                    <a:pt x="75" y="360"/>
                  </a:lnTo>
                  <a:lnTo>
                    <a:pt x="70" y="354"/>
                  </a:lnTo>
                  <a:lnTo>
                    <a:pt x="78" y="352"/>
                  </a:lnTo>
                  <a:lnTo>
                    <a:pt x="81" y="352"/>
                  </a:lnTo>
                  <a:lnTo>
                    <a:pt x="100" y="368"/>
                  </a:lnTo>
                  <a:lnTo>
                    <a:pt x="104" y="374"/>
                  </a:lnTo>
                  <a:lnTo>
                    <a:pt x="101" y="381"/>
                  </a:lnTo>
                  <a:lnTo>
                    <a:pt x="105" y="387"/>
                  </a:lnTo>
                  <a:lnTo>
                    <a:pt x="114" y="397"/>
                  </a:lnTo>
                  <a:lnTo>
                    <a:pt x="121" y="396"/>
                  </a:lnTo>
                  <a:lnTo>
                    <a:pt x="125" y="392"/>
                  </a:lnTo>
                  <a:lnTo>
                    <a:pt x="131" y="382"/>
                  </a:lnTo>
                  <a:lnTo>
                    <a:pt x="143" y="369"/>
                  </a:lnTo>
                  <a:lnTo>
                    <a:pt x="139" y="368"/>
                  </a:lnTo>
                  <a:lnTo>
                    <a:pt x="128" y="372"/>
                  </a:lnTo>
                  <a:lnTo>
                    <a:pt x="118" y="370"/>
                  </a:lnTo>
                  <a:lnTo>
                    <a:pt x="114" y="360"/>
                  </a:lnTo>
                  <a:lnTo>
                    <a:pt x="118" y="339"/>
                  </a:lnTo>
                  <a:lnTo>
                    <a:pt x="113" y="325"/>
                  </a:lnTo>
                  <a:lnTo>
                    <a:pt x="85" y="300"/>
                  </a:lnTo>
                  <a:lnTo>
                    <a:pt x="79" y="297"/>
                  </a:lnTo>
                  <a:lnTo>
                    <a:pt x="41" y="294"/>
                  </a:lnTo>
                  <a:lnTo>
                    <a:pt x="31" y="292"/>
                  </a:lnTo>
                  <a:lnTo>
                    <a:pt x="24" y="283"/>
                  </a:lnTo>
                  <a:lnTo>
                    <a:pt x="16" y="255"/>
                  </a:lnTo>
                  <a:lnTo>
                    <a:pt x="11" y="243"/>
                  </a:lnTo>
                  <a:lnTo>
                    <a:pt x="3" y="229"/>
                  </a:lnTo>
                  <a:lnTo>
                    <a:pt x="0" y="217"/>
                  </a:lnTo>
                  <a:lnTo>
                    <a:pt x="3" y="204"/>
                  </a:lnTo>
                  <a:lnTo>
                    <a:pt x="13" y="193"/>
                  </a:lnTo>
                  <a:lnTo>
                    <a:pt x="23" y="188"/>
                  </a:lnTo>
                  <a:lnTo>
                    <a:pt x="44" y="180"/>
                  </a:lnTo>
                  <a:lnTo>
                    <a:pt x="51" y="174"/>
                  </a:lnTo>
                  <a:lnTo>
                    <a:pt x="56" y="158"/>
                  </a:lnTo>
                  <a:lnTo>
                    <a:pt x="51" y="129"/>
                  </a:lnTo>
                  <a:lnTo>
                    <a:pt x="55" y="113"/>
                  </a:lnTo>
                  <a:lnTo>
                    <a:pt x="74" y="97"/>
                  </a:lnTo>
                  <a:lnTo>
                    <a:pt x="114" y="99"/>
                  </a:lnTo>
                  <a:lnTo>
                    <a:pt x="155" y="110"/>
                  </a:lnTo>
                  <a:lnTo>
                    <a:pt x="184" y="130"/>
                  </a:lnTo>
                  <a:lnTo>
                    <a:pt x="258" y="140"/>
                  </a:lnTo>
                  <a:lnTo>
                    <a:pt x="275" y="134"/>
                  </a:lnTo>
                  <a:lnTo>
                    <a:pt x="303" y="142"/>
                  </a:lnTo>
                  <a:lnTo>
                    <a:pt x="309" y="118"/>
                  </a:lnTo>
                  <a:lnTo>
                    <a:pt x="316" y="103"/>
                  </a:lnTo>
                  <a:lnTo>
                    <a:pt x="329" y="93"/>
                  </a:lnTo>
                  <a:lnTo>
                    <a:pt x="350" y="87"/>
                  </a:lnTo>
                  <a:lnTo>
                    <a:pt x="399" y="88"/>
                  </a:lnTo>
                  <a:lnTo>
                    <a:pt x="413" y="64"/>
                  </a:lnTo>
                  <a:lnTo>
                    <a:pt x="426" y="56"/>
                  </a:lnTo>
                  <a:lnTo>
                    <a:pt x="440" y="60"/>
                  </a:lnTo>
                  <a:lnTo>
                    <a:pt x="471" y="85"/>
                  </a:lnTo>
                  <a:lnTo>
                    <a:pt x="483" y="87"/>
                  </a:lnTo>
                  <a:lnTo>
                    <a:pt x="495" y="83"/>
                  </a:lnTo>
                  <a:lnTo>
                    <a:pt x="506" y="74"/>
                  </a:lnTo>
                  <a:lnTo>
                    <a:pt x="516" y="63"/>
                  </a:lnTo>
                  <a:lnTo>
                    <a:pt x="523" y="49"/>
                  </a:lnTo>
                  <a:lnTo>
                    <a:pt x="524" y="41"/>
                  </a:lnTo>
                  <a:lnTo>
                    <a:pt x="521" y="16"/>
                  </a:lnTo>
                  <a:lnTo>
                    <a:pt x="523" y="8"/>
                  </a:lnTo>
                  <a:lnTo>
                    <a:pt x="525" y="4"/>
                  </a:lnTo>
                  <a:lnTo>
                    <a:pt x="535" y="0"/>
                  </a:lnTo>
                  <a:lnTo>
                    <a:pt x="543" y="0"/>
                  </a:lnTo>
                  <a:lnTo>
                    <a:pt x="550" y="2"/>
                  </a:lnTo>
                  <a:lnTo>
                    <a:pt x="556" y="7"/>
                  </a:lnTo>
                  <a:lnTo>
                    <a:pt x="560" y="14"/>
                  </a:lnTo>
                  <a:lnTo>
                    <a:pt x="559" y="27"/>
                  </a:lnTo>
                  <a:lnTo>
                    <a:pt x="549" y="48"/>
                  </a:lnTo>
                  <a:lnTo>
                    <a:pt x="549" y="60"/>
                  </a:lnTo>
                  <a:lnTo>
                    <a:pt x="555" y="68"/>
                  </a:lnTo>
                  <a:lnTo>
                    <a:pt x="561" y="66"/>
                  </a:lnTo>
                  <a:lnTo>
                    <a:pt x="623" y="21"/>
                  </a:lnTo>
                  <a:lnTo>
                    <a:pt x="626" y="19"/>
                  </a:lnTo>
                  <a:lnTo>
                    <a:pt x="633" y="23"/>
                  </a:lnTo>
                  <a:lnTo>
                    <a:pt x="658" y="62"/>
                  </a:lnTo>
                  <a:lnTo>
                    <a:pt x="665" y="67"/>
                  </a:lnTo>
                  <a:lnTo>
                    <a:pt x="675" y="67"/>
                  </a:lnTo>
                  <a:lnTo>
                    <a:pt x="688" y="60"/>
                  </a:lnTo>
                  <a:lnTo>
                    <a:pt x="699" y="52"/>
                  </a:lnTo>
                  <a:lnTo>
                    <a:pt x="718" y="29"/>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1" name="Cantabria" descr="{&quot;Key&quot;:&quot;cantabria&quot;,&quot;Name&quot;:&quot;Cantabria&quot;,&quot;Value&quot;:1.0,&quot;Formula&quot;:&quot;&quot;,&quot;Text&quot;:&quot;1&quot;,&quot;HasValue&quot;:true}">
              <a:extLst>
                <a:ext uri="{FF2B5EF4-FFF2-40B4-BE49-F238E27FC236}">
                  <a16:creationId xmlns:a16="http://schemas.microsoft.com/office/drawing/2014/main" id="{7C5D02BE-BB8D-5EAE-F277-399D3F8124AC}"/>
                </a:ext>
              </a:extLst>
            </p:cNvPr>
            <p:cNvSpPr>
              <a:spLocks noEditPoints="1"/>
            </p:cNvSpPr>
            <p:nvPr/>
          </p:nvSpPr>
          <p:spPr bwMode="auto">
            <a:xfrm>
              <a:off x="2866655" y="2074445"/>
              <a:ext cx="644632" cy="398112"/>
            </a:xfrm>
            <a:custGeom>
              <a:avLst/>
              <a:gdLst>
                <a:gd name="T0" fmla="*/ 859 w 936"/>
                <a:gd name="T1" fmla="*/ 200 h 575"/>
                <a:gd name="T2" fmla="*/ 933 w 936"/>
                <a:gd name="T3" fmla="*/ 155 h 575"/>
                <a:gd name="T4" fmla="*/ 873 w 936"/>
                <a:gd name="T5" fmla="*/ 169 h 575"/>
                <a:gd name="T6" fmla="*/ 773 w 936"/>
                <a:gd name="T7" fmla="*/ 217 h 575"/>
                <a:gd name="T8" fmla="*/ 778 w 936"/>
                <a:gd name="T9" fmla="*/ 262 h 575"/>
                <a:gd name="T10" fmla="*/ 740 w 936"/>
                <a:gd name="T11" fmla="*/ 287 h 575"/>
                <a:gd name="T12" fmla="*/ 679 w 936"/>
                <a:gd name="T13" fmla="*/ 268 h 575"/>
                <a:gd name="T14" fmla="*/ 640 w 936"/>
                <a:gd name="T15" fmla="*/ 277 h 575"/>
                <a:gd name="T16" fmla="*/ 593 w 936"/>
                <a:gd name="T17" fmla="*/ 323 h 575"/>
                <a:gd name="T18" fmla="*/ 557 w 936"/>
                <a:gd name="T19" fmla="*/ 327 h 575"/>
                <a:gd name="T20" fmla="*/ 539 w 936"/>
                <a:gd name="T21" fmla="*/ 361 h 575"/>
                <a:gd name="T22" fmla="*/ 495 w 936"/>
                <a:gd name="T23" fmla="*/ 391 h 575"/>
                <a:gd name="T24" fmla="*/ 474 w 936"/>
                <a:gd name="T25" fmla="*/ 456 h 575"/>
                <a:gd name="T26" fmla="*/ 504 w 936"/>
                <a:gd name="T27" fmla="*/ 464 h 575"/>
                <a:gd name="T28" fmla="*/ 539 w 936"/>
                <a:gd name="T29" fmla="*/ 434 h 575"/>
                <a:gd name="T30" fmla="*/ 553 w 936"/>
                <a:gd name="T31" fmla="*/ 460 h 575"/>
                <a:gd name="T32" fmla="*/ 514 w 936"/>
                <a:gd name="T33" fmla="*/ 485 h 575"/>
                <a:gd name="T34" fmla="*/ 528 w 936"/>
                <a:gd name="T35" fmla="*/ 507 h 575"/>
                <a:gd name="T36" fmla="*/ 558 w 936"/>
                <a:gd name="T37" fmla="*/ 491 h 575"/>
                <a:gd name="T38" fmla="*/ 567 w 936"/>
                <a:gd name="T39" fmla="*/ 529 h 575"/>
                <a:gd name="T40" fmla="*/ 529 w 936"/>
                <a:gd name="T41" fmla="*/ 549 h 575"/>
                <a:gd name="T42" fmla="*/ 464 w 936"/>
                <a:gd name="T43" fmla="*/ 569 h 575"/>
                <a:gd name="T44" fmla="*/ 453 w 936"/>
                <a:gd name="T45" fmla="*/ 534 h 575"/>
                <a:gd name="T46" fmla="*/ 403 w 936"/>
                <a:gd name="T47" fmla="*/ 556 h 575"/>
                <a:gd name="T48" fmla="*/ 362 w 936"/>
                <a:gd name="T49" fmla="*/ 537 h 575"/>
                <a:gd name="T50" fmla="*/ 380 w 936"/>
                <a:gd name="T51" fmla="*/ 522 h 575"/>
                <a:gd name="T52" fmla="*/ 385 w 936"/>
                <a:gd name="T53" fmla="*/ 501 h 575"/>
                <a:gd name="T54" fmla="*/ 348 w 936"/>
                <a:gd name="T55" fmla="*/ 514 h 575"/>
                <a:gd name="T56" fmla="*/ 337 w 936"/>
                <a:gd name="T57" fmla="*/ 480 h 575"/>
                <a:gd name="T58" fmla="*/ 330 w 936"/>
                <a:gd name="T59" fmla="*/ 432 h 575"/>
                <a:gd name="T60" fmla="*/ 253 w 936"/>
                <a:gd name="T61" fmla="*/ 387 h 575"/>
                <a:gd name="T62" fmla="*/ 207 w 936"/>
                <a:gd name="T63" fmla="*/ 356 h 575"/>
                <a:gd name="T64" fmla="*/ 158 w 936"/>
                <a:gd name="T65" fmla="*/ 376 h 575"/>
                <a:gd name="T66" fmla="*/ 73 w 936"/>
                <a:gd name="T67" fmla="*/ 382 h 575"/>
                <a:gd name="T68" fmla="*/ 37 w 936"/>
                <a:gd name="T69" fmla="*/ 335 h 575"/>
                <a:gd name="T70" fmla="*/ 0 w 936"/>
                <a:gd name="T71" fmla="*/ 292 h 575"/>
                <a:gd name="T72" fmla="*/ 47 w 936"/>
                <a:gd name="T73" fmla="*/ 249 h 575"/>
                <a:gd name="T74" fmla="*/ 62 w 936"/>
                <a:gd name="T75" fmla="*/ 224 h 575"/>
                <a:gd name="T76" fmla="*/ 74 w 936"/>
                <a:gd name="T77" fmla="*/ 190 h 575"/>
                <a:gd name="T78" fmla="*/ 115 w 936"/>
                <a:gd name="T79" fmla="*/ 182 h 575"/>
                <a:gd name="T80" fmla="*/ 152 w 936"/>
                <a:gd name="T81" fmla="*/ 171 h 575"/>
                <a:gd name="T82" fmla="*/ 170 w 936"/>
                <a:gd name="T83" fmla="*/ 180 h 575"/>
                <a:gd name="T84" fmla="*/ 169 w 936"/>
                <a:gd name="T85" fmla="*/ 137 h 575"/>
                <a:gd name="T86" fmla="*/ 179 w 936"/>
                <a:gd name="T87" fmla="*/ 102 h 575"/>
                <a:gd name="T88" fmla="*/ 224 w 936"/>
                <a:gd name="T89" fmla="*/ 89 h 575"/>
                <a:gd name="T90" fmla="*/ 264 w 936"/>
                <a:gd name="T91" fmla="*/ 90 h 575"/>
                <a:gd name="T92" fmla="*/ 423 w 936"/>
                <a:gd name="T93" fmla="*/ 61 h 575"/>
                <a:gd name="T94" fmla="*/ 460 w 936"/>
                <a:gd name="T95" fmla="*/ 51 h 575"/>
                <a:gd name="T96" fmla="*/ 478 w 936"/>
                <a:gd name="T97" fmla="*/ 50 h 575"/>
                <a:gd name="T98" fmla="*/ 523 w 936"/>
                <a:gd name="T99" fmla="*/ 25 h 575"/>
                <a:gd name="T100" fmla="*/ 592 w 936"/>
                <a:gd name="T101" fmla="*/ 30 h 575"/>
                <a:gd name="T102" fmla="*/ 562 w 936"/>
                <a:gd name="T103" fmla="*/ 66 h 575"/>
                <a:gd name="T104" fmla="*/ 577 w 936"/>
                <a:gd name="T105" fmla="*/ 66 h 575"/>
                <a:gd name="T106" fmla="*/ 600 w 936"/>
                <a:gd name="T107" fmla="*/ 59 h 575"/>
                <a:gd name="T108" fmla="*/ 599 w 936"/>
                <a:gd name="T109" fmla="*/ 40 h 575"/>
                <a:gd name="T110" fmla="*/ 618 w 936"/>
                <a:gd name="T111" fmla="*/ 35 h 575"/>
                <a:gd name="T112" fmla="*/ 648 w 936"/>
                <a:gd name="T113" fmla="*/ 16 h 575"/>
                <a:gd name="T114" fmla="*/ 719 w 936"/>
                <a:gd name="T115" fmla="*/ 15 h 575"/>
                <a:gd name="T116" fmla="*/ 779 w 936"/>
                <a:gd name="T117" fmla="*/ 39 h 575"/>
                <a:gd name="T118" fmla="*/ 758 w 936"/>
                <a:gd name="T119" fmla="*/ 49 h 575"/>
                <a:gd name="T120" fmla="*/ 758 w 936"/>
                <a:gd name="T121" fmla="*/ 77 h 575"/>
                <a:gd name="T122" fmla="*/ 800 w 936"/>
                <a:gd name="T123" fmla="*/ 71 h 575"/>
                <a:gd name="T124" fmla="*/ 902 w 936"/>
                <a:gd name="T125" fmla="*/ 9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6" h="575">
                  <a:moveTo>
                    <a:pt x="871" y="221"/>
                  </a:moveTo>
                  <a:lnTo>
                    <a:pt x="853" y="230"/>
                  </a:lnTo>
                  <a:lnTo>
                    <a:pt x="849" y="226"/>
                  </a:lnTo>
                  <a:lnTo>
                    <a:pt x="849" y="196"/>
                  </a:lnTo>
                  <a:lnTo>
                    <a:pt x="859" y="200"/>
                  </a:lnTo>
                  <a:lnTo>
                    <a:pt x="869" y="214"/>
                  </a:lnTo>
                  <a:lnTo>
                    <a:pt x="871" y="221"/>
                  </a:lnTo>
                  <a:close/>
                  <a:moveTo>
                    <a:pt x="934" y="120"/>
                  </a:moveTo>
                  <a:lnTo>
                    <a:pt x="936" y="147"/>
                  </a:lnTo>
                  <a:lnTo>
                    <a:pt x="933" y="155"/>
                  </a:lnTo>
                  <a:lnTo>
                    <a:pt x="929" y="160"/>
                  </a:lnTo>
                  <a:lnTo>
                    <a:pt x="906" y="172"/>
                  </a:lnTo>
                  <a:lnTo>
                    <a:pt x="901" y="171"/>
                  </a:lnTo>
                  <a:lnTo>
                    <a:pt x="888" y="167"/>
                  </a:lnTo>
                  <a:lnTo>
                    <a:pt x="873" y="169"/>
                  </a:lnTo>
                  <a:lnTo>
                    <a:pt x="839" y="166"/>
                  </a:lnTo>
                  <a:lnTo>
                    <a:pt x="832" y="170"/>
                  </a:lnTo>
                  <a:lnTo>
                    <a:pt x="826" y="176"/>
                  </a:lnTo>
                  <a:lnTo>
                    <a:pt x="779" y="210"/>
                  </a:lnTo>
                  <a:lnTo>
                    <a:pt x="773" y="217"/>
                  </a:lnTo>
                  <a:lnTo>
                    <a:pt x="772" y="224"/>
                  </a:lnTo>
                  <a:lnTo>
                    <a:pt x="773" y="230"/>
                  </a:lnTo>
                  <a:lnTo>
                    <a:pt x="774" y="241"/>
                  </a:lnTo>
                  <a:lnTo>
                    <a:pt x="774" y="251"/>
                  </a:lnTo>
                  <a:lnTo>
                    <a:pt x="778" y="262"/>
                  </a:lnTo>
                  <a:lnTo>
                    <a:pt x="782" y="278"/>
                  </a:lnTo>
                  <a:lnTo>
                    <a:pt x="783" y="287"/>
                  </a:lnTo>
                  <a:lnTo>
                    <a:pt x="768" y="289"/>
                  </a:lnTo>
                  <a:lnTo>
                    <a:pt x="752" y="287"/>
                  </a:lnTo>
                  <a:lnTo>
                    <a:pt x="740" y="287"/>
                  </a:lnTo>
                  <a:lnTo>
                    <a:pt x="730" y="285"/>
                  </a:lnTo>
                  <a:lnTo>
                    <a:pt x="715" y="278"/>
                  </a:lnTo>
                  <a:lnTo>
                    <a:pt x="700" y="273"/>
                  </a:lnTo>
                  <a:lnTo>
                    <a:pt x="683" y="271"/>
                  </a:lnTo>
                  <a:lnTo>
                    <a:pt x="679" y="268"/>
                  </a:lnTo>
                  <a:lnTo>
                    <a:pt x="670" y="262"/>
                  </a:lnTo>
                  <a:lnTo>
                    <a:pt x="665" y="260"/>
                  </a:lnTo>
                  <a:lnTo>
                    <a:pt x="659" y="261"/>
                  </a:lnTo>
                  <a:lnTo>
                    <a:pt x="652" y="266"/>
                  </a:lnTo>
                  <a:lnTo>
                    <a:pt x="640" y="277"/>
                  </a:lnTo>
                  <a:lnTo>
                    <a:pt x="627" y="296"/>
                  </a:lnTo>
                  <a:lnTo>
                    <a:pt x="618" y="305"/>
                  </a:lnTo>
                  <a:lnTo>
                    <a:pt x="612" y="310"/>
                  </a:lnTo>
                  <a:lnTo>
                    <a:pt x="602" y="316"/>
                  </a:lnTo>
                  <a:lnTo>
                    <a:pt x="593" y="323"/>
                  </a:lnTo>
                  <a:lnTo>
                    <a:pt x="588" y="326"/>
                  </a:lnTo>
                  <a:lnTo>
                    <a:pt x="583" y="327"/>
                  </a:lnTo>
                  <a:lnTo>
                    <a:pt x="568" y="326"/>
                  </a:lnTo>
                  <a:lnTo>
                    <a:pt x="562" y="326"/>
                  </a:lnTo>
                  <a:lnTo>
                    <a:pt x="557" y="327"/>
                  </a:lnTo>
                  <a:lnTo>
                    <a:pt x="553" y="330"/>
                  </a:lnTo>
                  <a:lnTo>
                    <a:pt x="553" y="344"/>
                  </a:lnTo>
                  <a:lnTo>
                    <a:pt x="552" y="351"/>
                  </a:lnTo>
                  <a:lnTo>
                    <a:pt x="544" y="359"/>
                  </a:lnTo>
                  <a:lnTo>
                    <a:pt x="539" y="361"/>
                  </a:lnTo>
                  <a:lnTo>
                    <a:pt x="530" y="364"/>
                  </a:lnTo>
                  <a:lnTo>
                    <a:pt x="522" y="370"/>
                  </a:lnTo>
                  <a:lnTo>
                    <a:pt x="510" y="382"/>
                  </a:lnTo>
                  <a:lnTo>
                    <a:pt x="500" y="389"/>
                  </a:lnTo>
                  <a:lnTo>
                    <a:pt x="495" y="391"/>
                  </a:lnTo>
                  <a:lnTo>
                    <a:pt x="490" y="395"/>
                  </a:lnTo>
                  <a:lnTo>
                    <a:pt x="485" y="404"/>
                  </a:lnTo>
                  <a:lnTo>
                    <a:pt x="473" y="440"/>
                  </a:lnTo>
                  <a:lnTo>
                    <a:pt x="472" y="451"/>
                  </a:lnTo>
                  <a:lnTo>
                    <a:pt x="474" y="456"/>
                  </a:lnTo>
                  <a:lnTo>
                    <a:pt x="478" y="461"/>
                  </a:lnTo>
                  <a:lnTo>
                    <a:pt x="483" y="465"/>
                  </a:lnTo>
                  <a:lnTo>
                    <a:pt x="488" y="467"/>
                  </a:lnTo>
                  <a:lnTo>
                    <a:pt x="494" y="467"/>
                  </a:lnTo>
                  <a:lnTo>
                    <a:pt x="504" y="464"/>
                  </a:lnTo>
                  <a:lnTo>
                    <a:pt x="518" y="455"/>
                  </a:lnTo>
                  <a:lnTo>
                    <a:pt x="522" y="451"/>
                  </a:lnTo>
                  <a:lnTo>
                    <a:pt x="527" y="441"/>
                  </a:lnTo>
                  <a:lnTo>
                    <a:pt x="529" y="437"/>
                  </a:lnTo>
                  <a:lnTo>
                    <a:pt x="539" y="434"/>
                  </a:lnTo>
                  <a:lnTo>
                    <a:pt x="544" y="436"/>
                  </a:lnTo>
                  <a:lnTo>
                    <a:pt x="548" y="439"/>
                  </a:lnTo>
                  <a:lnTo>
                    <a:pt x="554" y="449"/>
                  </a:lnTo>
                  <a:lnTo>
                    <a:pt x="555" y="454"/>
                  </a:lnTo>
                  <a:lnTo>
                    <a:pt x="553" y="460"/>
                  </a:lnTo>
                  <a:lnTo>
                    <a:pt x="537" y="470"/>
                  </a:lnTo>
                  <a:lnTo>
                    <a:pt x="520" y="471"/>
                  </a:lnTo>
                  <a:lnTo>
                    <a:pt x="519" y="479"/>
                  </a:lnTo>
                  <a:lnTo>
                    <a:pt x="515" y="481"/>
                  </a:lnTo>
                  <a:lnTo>
                    <a:pt x="514" y="485"/>
                  </a:lnTo>
                  <a:lnTo>
                    <a:pt x="517" y="494"/>
                  </a:lnTo>
                  <a:lnTo>
                    <a:pt x="517" y="500"/>
                  </a:lnTo>
                  <a:lnTo>
                    <a:pt x="519" y="504"/>
                  </a:lnTo>
                  <a:lnTo>
                    <a:pt x="523" y="507"/>
                  </a:lnTo>
                  <a:lnTo>
                    <a:pt x="528" y="507"/>
                  </a:lnTo>
                  <a:lnTo>
                    <a:pt x="532" y="504"/>
                  </a:lnTo>
                  <a:lnTo>
                    <a:pt x="540" y="491"/>
                  </a:lnTo>
                  <a:lnTo>
                    <a:pt x="547" y="489"/>
                  </a:lnTo>
                  <a:lnTo>
                    <a:pt x="553" y="489"/>
                  </a:lnTo>
                  <a:lnTo>
                    <a:pt x="558" y="491"/>
                  </a:lnTo>
                  <a:lnTo>
                    <a:pt x="559" y="496"/>
                  </a:lnTo>
                  <a:lnTo>
                    <a:pt x="560" y="502"/>
                  </a:lnTo>
                  <a:lnTo>
                    <a:pt x="559" y="510"/>
                  </a:lnTo>
                  <a:lnTo>
                    <a:pt x="560" y="516"/>
                  </a:lnTo>
                  <a:lnTo>
                    <a:pt x="567" y="529"/>
                  </a:lnTo>
                  <a:lnTo>
                    <a:pt x="565" y="539"/>
                  </a:lnTo>
                  <a:lnTo>
                    <a:pt x="563" y="542"/>
                  </a:lnTo>
                  <a:lnTo>
                    <a:pt x="558" y="546"/>
                  </a:lnTo>
                  <a:lnTo>
                    <a:pt x="538" y="546"/>
                  </a:lnTo>
                  <a:lnTo>
                    <a:pt x="529" y="549"/>
                  </a:lnTo>
                  <a:lnTo>
                    <a:pt x="509" y="566"/>
                  </a:lnTo>
                  <a:lnTo>
                    <a:pt x="503" y="570"/>
                  </a:lnTo>
                  <a:lnTo>
                    <a:pt x="492" y="572"/>
                  </a:lnTo>
                  <a:lnTo>
                    <a:pt x="483" y="575"/>
                  </a:lnTo>
                  <a:lnTo>
                    <a:pt x="464" y="569"/>
                  </a:lnTo>
                  <a:lnTo>
                    <a:pt x="465" y="556"/>
                  </a:lnTo>
                  <a:lnTo>
                    <a:pt x="464" y="535"/>
                  </a:lnTo>
                  <a:lnTo>
                    <a:pt x="463" y="529"/>
                  </a:lnTo>
                  <a:lnTo>
                    <a:pt x="458" y="530"/>
                  </a:lnTo>
                  <a:lnTo>
                    <a:pt x="453" y="534"/>
                  </a:lnTo>
                  <a:lnTo>
                    <a:pt x="438" y="569"/>
                  </a:lnTo>
                  <a:lnTo>
                    <a:pt x="417" y="574"/>
                  </a:lnTo>
                  <a:lnTo>
                    <a:pt x="410" y="564"/>
                  </a:lnTo>
                  <a:lnTo>
                    <a:pt x="408" y="560"/>
                  </a:lnTo>
                  <a:lnTo>
                    <a:pt x="403" y="556"/>
                  </a:lnTo>
                  <a:lnTo>
                    <a:pt x="397" y="555"/>
                  </a:lnTo>
                  <a:lnTo>
                    <a:pt x="383" y="554"/>
                  </a:lnTo>
                  <a:lnTo>
                    <a:pt x="375" y="551"/>
                  </a:lnTo>
                  <a:lnTo>
                    <a:pt x="365" y="541"/>
                  </a:lnTo>
                  <a:lnTo>
                    <a:pt x="362" y="537"/>
                  </a:lnTo>
                  <a:lnTo>
                    <a:pt x="360" y="532"/>
                  </a:lnTo>
                  <a:lnTo>
                    <a:pt x="362" y="529"/>
                  </a:lnTo>
                  <a:lnTo>
                    <a:pt x="365" y="526"/>
                  </a:lnTo>
                  <a:lnTo>
                    <a:pt x="375" y="522"/>
                  </a:lnTo>
                  <a:lnTo>
                    <a:pt x="380" y="522"/>
                  </a:lnTo>
                  <a:lnTo>
                    <a:pt x="385" y="520"/>
                  </a:lnTo>
                  <a:lnTo>
                    <a:pt x="389" y="516"/>
                  </a:lnTo>
                  <a:lnTo>
                    <a:pt x="390" y="511"/>
                  </a:lnTo>
                  <a:lnTo>
                    <a:pt x="389" y="506"/>
                  </a:lnTo>
                  <a:lnTo>
                    <a:pt x="385" y="501"/>
                  </a:lnTo>
                  <a:lnTo>
                    <a:pt x="380" y="499"/>
                  </a:lnTo>
                  <a:lnTo>
                    <a:pt x="367" y="502"/>
                  </a:lnTo>
                  <a:lnTo>
                    <a:pt x="362" y="506"/>
                  </a:lnTo>
                  <a:lnTo>
                    <a:pt x="355" y="512"/>
                  </a:lnTo>
                  <a:lnTo>
                    <a:pt x="348" y="514"/>
                  </a:lnTo>
                  <a:lnTo>
                    <a:pt x="344" y="511"/>
                  </a:lnTo>
                  <a:lnTo>
                    <a:pt x="342" y="509"/>
                  </a:lnTo>
                  <a:lnTo>
                    <a:pt x="339" y="501"/>
                  </a:lnTo>
                  <a:lnTo>
                    <a:pt x="338" y="486"/>
                  </a:lnTo>
                  <a:lnTo>
                    <a:pt x="337" y="480"/>
                  </a:lnTo>
                  <a:lnTo>
                    <a:pt x="335" y="470"/>
                  </a:lnTo>
                  <a:lnTo>
                    <a:pt x="333" y="459"/>
                  </a:lnTo>
                  <a:lnTo>
                    <a:pt x="332" y="449"/>
                  </a:lnTo>
                  <a:lnTo>
                    <a:pt x="332" y="437"/>
                  </a:lnTo>
                  <a:lnTo>
                    <a:pt x="330" y="432"/>
                  </a:lnTo>
                  <a:lnTo>
                    <a:pt x="323" y="426"/>
                  </a:lnTo>
                  <a:lnTo>
                    <a:pt x="267" y="406"/>
                  </a:lnTo>
                  <a:lnTo>
                    <a:pt x="258" y="400"/>
                  </a:lnTo>
                  <a:lnTo>
                    <a:pt x="255" y="395"/>
                  </a:lnTo>
                  <a:lnTo>
                    <a:pt x="253" y="387"/>
                  </a:lnTo>
                  <a:lnTo>
                    <a:pt x="242" y="369"/>
                  </a:lnTo>
                  <a:lnTo>
                    <a:pt x="237" y="365"/>
                  </a:lnTo>
                  <a:lnTo>
                    <a:pt x="223" y="359"/>
                  </a:lnTo>
                  <a:lnTo>
                    <a:pt x="217" y="356"/>
                  </a:lnTo>
                  <a:lnTo>
                    <a:pt x="207" y="356"/>
                  </a:lnTo>
                  <a:lnTo>
                    <a:pt x="197" y="362"/>
                  </a:lnTo>
                  <a:lnTo>
                    <a:pt x="192" y="365"/>
                  </a:lnTo>
                  <a:lnTo>
                    <a:pt x="184" y="365"/>
                  </a:lnTo>
                  <a:lnTo>
                    <a:pt x="177" y="366"/>
                  </a:lnTo>
                  <a:lnTo>
                    <a:pt x="158" y="376"/>
                  </a:lnTo>
                  <a:lnTo>
                    <a:pt x="150" y="377"/>
                  </a:lnTo>
                  <a:lnTo>
                    <a:pt x="130" y="375"/>
                  </a:lnTo>
                  <a:lnTo>
                    <a:pt x="109" y="380"/>
                  </a:lnTo>
                  <a:lnTo>
                    <a:pt x="82" y="380"/>
                  </a:lnTo>
                  <a:lnTo>
                    <a:pt x="73" y="382"/>
                  </a:lnTo>
                  <a:lnTo>
                    <a:pt x="60" y="382"/>
                  </a:lnTo>
                  <a:lnTo>
                    <a:pt x="57" y="364"/>
                  </a:lnTo>
                  <a:lnTo>
                    <a:pt x="54" y="359"/>
                  </a:lnTo>
                  <a:lnTo>
                    <a:pt x="43" y="347"/>
                  </a:lnTo>
                  <a:lnTo>
                    <a:pt x="37" y="335"/>
                  </a:lnTo>
                  <a:lnTo>
                    <a:pt x="14" y="322"/>
                  </a:lnTo>
                  <a:lnTo>
                    <a:pt x="9" y="319"/>
                  </a:lnTo>
                  <a:lnTo>
                    <a:pt x="5" y="312"/>
                  </a:lnTo>
                  <a:lnTo>
                    <a:pt x="2" y="300"/>
                  </a:lnTo>
                  <a:lnTo>
                    <a:pt x="0" y="292"/>
                  </a:lnTo>
                  <a:lnTo>
                    <a:pt x="3" y="251"/>
                  </a:lnTo>
                  <a:lnTo>
                    <a:pt x="9" y="252"/>
                  </a:lnTo>
                  <a:lnTo>
                    <a:pt x="25" y="250"/>
                  </a:lnTo>
                  <a:lnTo>
                    <a:pt x="37" y="246"/>
                  </a:lnTo>
                  <a:lnTo>
                    <a:pt x="47" y="249"/>
                  </a:lnTo>
                  <a:lnTo>
                    <a:pt x="52" y="249"/>
                  </a:lnTo>
                  <a:lnTo>
                    <a:pt x="57" y="245"/>
                  </a:lnTo>
                  <a:lnTo>
                    <a:pt x="60" y="236"/>
                  </a:lnTo>
                  <a:lnTo>
                    <a:pt x="62" y="230"/>
                  </a:lnTo>
                  <a:lnTo>
                    <a:pt x="62" y="224"/>
                  </a:lnTo>
                  <a:lnTo>
                    <a:pt x="64" y="214"/>
                  </a:lnTo>
                  <a:lnTo>
                    <a:pt x="63" y="202"/>
                  </a:lnTo>
                  <a:lnTo>
                    <a:pt x="64" y="197"/>
                  </a:lnTo>
                  <a:lnTo>
                    <a:pt x="67" y="194"/>
                  </a:lnTo>
                  <a:lnTo>
                    <a:pt x="74" y="190"/>
                  </a:lnTo>
                  <a:lnTo>
                    <a:pt x="79" y="187"/>
                  </a:lnTo>
                  <a:lnTo>
                    <a:pt x="85" y="187"/>
                  </a:lnTo>
                  <a:lnTo>
                    <a:pt x="95" y="189"/>
                  </a:lnTo>
                  <a:lnTo>
                    <a:pt x="108" y="187"/>
                  </a:lnTo>
                  <a:lnTo>
                    <a:pt x="115" y="182"/>
                  </a:lnTo>
                  <a:lnTo>
                    <a:pt x="122" y="174"/>
                  </a:lnTo>
                  <a:lnTo>
                    <a:pt x="130" y="169"/>
                  </a:lnTo>
                  <a:lnTo>
                    <a:pt x="135" y="167"/>
                  </a:lnTo>
                  <a:lnTo>
                    <a:pt x="142" y="169"/>
                  </a:lnTo>
                  <a:lnTo>
                    <a:pt x="152" y="171"/>
                  </a:lnTo>
                  <a:lnTo>
                    <a:pt x="155" y="174"/>
                  </a:lnTo>
                  <a:lnTo>
                    <a:pt x="158" y="182"/>
                  </a:lnTo>
                  <a:lnTo>
                    <a:pt x="162" y="185"/>
                  </a:lnTo>
                  <a:lnTo>
                    <a:pt x="167" y="184"/>
                  </a:lnTo>
                  <a:lnTo>
                    <a:pt x="170" y="180"/>
                  </a:lnTo>
                  <a:lnTo>
                    <a:pt x="174" y="176"/>
                  </a:lnTo>
                  <a:lnTo>
                    <a:pt x="175" y="169"/>
                  </a:lnTo>
                  <a:lnTo>
                    <a:pt x="177" y="162"/>
                  </a:lnTo>
                  <a:lnTo>
                    <a:pt x="174" y="151"/>
                  </a:lnTo>
                  <a:lnTo>
                    <a:pt x="169" y="137"/>
                  </a:lnTo>
                  <a:lnTo>
                    <a:pt x="167" y="134"/>
                  </a:lnTo>
                  <a:lnTo>
                    <a:pt x="165" y="130"/>
                  </a:lnTo>
                  <a:lnTo>
                    <a:pt x="168" y="125"/>
                  </a:lnTo>
                  <a:lnTo>
                    <a:pt x="174" y="112"/>
                  </a:lnTo>
                  <a:lnTo>
                    <a:pt x="179" y="102"/>
                  </a:lnTo>
                  <a:lnTo>
                    <a:pt x="179" y="87"/>
                  </a:lnTo>
                  <a:lnTo>
                    <a:pt x="182" y="89"/>
                  </a:lnTo>
                  <a:lnTo>
                    <a:pt x="197" y="102"/>
                  </a:lnTo>
                  <a:lnTo>
                    <a:pt x="208" y="91"/>
                  </a:lnTo>
                  <a:lnTo>
                    <a:pt x="224" y="89"/>
                  </a:lnTo>
                  <a:lnTo>
                    <a:pt x="239" y="92"/>
                  </a:lnTo>
                  <a:lnTo>
                    <a:pt x="250" y="102"/>
                  </a:lnTo>
                  <a:lnTo>
                    <a:pt x="254" y="102"/>
                  </a:lnTo>
                  <a:lnTo>
                    <a:pt x="259" y="92"/>
                  </a:lnTo>
                  <a:lnTo>
                    <a:pt x="264" y="90"/>
                  </a:lnTo>
                  <a:lnTo>
                    <a:pt x="290" y="94"/>
                  </a:lnTo>
                  <a:lnTo>
                    <a:pt x="359" y="86"/>
                  </a:lnTo>
                  <a:lnTo>
                    <a:pt x="374" y="74"/>
                  </a:lnTo>
                  <a:lnTo>
                    <a:pt x="409" y="62"/>
                  </a:lnTo>
                  <a:lnTo>
                    <a:pt x="423" y="61"/>
                  </a:lnTo>
                  <a:lnTo>
                    <a:pt x="448" y="61"/>
                  </a:lnTo>
                  <a:lnTo>
                    <a:pt x="450" y="59"/>
                  </a:lnTo>
                  <a:lnTo>
                    <a:pt x="452" y="51"/>
                  </a:lnTo>
                  <a:lnTo>
                    <a:pt x="457" y="50"/>
                  </a:lnTo>
                  <a:lnTo>
                    <a:pt x="460" y="51"/>
                  </a:lnTo>
                  <a:lnTo>
                    <a:pt x="474" y="61"/>
                  </a:lnTo>
                  <a:lnTo>
                    <a:pt x="477" y="57"/>
                  </a:lnTo>
                  <a:lnTo>
                    <a:pt x="482" y="56"/>
                  </a:lnTo>
                  <a:lnTo>
                    <a:pt x="483" y="55"/>
                  </a:lnTo>
                  <a:lnTo>
                    <a:pt x="478" y="50"/>
                  </a:lnTo>
                  <a:lnTo>
                    <a:pt x="478" y="45"/>
                  </a:lnTo>
                  <a:lnTo>
                    <a:pt x="497" y="31"/>
                  </a:lnTo>
                  <a:lnTo>
                    <a:pt x="507" y="27"/>
                  </a:lnTo>
                  <a:lnTo>
                    <a:pt x="515" y="30"/>
                  </a:lnTo>
                  <a:lnTo>
                    <a:pt x="523" y="25"/>
                  </a:lnTo>
                  <a:lnTo>
                    <a:pt x="527" y="30"/>
                  </a:lnTo>
                  <a:lnTo>
                    <a:pt x="543" y="20"/>
                  </a:lnTo>
                  <a:lnTo>
                    <a:pt x="560" y="16"/>
                  </a:lnTo>
                  <a:lnTo>
                    <a:pt x="577" y="19"/>
                  </a:lnTo>
                  <a:lnTo>
                    <a:pt x="592" y="30"/>
                  </a:lnTo>
                  <a:lnTo>
                    <a:pt x="568" y="40"/>
                  </a:lnTo>
                  <a:lnTo>
                    <a:pt x="558" y="47"/>
                  </a:lnTo>
                  <a:lnTo>
                    <a:pt x="550" y="56"/>
                  </a:lnTo>
                  <a:lnTo>
                    <a:pt x="555" y="62"/>
                  </a:lnTo>
                  <a:lnTo>
                    <a:pt x="562" y="66"/>
                  </a:lnTo>
                  <a:lnTo>
                    <a:pt x="557" y="67"/>
                  </a:lnTo>
                  <a:lnTo>
                    <a:pt x="558" y="71"/>
                  </a:lnTo>
                  <a:lnTo>
                    <a:pt x="563" y="71"/>
                  </a:lnTo>
                  <a:lnTo>
                    <a:pt x="568" y="71"/>
                  </a:lnTo>
                  <a:lnTo>
                    <a:pt x="577" y="66"/>
                  </a:lnTo>
                  <a:lnTo>
                    <a:pt x="580" y="62"/>
                  </a:lnTo>
                  <a:lnTo>
                    <a:pt x="588" y="52"/>
                  </a:lnTo>
                  <a:lnTo>
                    <a:pt x="590" y="50"/>
                  </a:lnTo>
                  <a:lnTo>
                    <a:pt x="595" y="51"/>
                  </a:lnTo>
                  <a:lnTo>
                    <a:pt x="600" y="59"/>
                  </a:lnTo>
                  <a:lnTo>
                    <a:pt x="605" y="61"/>
                  </a:lnTo>
                  <a:lnTo>
                    <a:pt x="608" y="57"/>
                  </a:lnTo>
                  <a:lnTo>
                    <a:pt x="607" y="51"/>
                  </a:lnTo>
                  <a:lnTo>
                    <a:pt x="603" y="44"/>
                  </a:lnTo>
                  <a:lnTo>
                    <a:pt x="599" y="40"/>
                  </a:lnTo>
                  <a:lnTo>
                    <a:pt x="599" y="35"/>
                  </a:lnTo>
                  <a:lnTo>
                    <a:pt x="607" y="36"/>
                  </a:lnTo>
                  <a:lnTo>
                    <a:pt x="614" y="40"/>
                  </a:lnTo>
                  <a:lnTo>
                    <a:pt x="615" y="36"/>
                  </a:lnTo>
                  <a:lnTo>
                    <a:pt x="618" y="35"/>
                  </a:lnTo>
                  <a:lnTo>
                    <a:pt x="614" y="30"/>
                  </a:lnTo>
                  <a:lnTo>
                    <a:pt x="620" y="27"/>
                  </a:lnTo>
                  <a:lnTo>
                    <a:pt x="637" y="26"/>
                  </a:lnTo>
                  <a:lnTo>
                    <a:pt x="643" y="21"/>
                  </a:lnTo>
                  <a:lnTo>
                    <a:pt x="648" y="16"/>
                  </a:lnTo>
                  <a:lnTo>
                    <a:pt x="654" y="14"/>
                  </a:lnTo>
                  <a:lnTo>
                    <a:pt x="697" y="0"/>
                  </a:lnTo>
                  <a:lnTo>
                    <a:pt x="710" y="1"/>
                  </a:lnTo>
                  <a:lnTo>
                    <a:pt x="710" y="14"/>
                  </a:lnTo>
                  <a:lnTo>
                    <a:pt x="719" y="15"/>
                  </a:lnTo>
                  <a:lnTo>
                    <a:pt x="727" y="20"/>
                  </a:lnTo>
                  <a:lnTo>
                    <a:pt x="733" y="26"/>
                  </a:lnTo>
                  <a:lnTo>
                    <a:pt x="738" y="30"/>
                  </a:lnTo>
                  <a:lnTo>
                    <a:pt x="777" y="36"/>
                  </a:lnTo>
                  <a:lnTo>
                    <a:pt x="779" y="39"/>
                  </a:lnTo>
                  <a:lnTo>
                    <a:pt x="782" y="47"/>
                  </a:lnTo>
                  <a:lnTo>
                    <a:pt x="780" y="55"/>
                  </a:lnTo>
                  <a:lnTo>
                    <a:pt x="770" y="56"/>
                  </a:lnTo>
                  <a:lnTo>
                    <a:pt x="763" y="50"/>
                  </a:lnTo>
                  <a:lnTo>
                    <a:pt x="758" y="49"/>
                  </a:lnTo>
                  <a:lnTo>
                    <a:pt x="753" y="57"/>
                  </a:lnTo>
                  <a:lnTo>
                    <a:pt x="749" y="61"/>
                  </a:lnTo>
                  <a:lnTo>
                    <a:pt x="740" y="66"/>
                  </a:lnTo>
                  <a:lnTo>
                    <a:pt x="752" y="69"/>
                  </a:lnTo>
                  <a:lnTo>
                    <a:pt x="758" y="77"/>
                  </a:lnTo>
                  <a:lnTo>
                    <a:pt x="763" y="81"/>
                  </a:lnTo>
                  <a:lnTo>
                    <a:pt x="770" y="66"/>
                  </a:lnTo>
                  <a:lnTo>
                    <a:pt x="777" y="76"/>
                  </a:lnTo>
                  <a:lnTo>
                    <a:pt x="784" y="76"/>
                  </a:lnTo>
                  <a:lnTo>
                    <a:pt x="800" y="71"/>
                  </a:lnTo>
                  <a:lnTo>
                    <a:pt x="809" y="72"/>
                  </a:lnTo>
                  <a:lnTo>
                    <a:pt x="835" y="82"/>
                  </a:lnTo>
                  <a:lnTo>
                    <a:pt x="869" y="87"/>
                  </a:lnTo>
                  <a:lnTo>
                    <a:pt x="894" y="96"/>
                  </a:lnTo>
                  <a:lnTo>
                    <a:pt x="902" y="97"/>
                  </a:lnTo>
                  <a:lnTo>
                    <a:pt x="908" y="101"/>
                  </a:lnTo>
                  <a:lnTo>
                    <a:pt x="920" y="116"/>
                  </a:lnTo>
                  <a:lnTo>
                    <a:pt x="934" y="12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2" name="Castellón" descr="{&quot;Key&quot;:&quot;castellón&quot;,&quot;Name&quot;:&quot;Castellón&quot;,&quot;Value&quot;:1.0,&quot;Formula&quot;:&quot;&quot;,&quot;Text&quot;:&quot;1&quot;,&quot;HasValue&quot;:true}">
              <a:extLst>
                <a:ext uri="{FF2B5EF4-FFF2-40B4-BE49-F238E27FC236}">
                  <a16:creationId xmlns:a16="http://schemas.microsoft.com/office/drawing/2014/main" id="{B9FC4074-4D2B-5C04-B034-471C12ECFD3E}"/>
                </a:ext>
              </a:extLst>
            </p:cNvPr>
            <p:cNvSpPr>
              <a:spLocks/>
            </p:cNvSpPr>
            <p:nvPr/>
          </p:nvSpPr>
          <p:spPr bwMode="auto">
            <a:xfrm>
              <a:off x="4395352" y="3491217"/>
              <a:ext cx="519956" cy="534123"/>
            </a:xfrm>
            <a:custGeom>
              <a:avLst/>
              <a:gdLst>
                <a:gd name="T0" fmla="*/ 589 w 755"/>
                <a:gd name="T1" fmla="*/ 39 h 774"/>
                <a:gd name="T2" fmla="*/ 619 w 755"/>
                <a:gd name="T3" fmla="*/ 64 h 774"/>
                <a:gd name="T4" fmla="*/ 617 w 755"/>
                <a:gd name="T5" fmla="*/ 91 h 774"/>
                <a:gd name="T6" fmla="*/ 679 w 755"/>
                <a:gd name="T7" fmla="*/ 129 h 774"/>
                <a:gd name="T8" fmla="*/ 706 w 755"/>
                <a:gd name="T9" fmla="*/ 152 h 774"/>
                <a:gd name="T10" fmla="*/ 752 w 755"/>
                <a:gd name="T11" fmla="*/ 182 h 774"/>
                <a:gd name="T12" fmla="*/ 722 w 755"/>
                <a:gd name="T13" fmla="*/ 240 h 774"/>
                <a:gd name="T14" fmla="*/ 659 w 755"/>
                <a:gd name="T15" fmla="*/ 361 h 774"/>
                <a:gd name="T16" fmla="*/ 611 w 755"/>
                <a:gd name="T17" fmla="*/ 415 h 774"/>
                <a:gd name="T18" fmla="*/ 501 w 755"/>
                <a:gd name="T19" fmla="*/ 545 h 774"/>
                <a:gd name="T20" fmla="*/ 413 w 755"/>
                <a:gd name="T21" fmla="*/ 677 h 774"/>
                <a:gd name="T22" fmla="*/ 272 w 755"/>
                <a:gd name="T23" fmla="*/ 714 h 774"/>
                <a:gd name="T24" fmla="*/ 211 w 755"/>
                <a:gd name="T25" fmla="*/ 767 h 774"/>
                <a:gd name="T26" fmla="*/ 140 w 755"/>
                <a:gd name="T27" fmla="*/ 741 h 774"/>
                <a:gd name="T28" fmla="*/ 106 w 755"/>
                <a:gd name="T29" fmla="*/ 742 h 774"/>
                <a:gd name="T30" fmla="*/ 101 w 755"/>
                <a:gd name="T31" fmla="*/ 686 h 774"/>
                <a:gd name="T32" fmla="*/ 35 w 755"/>
                <a:gd name="T33" fmla="*/ 662 h 774"/>
                <a:gd name="T34" fmla="*/ 7 w 755"/>
                <a:gd name="T35" fmla="*/ 635 h 774"/>
                <a:gd name="T36" fmla="*/ 0 w 755"/>
                <a:gd name="T37" fmla="*/ 607 h 774"/>
                <a:gd name="T38" fmla="*/ 20 w 755"/>
                <a:gd name="T39" fmla="*/ 574 h 774"/>
                <a:gd name="T40" fmla="*/ 42 w 755"/>
                <a:gd name="T41" fmla="*/ 554 h 774"/>
                <a:gd name="T42" fmla="*/ 55 w 755"/>
                <a:gd name="T43" fmla="*/ 539 h 774"/>
                <a:gd name="T44" fmla="*/ 125 w 755"/>
                <a:gd name="T45" fmla="*/ 511 h 774"/>
                <a:gd name="T46" fmla="*/ 134 w 755"/>
                <a:gd name="T47" fmla="*/ 475 h 774"/>
                <a:gd name="T48" fmla="*/ 150 w 755"/>
                <a:gd name="T49" fmla="*/ 445 h 774"/>
                <a:gd name="T50" fmla="*/ 160 w 755"/>
                <a:gd name="T51" fmla="*/ 397 h 774"/>
                <a:gd name="T52" fmla="*/ 186 w 755"/>
                <a:gd name="T53" fmla="*/ 400 h 774"/>
                <a:gd name="T54" fmla="*/ 219 w 755"/>
                <a:gd name="T55" fmla="*/ 395 h 774"/>
                <a:gd name="T56" fmla="*/ 249 w 755"/>
                <a:gd name="T57" fmla="*/ 368 h 774"/>
                <a:gd name="T58" fmla="*/ 266 w 755"/>
                <a:gd name="T59" fmla="*/ 337 h 774"/>
                <a:gd name="T60" fmla="*/ 306 w 755"/>
                <a:gd name="T61" fmla="*/ 297 h 774"/>
                <a:gd name="T62" fmla="*/ 293 w 755"/>
                <a:gd name="T63" fmla="*/ 271 h 774"/>
                <a:gd name="T64" fmla="*/ 276 w 755"/>
                <a:gd name="T65" fmla="*/ 246 h 774"/>
                <a:gd name="T66" fmla="*/ 313 w 755"/>
                <a:gd name="T67" fmla="*/ 222 h 774"/>
                <a:gd name="T68" fmla="*/ 300 w 755"/>
                <a:gd name="T69" fmla="*/ 188 h 774"/>
                <a:gd name="T70" fmla="*/ 298 w 755"/>
                <a:gd name="T71" fmla="*/ 148 h 774"/>
                <a:gd name="T72" fmla="*/ 294 w 755"/>
                <a:gd name="T73" fmla="*/ 125 h 774"/>
                <a:gd name="T74" fmla="*/ 266 w 755"/>
                <a:gd name="T75" fmla="*/ 122 h 774"/>
                <a:gd name="T76" fmla="*/ 255 w 755"/>
                <a:gd name="T77" fmla="*/ 92 h 774"/>
                <a:gd name="T78" fmla="*/ 272 w 755"/>
                <a:gd name="T79" fmla="*/ 77 h 774"/>
                <a:gd name="T80" fmla="*/ 302 w 755"/>
                <a:gd name="T81" fmla="*/ 81 h 774"/>
                <a:gd name="T82" fmla="*/ 337 w 755"/>
                <a:gd name="T83" fmla="*/ 46 h 774"/>
                <a:gd name="T84" fmla="*/ 356 w 755"/>
                <a:gd name="T85" fmla="*/ 2 h 774"/>
                <a:gd name="T86" fmla="*/ 385 w 755"/>
                <a:gd name="T87" fmla="*/ 7 h 774"/>
                <a:gd name="T88" fmla="*/ 437 w 755"/>
                <a:gd name="T89" fmla="*/ 38 h 774"/>
                <a:gd name="T90" fmla="*/ 480 w 755"/>
                <a:gd name="T91" fmla="*/ 48 h 774"/>
                <a:gd name="T92" fmla="*/ 496 w 755"/>
                <a:gd name="T93" fmla="*/ 56 h 774"/>
                <a:gd name="T94" fmla="*/ 523 w 755"/>
                <a:gd name="T95" fmla="*/ 42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5" h="774">
                  <a:moveTo>
                    <a:pt x="560" y="35"/>
                  </a:moveTo>
                  <a:lnTo>
                    <a:pt x="575" y="39"/>
                  </a:lnTo>
                  <a:lnTo>
                    <a:pt x="586" y="36"/>
                  </a:lnTo>
                  <a:lnTo>
                    <a:pt x="589" y="39"/>
                  </a:lnTo>
                  <a:lnTo>
                    <a:pt x="594" y="50"/>
                  </a:lnTo>
                  <a:lnTo>
                    <a:pt x="600" y="56"/>
                  </a:lnTo>
                  <a:lnTo>
                    <a:pt x="611" y="60"/>
                  </a:lnTo>
                  <a:lnTo>
                    <a:pt x="619" y="64"/>
                  </a:lnTo>
                  <a:lnTo>
                    <a:pt x="624" y="70"/>
                  </a:lnTo>
                  <a:lnTo>
                    <a:pt x="622" y="75"/>
                  </a:lnTo>
                  <a:lnTo>
                    <a:pt x="617" y="85"/>
                  </a:lnTo>
                  <a:lnTo>
                    <a:pt x="617" y="91"/>
                  </a:lnTo>
                  <a:lnTo>
                    <a:pt x="622" y="102"/>
                  </a:lnTo>
                  <a:lnTo>
                    <a:pt x="627" y="107"/>
                  </a:lnTo>
                  <a:lnTo>
                    <a:pt x="640" y="115"/>
                  </a:lnTo>
                  <a:lnTo>
                    <a:pt x="679" y="129"/>
                  </a:lnTo>
                  <a:lnTo>
                    <a:pt x="696" y="137"/>
                  </a:lnTo>
                  <a:lnTo>
                    <a:pt x="702" y="142"/>
                  </a:lnTo>
                  <a:lnTo>
                    <a:pt x="706" y="147"/>
                  </a:lnTo>
                  <a:lnTo>
                    <a:pt x="706" y="152"/>
                  </a:lnTo>
                  <a:lnTo>
                    <a:pt x="709" y="159"/>
                  </a:lnTo>
                  <a:lnTo>
                    <a:pt x="712" y="164"/>
                  </a:lnTo>
                  <a:lnTo>
                    <a:pt x="717" y="169"/>
                  </a:lnTo>
                  <a:lnTo>
                    <a:pt x="752" y="182"/>
                  </a:lnTo>
                  <a:lnTo>
                    <a:pt x="755" y="185"/>
                  </a:lnTo>
                  <a:lnTo>
                    <a:pt x="742" y="216"/>
                  </a:lnTo>
                  <a:lnTo>
                    <a:pt x="732" y="230"/>
                  </a:lnTo>
                  <a:lnTo>
                    <a:pt x="722" y="240"/>
                  </a:lnTo>
                  <a:lnTo>
                    <a:pt x="715" y="252"/>
                  </a:lnTo>
                  <a:lnTo>
                    <a:pt x="711" y="271"/>
                  </a:lnTo>
                  <a:lnTo>
                    <a:pt x="697" y="286"/>
                  </a:lnTo>
                  <a:lnTo>
                    <a:pt x="659" y="361"/>
                  </a:lnTo>
                  <a:lnTo>
                    <a:pt x="652" y="369"/>
                  </a:lnTo>
                  <a:lnTo>
                    <a:pt x="637" y="381"/>
                  </a:lnTo>
                  <a:lnTo>
                    <a:pt x="630" y="389"/>
                  </a:lnTo>
                  <a:lnTo>
                    <a:pt x="611" y="415"/>
                  </a:lnTo>
                  <a:lnTo>
                    <a:pt x="578" y="444"/>
                  </a:lnTo>
                  <a:lnTo>
                    <a:pt x="545" y="510"/>
                  </a:lnTo>
                  <a:lnTo>
                    <a:pt x="530" y="526"/>
                  </a:lnTo>
                  <a:lnTo>
                    <a:pt x="501" y="545"/>
                  </a:lnTo>
                  <a:lnTo>
                    <a:pt x="487" y="565"/>
                  </a:lnTo>
                  <a:lnTo>
                    <a:pt x="462" y="617"/>
                  </a:lnTo>
                  <a:lnTo>
                    <a:pt x="448" y="639"/>
                  </a:lnTo>
                  <a:lnTo>
                    <a:pt x="413" y="677"/>
                  </a:lnTo>
                  <a:lnTo>
                    <a:pt x="356" y="774"/>
                  </a:lnTo>
                  <a:lnTo>
                    <a:pt x="313" y="747"/>
                  </a:lnTo>
                  <a:lnTo>
                    <a:pt x="293" y="721"/>
                  </a:lnTo>
                  <a:lnTo>
                    <a:pt x="272" y="714"/>
                  </a:lnTo>
                  <a:lnTo>
                    <a:pt x="253" y="725"/>
                  </a:lnTo>
                  <a:lnTo>
                    <a:pt x="237" y="751"/>
                  </a:lnTo>
                  <a:lnTo>
                    <a:pt x="225" y="764"/>
                  </a:lnTo>
                  <a:lnTo>
                    <a:pt x="211" y="767"/>
                  </a:lnTo>
                  <a:lnTo>
                    <a:pt x="200" y="764"/>
                  </a:lnTo>
                  <a:lnTo>
                    <a:pt x="168" y="715"/>
                  </a:lnTo>
                  <a:lnTo>
                    <a:pt x="148" y="726"/>
                  </a:lnTo>
                  <a:lnTo>
                    <a:pt x="140" y="741"/>
                  </a:lnTo>
                  <a:lnTo>
                    <a:pt x="131" y="747"/>
                  </a:lnTo>
                  <a:lnTo>
                    <a:pt x="121" y="751"/>
                  </a:lnTo>
                  <a:lnTo>
                    <a:pt x="112" y="750"/>
                  </a:lnTo>
                  <a:lnTo>
                    <a:pt x="106" y="742"/>
                  </a:lnTo>
                  <a:lnTo>
                    <a:pt x="106" y="736"/>
                  </a:lnTo>
                  <a:lnTo>
                    <a:pt x="107" y="729"/>
                  </a:lnTo>
                  <a:lnTo>
                    <a:pt x="107" y="719"/>
                  </a:lnTo>
                  <a:lnTo>
                    <a:pt x="101" y="686"/>
                  </a:lnTo>
                  <a:lnTo>
                    <a:pt x="81" y="675"/>
                  </a:lnTo>
                  <a:lnTo>
                    <a:pt x="70" y="700"/>
                  </a:lnTo>
                  <a:lnTo>
                    <a:pt x="56" y="697"/>
                  </a:lnTo>
                  <a:lnTo>
                    <a:pt x="35" y="662"/>
                  </a:lnTo>
                  <a:lnTo>
                    <a:pt x="26" y="656"/>
                  </a:lnTo>
                  <a:lnTo>
                    <a:pt x="22" y="649"/>
                  </a:lnTo>
                  <a:lnTo>
                    <a:pt x="16" y="641"/>
                  </a:lnTo>
                  <a:lnTo>
                    <a:pt x="7" y="635"/>
                  </a:lnTo>
                  <a:lnTo>
                    <a:pt x="2" y="626"/>
                  </a:lnTo>
                  <a:lnTo>
                    <a:pt x="1" y="616"/>
                  </a:lnTo>
                  <a:lnTo>
                    <a:pt x="1" y="611"/>
                  </a:lnTo>
                  <a:lnTo>
                    <a:pt x="0" y="607"/>
                  </a:lnTo>
                  <a:lnTo>
                    <a:pt x="1" y="591"/>
                  </a:lnTo>
                  <a:lnTo>
                    <a:pt x="3" y="586"/>
                  </a:lnTo>
                  <a:lnTo>
                    <a:pt x="7" y="581"/>
                  </a:lnTo>
                  <a:lnTo>
                    <a:pt x="20" y="574"/>
                  </a:lnTo>
                  <a:lnTo>
                    <a:pt x="26" y="572"/>
                  </a:lnTo>
                  <a:lnTo>
                    <a:pt x="35" y="566"/>
                  </a:lnTo>
                  <a:lnTo>
                    <a:pt x="40" y="561"/>
                  </a:lnTo>
                  <a:lnTo>
                    <a:pt x="42" y="554"/>
                  </a:lnTo>
                  <a:lnTo>
                    <a:pt x="45" y="542"/>
                  </a:lnTo>
                  <a:lnTo>
                    <a:pt x="46" y="539"/>
                  </a:lnTo>
                  <a:lnTo>
                    <a:pt x="50" y="537"/>
                  </a:lnTo>
                  <a:lnTo>
                    <a:pt x="55" y="539"/>
                  </a:lnTo>
                  <a:lnTo>
                    <a:pt x="63" y="539"/>
                  </a:lnTo>
                  <a:lnTo>
                    <a:pt x="85" y="535"/>
                  </a:lnTo>
                  <a:lnTo>
                    <a:pt x="123" y="516"/>
                  </a:lnTo>
                  <a:lnTo>
                    <a:pt x="125" y="511"/>
                  </a:lnTo>
                  <a:lnTo>
                    <a:pt x="121" y="496"/>
                  </a:lnTo>
                  <a:lnTo>
                    <a:pt x="122" y="490"/>
                  </a:lnTo>
                  <a:lnTo>
                    <a:pt x="125" y="485"/>
                  </a:lnTo>
                  <a:lnTo>
                    <a:pt x="134" y="475"/>
                  </a:lnTo>
                  <a:lnTo>
                    <a:pt x="141" y="470"/>
                  </a:lnTo>
                  <a:lnTo>
                    <a:pt x="146" y="462"/>
                  </a:lnTo>
                  <a:lnTo>
                    <a:pt x="149" y="456"/>
                  </a:lnTo>
                  <a:lnTo>
                    <a:pt x="150" y="445"/>
                  </a:lnTo>
                  <a:lnTo>
                    <a:pt x="156" y="433"/>
                  </a:lnTo>
                  <a:lnTo>
                    <a:pt x="159" y="422"/>
                  </a:lnTo>
                  <a:lnTo>
                    <a:pt x="159" y="402"/>
                  </a:lnTo>
                  <a:lnTo>
                    <a:pt x="160" y="397"/>
                  </a:lnTo>
                  <a:lnTo>
                    <a:pt x="162" y="393"/>
                  </a:lnTo>
                  <a:lnTo>
                    <a:pt x="169" y="393"/>
                  </a:lnTo>
                  <a:lnTo>
                    <a:pt x="179" y="398"/>
                  </a:lnTo>
                  <a:lnTo>
                    <a:pt x="186" y="400"/>
                  </a:lnTo>
                  <a:lnTo>
                    <a:pt x="194" y="400"/>
                  </a:lnTo>
                  <a:lnTo>
                    <a:pt x="204" y="397"/>
                  </a:lnTo>
                  <a:lnTo>
                    <a:pt x="214" y="396"/>
                  </a:lnTo>
                  <a:lnTo>
                    <a:pt x="219" y="395"/>
                  </a:lnTo>
                  <a:lnTo>
                    <a:pt x="240" y="385"/>
                  </a:lnTo>
                  <a:lnTo>
                    <a:pt x="244" y="381"/>
                  </a:lnTo>
                  <a:lnTo>
                    <a:pt x="247" y="376"/>
                  </a:lnTo>
                  <a:lnTo>
                    <a:pt x="249" y="368"/>
                  </a:lnTo>
                  <a:lnTo>
                    <a:pt x="246" y="357"/>
                  </a:lnTo>
                  <a:lnTo>
                    <a:pt x="247" y="353"/>
                  </a:lnTo>
                  <a:lnTo>
                    <a:pt x="260" y="343"/>
                  </a:lnTo>
                  <a:lnTo>
                    <a:pt x="266" y="337"/>
                  </a:lnTo>
                  <a:lnTo>
                    <a:pt x="275" y="322"/>
                  </a:lnTo>
                  <a:lnTo>
                    <a:pt x="281" y="316"/>
                  </a:lnTo>
                  <a:lnTo>
                    <a:pt x="302" y="302"/>
                  </a:lnTo>
                  <a:lnTo>
                    <a:pt x="306" y="297"/>
                  </a:lnTo>
                  <a:lnTo>
                    <a:pt x="306" y="290"/>
                  </a:lnTo>
                  <a:lnTo>
                    <a:pt x="304" y="285"/>
                  </a:lnTo>
                  <a:lnTo>
                    <a:pt x="301" y="280"/>
                  </a:lnTo>
                  <a:lnTo>
                    <a:pt x="293" y="271"/>
                  </a:lnTo>
                  <a:lnTo>
                    <a:pt x="290" y="267"/>
                  </a:lnTo>
                  <a:lnTo>
                    <a:pt x="282" y="261"/>
                  </a:lnTo>
                  <a:lnTo>
                    <a:pt x="279" y="257"/>
                  </a:lnTo>
                  <a:lnTo>
                    <a:pt x="276" y="246"/>
                  </a:lnTo>
                  <a:lnTo>
                    <a:pt x="280" y="241"/>
                  </a:lnTo>
                  <a:lnTo>
                    <a:pt x="285" y="235"/>
                  </a:lnTo>
                  <a:lnTo>
                    <a:pt x="311" y="225"/>
                  </a:lnTo>
                  <a:lnTo>
                    <a:pt x="313" y="222"/>
                  </a:lnTo>
                  <a:lnTo>
                    <a:pt x="313" y="217"/>
                  </a:lnTo>
                  <a:lnTo>
                    <a:pt x="309" y="203"/>
                  </a:lnTo>
                  <a:lnTo>
                    <a:pt x="300" y="198"/>
                  </a:lnTo>
                  <a:lnTo>
                    <a:pt x="300" y="188"/>
                  </a:lnTo>
                  <a:lnTo>
                    <a:pt x="302" y="178"/>
                  </a:lnTo>
                  <a:lnTo>
                    <a:pt x="302" y="168"/>
                  </a:lnTo>
                  <a:lnTo>
                    <a:pt x="300" y="158"/>
                  </a:lnTo>
                  <a:lnTo>
                    <a:pt x="298" y="148"/>
                  </a:lnTo>
                  <a:lnTo>
                    <a:pt x="301" y="137"/>
                  </a:lnTo>
                  <a:lnTo>
                    <a:pt x="301" y="127"/>
                  </a:lnTo>
                  <a:lnTo>
                    <a:pt x="297" y="125"/>
                  </a:lnTo>
                  <a:lnTo>
                    <a:pt x="294" y="125"/>
                  </a:lnTo>
                  <a:lnTo>
                    <a:pt x="284" y="127"/>
                  </a:lnTo>
                  <a:lnTo>
                    <a:pt x="275" y="126"/>
                  </a:lnTo>
                  <a:lnTo>
                    <a:pt x="270" y="122"/>
                  </a:lnTo>
                  <a:lnTo>
                    <a:pt x="266" y="122"/>
                  </a:lnTo>
                  <a:lnTo>
                    <a:pt x="257" y="117"/>
                  </a:lnTo>
                  <a:lnTo>
                    <a:pt x="255" y="113"/>
                  </a:lnTo>
                  <a:lnTo>
                    <a:pt x="256" y="97"/>
                  </a:lnTo>
                  <a:lnTo>
                    <a:pt x="255" y="92"/>
                  </a:lnTo>
                  <a:lnTo>
                    <a:pt x="255" y="87"/>
                  </a:lnTo>
                  <a:lnTo>
                    <a:pt x="260" y="82"/>
                  </a:lnTo>
                  <a:lnTo>
                    <a:pt x="266" y="78"/>
                  </a:lnTo>
                  <a:lnTo>
                    <a:pt x="272" y="77"/>
                  </a:lnTo>
                  <a:lnTo>
                    <a:pt x="282" y="78"/>
                  </a:lnTo>
                  <a:lnTo>
                    <a:pt x="291" y="85"/>
                  </a:lnTo>
                  <a:lnTo>
                    <a:pt x="296" y="85"/>
                  </a:lnTo>
                  <a:lnTo>
                    <a:pt x="302" y="81"/>
                  </a:lnTo>
                  <a:lnTo>
                    <a:pt x="306" y="77"/>
                  </a:lnTo>
                  <a:lnTo>
                    <a:pt x="335" y="61"/>
                  </a:lnTo>
                  <a:lnTo>
                    <a:pt x="337" y="57"/>
                  </a:lnTo>
                  <a:lnTo>
                    <a:pt x="337" y="46"/>
                  </a:lnTo>
                  <a:lnTo>
                    <a:pt x="338" y="35"/>
                  </a:lnTo>
                  <a:lnTo>
                    <a:pt x="341" y="25"/>
                  </a:lnTo>
                  <a:lnTo>
                    <a:pt x="346" y="15"/>
                  </a:lnTo>
                  <a:lnTo>
                    <a:pt x="356" y="2"/>
                  </a:lnTo>
                  <a:lnTo>
                    <a:pt x="362" y="0"/>
                  </a:lnTo>
                  <a:lnTo>
                    <a:pt x="372" y="0"/>
                  </a:lnTo>
                  <a:lnTo>
                    <a:pt x="380" y="3"/>
                  </a:lnTo>
                  <a:lnTo>
                    <a:pt x="385" y="7"/>
                  </a:lnTo>
                  <a:lnTo>
                    <a:pt x="390" y="11"/>
                  </a:lnTo>
                  <a:lnTo>
                    <a:pt x="397" y="18"/>
                  </a:lnTo>
                  <a:lnTo>
                    <a:pt x="423" y="35"/>
                  </a:lnTo>
                  <a:lnTo>
                    <a:pt x="437" y="38"/>
                  </a:lnTo>
                  <a:lnTo>
                    <a:pt x="465" y="36"/>
                  </a:lnTo>
                  <a:lnTo>
                    <a:pt x="475" y="38"/>
                  </a:lnTo>
                  <a:lnTo>
                    <a:pt x="478" y="43"/>
                  </a:lnTo>
                  <a:lnTo>
                    <a:pt x="480" y="48"/>
                  </a:lnTo>
                  <a:lnTo>
                    <a:pt x="481" y="58"/>
                  </a:lnTo>
                  <a:lnTo>
                    <a:pt x="485" y="60"/>
                  </a:lnTo>
                  <a:lnTo>
                    <a:pt x="490" y="61"/>
                  </a:lnTo>
                  <a:lnTo>
                    <a:pt x="496" y="56"/>
                  </a:lnTo>
                  <a:lnTo>
                    <a:pt x="500" y="52"/>
                  </a:lnTo>
                  <a:lnTo>
                    <a:pt x="510" y="46"/>
                  </a:lnTo>
                  <a:lnTo>
                    <a:pt x="516" y="43"/>
                  </a:lnTo>
                  <a:lnTo>
                    <a:pt x="523" y="42"/>
                  </a:lnTo>
                  <a:lnTo>
                    <a:pt x="545" y="41"/>
                  </a:lnTo>
                  <a:lnTo>
                    <a:pt x="560" y="35"/>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3" name="Ciudad Real" descr="{&quot;Key&quot;:&quot;ciudad real&quot;,&quot;Name&quot;:&quot;Ciudad Real&quot;,&quot;Value&quot;:1.0,&quot;Formula&quot;:&quot;&quot;,&quot;Text&quot;:&quot;1&quot;,&quot;HasValue&quot;:true}">
              <a:extLst>
                <a:ext uri="{FF2B5EF4-FFF2-40B4-BE49-F238E27FC236}">
                  <a16:creationId xmlns:a16="http://schemas.microsoft.com/office/drawing/2014/main" id="{CA02A10C-AF53-37DA-3184-06C27AA42702}"/>
                </a:ext>
              </a:extLst>
            </p:cNvPr>
            <p:cNvSpPr>
              <a:spLocks noEditPoints="1"/>
            </p:cNvSpPr>
            <p:nvPr/>
          </p:nvSpPr>
          <p:spPr bwMode="auto">
            <a:xfrm>
              <a:off x="2790149" y="4094762"/>
              <a:ext cx="913818" cy="604961"/>
            </a:xfrm>
            <a:custGeom>
              <a:avLst/>
              <a:gdLst>
                <a:gd name="T0" fmla="*/ 156 w 1326"/>
                <a:gd name="T1" fmla="*/ 54 h 877"/>
                <a:gd name="T2" fmla="*/ 144 w 1326"/>
                <a:gd name="T3" fmla="*/ 127 h 877"/>
                <a:gd name="T4" fmla="*/ 52 w 1326"/>
                <a:gd name="T5" fmla="*/ 133 h 877"/>
                <a:gd name="T6" fmla="*/ 1223 w 1326"/>
                <a:gd name="T7" fmla="*/ 159 h 877"/>
                <a:gd name="T8" fmla="*/ 1237 w 1326"/>
                <a:gd name="T9" fmla="*/ 364 h 877"/>
                <a:gd name="T10" fmla="*/ 1240 w 1326"/>
                <a:gd name="T11" fmla="*/ 479 h 877"/>
                <a:gd name="T12" fmla="*/ 1326 w 1326"/>
                <a:gd name="T13" fmla="*/ 609 h 877"/>
                <a:gd name="T14" fmla="*/ 1268 w 1326"/>
                <a:gd name="T15" fmla="*/ 694 h 877"/>
                <a:gd name="T16" fmla="*/ 1245 w 1326"/>
                <a:gd name="T17" fmla="*/ 764 h 877"/>
                <a:gd name="T18" fmla="*/ 1183 w 1326"/>
                <a:gd name="T19" fmla="*/ 789 h 877"/>
                <a:gd name="T20" fmla="*/ 1133 w 1326"/>
                <a:gd name="T21" fmla="*/ 803 h 877"/>
                <a:gd name="T22" fmla="*/ 1100 w 1326"/>
                <a:gd name="T23" fmla="*/ 784 h 877"/>
                <a:gd name="T24" fmla="*/ 1053 w 1326"/>
                <a:gd name="T25" fmla="*/ 803 h 877"/>
                <a:gd name="T26" fmla="*/ 959 w 1326"/>
                <a:gd name="T27" fmla="*/ 782 h 877"/>
                <a:gd name="T28" fmla="*/ 920 w 1326"/>
                <a:gd name="T29" fmla="*/ 808 h 877"/>
                <a:gd name="T30" fmla="*/ 869 w 1326"/>
                <a:gd name="T31" fmla="*/ 837 h 877"/>
                <a:gd name="T32" fmla="*/ 831 w 1326"/>
                <a:gd name="T33" fmla="*/ 809 h 877"/>
                <a:gd name="T34" fmla="*/ 805 w 1326"/>
                <a:gd name="T35" fmla="*/ 831 h 877"/>
                <a:gd name="T36" fmla="*/ 745 w 1326"/>
                <a:gd name="T37" fmla="*/ 831 h 877"/>
                <a:gd name="T38" fmla="*/ 698 w 1326"/>
                <a:gd name="T39" fmla="*/ 820 h 877"/>
                <a:gd name="T40" fmla="*/ 653 w 1326"/>
                <a:gd name="T41" fmla="*/ 850 h 877"/>
                <a:gd name="T42" fmla="*/ 428 w 1326"/>
                <a:gd name="T43" fmla="*/ 839 h 877"/>
                <a:gd name="T44" fmla="*/ 371 w 1326"/>
                <a:gd name="T45" fmla="*/ 860 h 877"/>
                <a:gd name="T46" fmla="*/ 304 w 1326"/>
                <a:gd name="T47" fmla="*/ 818 h 877"/>
                <a:gd name="T48" fmla="*/ 246 w 1326"/>
                <a:gd name="T49" fmla="*/ 777 h 877"/>
                <a:gd name="T50" fmla="*/ 205 w 1326"/>
                <a:gd name="T51" fmla="*/ 737 h 877"/>
                <a:gd name="T52" fmla="*/ 149 w 1326"/>
                <a:gd name="T53" fmla="*/ 702 h 877"/>
                <a:gd name="T54" fmla="*/ 98 w 1326"/>
                <a:gd name="T55" fmla="*/ 680 h 877"/>
                <a:gd name="T56" fmla="*/ 69 w 1326"/>
                <a:gd name="T57" fmla="*/ 638 h 877"/>
                <a:gd name="T58" fmla="*/ 21 w 1326"/>
                <a:gd name="T59" fmla="*/ 602 h 877"/>
                <a:gd name="T60" fmla="*/ 60 w 1326"/>
                <a:gd name="T61" fmla="*/ 505 h 877"/>
                <a:gd name="T62" fmla="*/ 106 w 1326"/>
                <a:gd name="T63" fmla="*/ 490 h 877"/>
                <a:gd name="T64" fmla="*/ 88 w 1326"/>
                <a:gd name="T65" fmla="*/ 448 h 877"/>
                <a:gd name="T66" fmla="*/ 51 w 1326"/>
                <a:gd name="T67" fmla="*/ 407 h 877"/>
                <a:gd name="T68" fmla="*/ 65 w 1326"/>
                <a:gd name="T69" fmla="*/ 378 h 877"/>
                <a:gd name="T70" fmla="*/ 114 w 1326"/>
                <a:gd name="T71" fmla="*/ 374 h 877"/>
                <a:gd name="T72" fmla="*/ 94 w 1326"/>
                <a:gd name="T73" fmla="*/ 338 h 877"/>
                <a:gd name="T74" fmla="*/ 124 w 1326"/>
                <a:gd name="T75" fmla="*/ 274 h 877"/>
                <a:gd name="T76" fmla="*/ 171 w 1326"/>
                <a:gd name="T77" fmla="*/ 273 h 877"/>
                <a:gd name="T78" fmla="*/ 181 w 1326"/>
                <a:gd name="T79" fmla="*/ 253 h 877"/>
                <a:gd name="T80" fmla="*/ 159 w 1326"/>
                <a:gd name="T81" fmla="*/ 182 h 877"/>
                <a:gd name="T82" fmla="*/ 198 w 1326"/>
                <a:gd name="T83" fmla="*/ 127 h 877"/>
                <a:gd name="T84" fmla="*/ 251 w 1326"/>
                <a:gd name="T85" fmla="*/ 60 h 877"/>
                <a:gd name="T86" fmla="*/ 298 w 1326"/>
                <a:gd name="T87" fmla="*/ 53 h 877"/>
                <a:gd name="T88" fmla="*/ 334 w 1326"/>
                <a:gd name="T89" fmla="*/ 50 h 877"/>
                <a:gd name="T90" fmla="*/ 551 w 1326"/>
                <a:gd name="T91" fmla="*/ 0 h 877"/>
                <a:gd name="T92" fmla="*/ 533 w 1326"/>
                <a:gd name="T93" fmla="*/ 39 h 877"/>
                <a:gd name="T94" fmla="*/ 539 w 1326"/>
                <a:gd name="T95" fmla="*/ 80 h 877"/>
                <a:gd name="T96" fmla="*/ 498 w 1326"/>
                <a:gd name="T97" fmla="*/ 157 h 877"/>
                <a:gd name="T98" fmla="*/ 593 w 1326"/>
                <a:gd name="T99" fmla="*/ 200 h 877"/>
                <a:gd name="T100" fmla="*/ 696 w 1326"/>
                <a:gd name="T101" fmla="*/ 203 h 877"/>
                <a:gd name="T102" fmla="*/ 865 w 1326"/>
                <a:gd name="T103" fmla="*/ 168 h 877"/>
                <a:gd name="T104" fmla="*/ 960 w 1326"/>
                <a:gd name="T105" fmla="*/ 82 h 877"/>
                <a:gd name="T106" fmla="*/ 1116 w 1326"/>
                <a:gd name="T107" fmla="*/ 87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6" h="877">
                  <a:moveTo>
                    <a:pt x="52" y="133"/>
                  </a:moveTo>
                  <a:lnTo>
                    <a:pt x="77" y="43"/>
                  </a:lnTo>
                  <a:lnTo>
                    <a:pt x="90" y="18"/>
                  </a:lnTo>
                  <a:lnTo>
                    <a:pt x="97" y="16"/>
                  </a:lnTo>
                  <a:lnTo>
                    <a:pt x="145" y="42"/>
                  </a:lnTo>
                  <a:lnTo>
                    <a:pt x="156" y="54"/>
                  </a:lnTo>
                  <a:lnTo>
                    <a:pt x="161" y="62"/>
                  </a:lnTo>
                  <a:lnTo>
                    <a:pt x="164" y="72"/>
                  </a:lnTo>
                  <a:lnTo>
                    <a:pt x="150" y="103"/>
                  </a:lnTo>
                  <a:lnTo>
                    <a:pt x="158" y="114"/>
                  </a:lnTo>
                  <a:lnTo>
                    <a:pt x="150" y="124"/>
                  </a:lnTo>
                  <a:lnTo>
                    <a:pt x="144" y="127"/>
                  </a:lnTo>
                  <a:lnTo>
                    <a:pt x="124" y="133"/>
                  </a:lnTo>
                  <a:lnTo>
                    <a:pt x="111" y="139"/>
                  </a:lnTo>
                  <a:lnTo>
                    <a:pt x="108" y="141"/>
                  </a:lnTo>
                  <a:lnTo>
                    <a:pt x="100" y="143"/>
                  </a:lnTo>
                  <a:lnTo>
                    <a:pt x="86" y="151"/>
                  </a:lnTo>
                  <a:lnTo>
                    <a:pt x="52" y="133"/>
                  </a:lnTo>
                  <a:close/>
                  <a:moveTo>
                    <a:pt x="1168" y="75"/>
                  </a:moveTo>
                  <a:lnTo>
                    <a:pt x="1180" y="105"/>
                  </a:lnTo>
                  <a:lnTo>
                    <a:pt x="1202" y="134"/>
                  </a:lnTo>
                  <a:lnTo>
                    <a:pt x="1187" y="150"/>
                  </a:lnTo>
                  <a:lnTo>
                    <a:pt x="1194" y="162"/>
                  </a:lnTo>
                  <a:lnTo>
                    <a:pt x="1223" y="159"/>
                  </a:lnTo>
                  <a:lnTo>
                    <a:pt x="1246" y="129"/>
                  </a:lnTo>
                  <a:lnTo>
                    <a:pt x="1273" y="185"/>
                  </a:lnTo>
                  <a:lnTo>
                    <a:pt x="1283" y="222"/>
                  </a:lnTo>
                  <a:lnTo>
                    <a:pt x="1216" y="318"/>
                  </a:lnTo>
                  <a:lnTo>
                    <a:pt x="1235" y="353"/>
                  </a:lnTo>
                  <a:lnTo>
                    <a:pt x="1237" y="364"/>
                  </a:lnTo>
                  <a:lnTo>
                    <a:pt x="1237" y="375"/>
                  </a:lnTo>
                  <a:lnTo>
                    <a:pt x="1196" y="453"/>
                  </a:lnTo>
                  <a:lnTo>
                    <a:pt x="1194" y="463"/>
                  </a:lnTo>
                  <a:lnTo>
                    <a:pt x="1201" y="477"/>
                  </a:lnTo>
                  <a:lnTo>
                    <a:pt x="1214" y="480"/>
                  </a:lnTo>
                  <a:lnTo>
                    <a:pt x="1240" y="479"/>
                  </a:lnTo>
                  <a:lnTo>
                    <a:pt x="1262" y="498"/>
                  </a:lnTo>
                  <a:lnTo>
                    <a:pt x="1268" y="548"/>
                  </a:lnTo>
                  <a:lnTo>
                    <a:pt x="1278" y="563"/>
                  </a:lnTo>
                  <a:lnTo>
                    <a:pt x="1305" y="573"/>
                  </a:lnTo>
                  <a:lnTo>
                    <a:pt x="1323" y="597"/>
                  </a:lnTo>
                  <a:lnTo>
                    <a:pt x="1326" y="609"/>
                  </a:lnTo>
                  <a:lnTo>
                    <a:pt x="1326" y="622"/>
                  </a:lnTo>
                  <a:lnTo>
                    <a:pt x="1313" y="663"/>
                  </a:lnTo>
                  <a:lnTo>
                    <a:pt x="1306" y="673"/>
                  </a:lnTo>
                  <a:lnTo>
                    <a:pt x="1280" y="680"/>
                  </a:lnTo>
                  <a:lnTo>
                    <a:pt x="1273" y="687"/>
                  </a:lnTo>
                  <a:lnTo>
                    <a:pt x="1268" y="694"/>
                  </a:lnTo>
                  <a:lnTo>
                    <a:pt x="1259" y="717"/>
                  </a:lnTo>
                  <a:lnTo>
                    <a:pt x="1269" y="735"/>
                  </a:lnTo>
                  <a:lnTo>
                    <a:pt x="1264" y="745"/>
                  </a:lnTo>
                  <a:lnTo>
                    <a:pt x="1258" y="752"/>
                  </a:lnTo>
                  <a:lnTo>
                    <a:pt x="1256" y="754"/>
                  </a:lnTo>
                  <a:lnTo>
                    <a:pt x="1245" y="764"/>
                  </a:lnTo>
                  <a:lnTo>
                    <a:pt x="1215" y="781"/>
                  </a:lnTo>
                  <a:lnTo>
                    <a:pt x="1206" y="788"/>
                  </a:lnTo>
                  <a:lnTo>
                    <a:pt x="1205" y="792"/>
                  </a:lnTo>
                  <a:lnTo>
                    <a:pt x="1196" y="797"/>
                  </a:lnTo>
                  <a:lnTo>
                    <a:pt x="1194" y="797"/>
                  </a:lnTo>
                  <a:lnTo>
                    <a:pt x="1183" y="789"/>
                  </a:lnTo>
                  <a:lnTo>
                    <a:pt x="1171" y="785"/>
                  </a:lnTo>
                  <a:lnTo>
                    <a:pt x="1164" y="787"/>
                  </a:lnTo>
                  <a:lnTo>
                    <a:pt x="1156" y="787"/>
                  </a:lnTo>
                  <a:lnTo>
                    <a:pt x="1148" y="792"/>
                  </a:lnTo>
                  <a:lnTo>
                    <a:pt x="1136" y="799"/>
                  </a:lnTo>
                  <a:lnTo>
                    <a:pt x="1133" y="803"/>
                  </a:lnTo>
                  <a:lnTo>
                    <a:pt x="1131" y="817"/>
                  </a:lnTo>
                  <a:lnTo>
                    <a:pt x="1129" y="819"/>
                  </a:lnTo>
                  <a:lnTo>
                    <a:pt x="1124" y="816"/>
                  </a:lnTo>
                  <a:lnTo>
                    <a:pt x="1116" y="807"/>
                  </a:lnTo>
                  <a:lnTo>
                    <a:pt x="1104" y="788"/>
                  </a:lnTo>
                  <a:lnTo>
                    <a:pt x="1100" y="784"/>
                  </a:lnTo>
                  <a:lnTo>
                    <a:pt x="1095" y="782"/>
                  </a:lnTo>
                  <a:lnTo>
                    <a:pt x="1090" y="782"/>
                  </a:lnTo>
                  <a:lnTo>
                    <a:pt x="1075" y="792"/>
                  </a:lnTo>
                  <a:lnTo>
                    <a:pt x="1066" y="799"/>
                  </a:lnTo>
                  <a:lnTo>
                    <a:pt x="1061" y="802"/>
                  </a:lnTo>
                  <a:lnTo>
                    <a:pt x="1053" y="803"/>
                  </a:lnTo>
                  <a:lnTo>
                    <a:pt x="1034" y="797"/>
                  </a:lnTo>
                  <a:lnTo>
                    <a:pt x="996" y="796"/>
                  </a:lnTo>
                  <a:lnTo>
                    <a:pt x="985" y="793"/>
                  </a:lnTo>
                  <a:lnTo>
                    <a:pt x="975" y="789"/>
                  </a:lnTo>
                  <a:lnTo>
                    <a:pt x="965" y="784"/>
                  </a:lnTo>
                  <a:lnTo>
                    <a:pt x="959" y="782"/>
                  </a:lnTo>
                  <a:lnTo>
                    <a:pt x="950" y="782"/>
                  </a:lnTo>
                  <a:lnTo>
                    <a:pt x="938" y="783"/>
                  </a:lnTo>
                  <a:lnTo>
                    <a:pt x="929" y="788"/>
                  </a:lnTo>
                  <a:lnTo>
                    <a:pt x="924" y="793"/>
                  </a:lnTo>
                  <a:lnTo>
                    <a:pt x="923" y="798"/>
                  </a:lnTo>
                  <a:lnTo>
                    <a:pt x="920" y="808"/>
                  </a:lnTo>
                  <a:lnTo>
                    <a:pt x="918" y="813"/>
                  </a:lnTo>
                  <a:lnTo>
                    <a:pt x="910" y="822"/>
                  </a:lnTo>
                  <a:lnTo>
                    <a:pt x="896" y="829"/>
                  </a:lnTo>
                  <a:lnTo>
                    <a:pt x="883" y="836"/>
                  </a:lnTo>
                  <a:lnTo>
                    <a:pt x="875" y="837"/>
                  </a:lnTo>
                  <a:lnTo>
                    <a:pt x="869" y="837"/>
                  </a:lnTo>
                  <a:lnTo>
                    <a:pt x="860" y="836"/>
                  </a:lnTo>
                  <a:lnTo>
                    <a:pt x="841" y="831"/>
                  </a:lnTo>
                  <a:lnTo>
                    <a:pt x="838" y="828"/>
                  </a:lnTo>
                  <a:lnTo>
                    <a:pt x="835" y="823"/>
                  </a:lnTo>
                  <a:lnTo>
                    <a:pt x="833" y="813"/>
                  </a:lnTo>
                  <a:lnTo>
                    <a:pt x="831" y="809"/>
                  </a:lnTo>
                  <a:lnTo>
                    <a:pt x="828" y="806"/>
                  </a:lnTo>
                  <a:lnTo>
                    <a:pt x="823" y="804"/>
                  </a:lnTo>
                  <a:lnTo>
                    <a:pt x="815" y="806"/>
                  </a:lnTo>
                  <a:lnTo>
                    <a:pt x="809" y="809"/>
                  </a:lnTo>
                  <a:lnTo>
                    <a:pt x="808" y="814"/>
                  </a:lnTo>
                  <a:lnTo>
                    <a:pt x="805" y="831"/>
                  </a:lnTo>
                  <a:lnTo>
                    <a:pt x="803" y="834"/>
                  </a:lnTo>
                  <a:lnTo>
                    <a:pt x="799" y="837"/>
                  </a:lnTo>
                  <a:lnTo>
                    <a:pt x="793" y="839"/>
                  </a:lnTo>
                  <a:lnTo>
                    <a:pt x="785" y="839"/>
                  </a:lnTo>
                  <a:lnTo>
                    <a:pt x="756" y="832"/>
                  </a:lnTo>
                  <a:lnTo>
                    <a:pt x="745" y="831"/>
                  </a:lnTo>
                  <a:lnTo>
                    <a:pt x="731" y="824"/>
                  </a:lnTo>
                  <a:lnTo>
                    <a:pt x="726" y="824"/>
                  </a:lnTo>
                  <a:lnTo>
                    <a:pt x="719" y="827"/>
                  </a:lnTo>
                  <a:lnTo>
                    <a:pt x="709" y="824"/>
                  </a:lnTo>
                  <a:lnTo>
                    <a:pt x="704" y="822"/>
                  </a:lnTo>
                  <a:lnTo>
                    <a:pt x="698" y="820"/>
                  </a:lnTo>
                  <a:lnTo>
                    <a:pt x="689" y="822"/>
                  </a:lnTo>
                  <a:lnTo>
                    <a:pt x="681" y="824"/>
                  </a:lnTo>
                  <a:lnTo>
                    <a:pt x="673" y="829"/>
                  </a:lnTo>
                  <a:lnTo>
                    <a:pt x="669" y="834"/>
                  </a:lnTo>
                  <a:lnTo>
                    <a:pt x="664" y="845"/>
                  </a:lnTo>
                  <a:lnTo>
                    <a:pt x="653" y="850"/>
                  </a:lnTo>
                  <a:lnTo>
                    <a:pt x="634" y="853"/>
                  </a:lnTo>
                  <a:lnTo>
                    <a:pt x="476" y="847"/>
                  </a:lnTo>
                  <a:lnTo>
                    <a:pt x="455" y="839"/>
                  </a:lnTo>
                  <a:lnTo>
                    <a:pt x="444" y="838"/>
                  </a:lnTo>
                  <a:lnTo>
                    <a:pt x="433" y="838"/>
                  </a:lnTo>
                  <a:lnTo>
                    <a:pt x="428" y="839"/>
                  </a:lnTo>
                  <a:lnTo>
                    <a:pt x="424" y="844"/>
                  </a:lnTo>
                  <a:lnTo>
                    <a:pt x="423" y="848"/>
                  </a:lnTo>
                  <a:lnTo>
                    <a:pt x="423" y="874"/>
                  </a:lnTo>
                  <a:lnTo>
                    <a:pt x="414" y="877"/>
                  </a:lnTo>
                  <a:lnTo>
                    <a:pt x="408" y="875"/>
                  </a:lnTo>
                  <a:lnTo>
                    <a:pt x="371" y="860"/>
                  </a:lnTo>
                  <a:lnTo>
                    <a:pt x="364" y="859"/>
                  </a:lnTo>
                  <a:lnTo>
                    <a:pt x="350" y="854"/>
                  </a:lnTo>
                  <a:lnTo>
                    <a:pt x="325" y="843"/>
                  </a:lnTo>
                  <a:lnTo>
                    <a:pt x="320" y="839"/>
                  </a:lnTo>
                  <a:lnTo>
                    <a:pt x="315" y="833"/>
                  </a:lnTo>
                  <a:lnTo>
                    <a:pt x="304" y="818"/>
                  </a:lnTo>
                  <a:lnTo>
                    <a:pt x="288" y="800"/>
                  </a:lnTo>
                  <a:lnTo>
                    <a:pt x="274" y="788"/>
                  </a:lnTo>
                  <a:lnTo>
                    <a:pt x="265" y="784"/>
                  </a:lnTo>
                  <a:lnTo>
                    <a:pt x="259" y="778"/>
                  </a:lnTo>
                  <a:lnTo>
                    <a:pt x="251" y="777"/>
                  </a:lnTo>
                  <a:lnTo>
                    <a:pt x="246" y="777"/>
                  </a:lnTo>
                  <a:lnTo>
                    <a:pt x="241" y="774"/>
                  </a:lnTo>
                  <a:lnTo>
                    <a:pt x="236" y="772"/>
                  </a:lnTo>
                  <a:lnTo>
                    <a:pt x="231" y="765"/>
                  </a:lnTo>
                  <a:lnTo>
                    <a:pt x="229" y="759"/>
                  </a:lnTo>
                  <a:lnTo>
                    <a:pt x="224" y="753"/>
                  </a:lnTo>
                  <a:lnTo>
                    <a:pt x="205" y="737"/>
                  </a:lnTo>
                  <a:lnTo>
                    <a:pt x="195" y="733"/>
                  </a:lnTo>
                  <a:lnTo>
                    <a:pt x="185" y="727"/>
                  </a:lnTo>
                  <a:lnTo>
                    <a:pt x="183" y="723"/>
                  </a:lnTo>
                  <a:lnTo>
                    <a:pt x="179" y="718"/>
                  </a:lnTo>
                  <a:lnTo>
                    <a:pt x="171" y="713"/>
                  </a:lnTo>
                  <a:lnTo>
                    <a:pt x="149" y="702"/>
                  </a:lnTo>
                  <a:lnTo>
                    <a:pt x="141" y="700"/>
                  </a:lnTo>
                  <a:lnTo>
                    <a:pt x="130" y="699"/>
                  </a:lnTo>
                  <a:lnTo>
                    <a:pt x="124" y="698"/>
                  </a:lnTo>
                  <a:lnTo>
                    <a:pt x="115" y="695"/>
                  </a:lnTo>
                  <a:lnTo>
                    <a:pt x="104" y="688"/>
                  </a:lnTo>
                  <a:lnTo>
                    <a:pt x="98" y="680"/>
                  </a:lnTo>
                  <a:lnTo>
                    <a:pt x="95" y="673"/>
                  </a:lnTo>
                  <a:lnTo>
                    <a:pt x="94" y="657"/>
                  </a:lnTo>
                  <a:lnTo>
                    <a:pt x="93" y="645"/>
                  </a:lnTo>
                  <a:lnTo>
                    <a:pt x="90" y="640"/>
                  </a:lnTo>
                  <a:lnTo>
                    <a:pt x="85" y="638"/>
                  </a:lnTo>
                  <a:lnTo>
                    <a:pt x="69" y="638"/>
                  </a:lnTo>
                  <a:lnTo>
                    <a:pt x="63" y="639"/>
                  </a:lnTo>
                  <a:lnTo>
                    <a:pt x="50" y="639"/>
                  </a:lnTo>
                  <a:lnTo>
                    <a:pt x="33" y="632"/>
                  </a:lnTo>
                  <a:lnTo>
                    <a:pt x="0" y="607"/>
                  </a:lnTo>
                  <a:lnTo>
                    <a:pt x="9" y="603"/>
                  </a:lnTo>
                  <a:lnTo>
                    <a:pt x="21" y="602"/>
                  </a:lnTo>
                  <a:lnTo>
                    <a:pt x="25" y="599"/>
                  </a:lnTo>
                  <a:lnTo>
                    <a:pt x="31" y="592"/>
                  </a:lnTo>
                  <a:lnTo>
                    <a:pt x="36" y="578"/>
                  </a:lnTo>
                  <a:lnTo>
                    <a:pt x="50" y="528"/>
                  </a:lnTo>
                  <a:lnTo>
                    <a:pt x="53" y="522"/>
                  </a:lnTo>
                  <a:lnTo>
                    <a:pt x="60" y="505"/>
                  </a:lnTo>
                  <a:lnTo>
                    <a:pt x="69" y="498"/>
                  </a:lnTo>
                  <a:lnTo>
                    <a:pt x="74" y="494"/>
                  </a:lnTo>
                  <a:lnTo>
                    <a:pt x="84" y="493"/>
                  </a:lnTo>
                  <a:lnTo>
                    <a:pt x="99" y="494"/>
                  </a:lnTo>
                  <a:lnTo>
                    <a:pt x="103" y="494"/>
                  </a:lnTo>
                  <a:lnTo>
                    <a:pt x="106" y="490"/>
                  </a:lnTo>
                  <a:lnTo>
                    <a:pt x="109" y="474"/>
                  </a:lnTo>
                  <a:lnTo>
                    <a:pt x="111" y="464"/>
                  </a:lnTo>
                  <a:lnTo>
                    <a:pt x="109" y="457"/>
                  </a:lnTo>
                  <a:lnTo>
                    <a:pt x="105" y="452"/>
                  </a:lnTo>
                  <a:lnTo>
                    <a:pt x="91" y="450"/>
                  </a:lnTo>
                  <a:lnTo>
                    <a:pt x="88" y="448"/>
                  </a:lnTo>
                  <a:lnTo>
                    <a:pt x="68" y="442"/>
                  </a:lnTo>
                  <a:lnTo>
                    <a:pt x="64" y="439"/>
                  </a:lnTo>
                  <a:lnTo>
                    <a:pt x="60" y="429"/>
                  </a:lnTo>
                  <a:lnTo>
                    <a:pt x="59" y="413"/>
                  </a:lnTo>
                  <a:lnTo>
                    <a:pt x="54" y="410"/>
                  </a:lnTo>
                  <a:lnTo>
                    <a:pt x="51" y="407"/>
                  </a:lnTo>
                  <a:lnTo>
                    <a:pt x="50" y="395"/>
                  </a:lnTo>
                  <a:lnTo>
                    <a:pt x="46" y="385"/>
                  </a:lnTo>
                  <a:lnTo>
                    <a:pt x="46" y="380"/>
                  </a:lnTo>
                  <a:lnTo>
                    <a:pt x="50" y="377"/>
                  </a:lnTo>
                  <a:lnTo>
                    <a:pt x="55" y="375"/>
                  </a:lnTo>
                  <a:lnTo>
                    <a:pt x="65" y="378"/>
                  </a:lnTo>
                  <a:lnTo>
                    <a:pt x="79" y="387"/>
                  </a:lnTo>
                  <a:lnTo>
                    <a:pt x="89" y="390"/>
                  </a:lnTo>
                  <a:lnTo>
                    <a:pt x="94" y="389"/>
                  </a:lnTo>
                  <a:lnTo>
                    <a:pt x="99" y="388"/>
                  </a:lnTo>
                  <a:lnTo>
                    <a:pt x="113" y="379"/>
                  </a:lnTo>
                  <a:lnTo>
                    <a:pt x="114" y="374"/>
                  </a:lnTo>
                  <a:lnTo>
                    <a:pt x="113" y="368"/>
                  </a:lnTo>
                  <a:lnTo>
                    <a:pt x="109" y="364"/>
                  </a:lnTo>
                  <a:lnTo>
                    <a:pt x="99" y="359"/>
                  </a:lnTo>
                  <a:lnTo>
                    <a:pt x="96" y="355"/>
                  </a:lnTo>
                  <a:lnTo>
                    <a:pt x="94" y="348"/>
                  </a:lnTo>
                  <a:lnTo>
                    <a:pt x="94" y="338"/>
                  </a:lnTo>
                  <a:lnTo>
                    <a:pt x="100" y="308"/>
                  </a:lnTo>
                  <a:lnTo>
                    <a:pt x="103" y="299"/>
                  </a:lnTo>
                  <a:lnTo>
                    <a:pt x="105" y="295"/>
                  </a:lnTo>
                  <a:lnTo>
                    <a:pt x="109" y="292"/>
                  </a:lnTo>
                  <a:lnTo>
                    <a:pt x="118" y="283"/>
                  </a:lnTo>
                  <a:lnTo>
                    <a:pt x="124" y="274"/>
                  </a:lnTo>
                  <a:lnTo>
                    <a:pt x="128" y="272"/>
                  </a:lnTo>
                  <a:lnTo>
                    <a:pt x="133" y="272"/>
                  </a:lnTo>
                  <a:lnTo>
                    <a:pt x="141" y="274"/>
                  </a:lnTo>
                  <a:lnTo>
                    <a:pt x="153" y="274"/>
                  </a:lnTo>
                  <a:lnTo>
                    <a:pt x="161" y="272"/>
                  </a:lnTo>
                  <a:lnTo>
                    <a:pt x="171" y="273"/>
                  </a:lnTo>
                  <a:lnTo>
                    <a:pt x="180" y="278"/>
                  </a:lnTo>
                  <a:lnTo>
                    <a:pt x="200" y="288"/>
                  </a:lnTo>
                  <a:lnTo>
                    <a:pt x="210" y="289"/>
                  </a:lnTo>
                  <a:lnTo>
                    <a:pt x="203" y="277"/>
                  </a:lnTo>
                  <a:lnTo>
                    <a:pt x="188" y="258"/>
                  </a:lnTo>
                  <a:lnTo>
                    <a:pt x="181" y="253"/>
                  </a:lnTo>
                  <a:lnTo>
                    <a:pt x="178" y="244"/>
                  </a:lnTo>
                  <a:lnTo>
                    <a:pt x="168" y="227"/>
                  </a:lnTo>
                  <a:lnTo>
                    <a:pt x="158" y="200"/>
                  </a:lnTo>
                  <a:lnTo>
                    <a:pt x="155" y="194"/>
                  </a:lnTo>
                  <a:lnTo>
                    <a:pt x="155" y="187"/>
                  </a:lnTo>
                  <a:lnTo>
                    <a:pt x="159" y="182"/>
                  </a:lnTo>
                  <a:lnTo>
                    <a:pt x="164" y="179"/>
                  </a:lnTo>
                  <a:lnTo>
                    <a:pt x="170" y="178"/>
                  </a:lnTo>
                  <a:lnTo>
                    <a:pt x="175" y="174"/>
                  </a:lnTo>
                  <a:lnTo>
                    <a:pt x="180" y="167"/>
                  </a:lnTo>
                  <a:lnTo>
                    <a:pt x="189" y="143"/>
                  </a:lnTo>
                  <a:lnTo>
                    <a:pt x="198" y="127"/>
                  </a:lnTo>
                  <a:lnTo>
                    <a:pt x="199" y="114"/>
                  </a:lnTo>
                  <a:lnTo>
                    <a:pt x="191" y="92"/>
                  </a:lnTo>
                  <a:lnTo>
                    <a:pt x="233" y="88"/>
                  </a:lnTo>
                  <a:lnTo>
                    <a:pt x="235" y="77"/>
                  </a:lnTo>
                  <a:lnTo>
                    <a:pt x="243" y="68"/>
                  </a:lnTo>
                  <a:lnTo>
                    <a:pt x="251" y="60"/>
                  </a:lnTo>
                  <a:lnTo>
                    <a:pt x="260" y="57"/>
                  </a:lnTo>
                  <a:lnTo>
                    <a:pt x="263" y="39"/>
                  </a:lnTo>
                  <a:lnTo>
                    <a:pt x="268" y="27"/>
                  </a:lnTo>
                  <a:lnTo>
                    <a:pt x="276" y="20"/>
                  </a:lnTo>
                  <a:lnTo>
                    <a:pt x="291" y="20"/>
                  </a:lnTo>
                  <a:lnTo>
                    <a:pt x="298" y="53"/>
                  </a:lnTo>
                  <a:lnTo>
                    <a:pt x="304" y="60"/>
                  </a:lnTo>
                  <a:lnTo>
                    <a:pt x="311" y="65"/>
                  </a:lnTo>
                  <a:lnTo>
                    <a:pt x="318" y="67"/>
                  </a:lnTo>
                  <a:lnTo>
                    <a:pt x="325" y="63"/>
                  </a:lnTo>
                  <a:lnTo>
                    <a:pt x="330" y="53"/>
                  </a:lnTo>
                  <a:lnTo>
                    <a:pt x="334" y="50"/>
                  </a:lnTo>
                  <a:lnTo>
                    <a:pt x="338" y="49"/>
                  </a:lnTo>
                  <a:lnTo>
                    <a:pt x="440" y="70"/>
                  </a:lnTo>
                  <a:lnTo>
                    <a:pt x="468" y="57"/>
                  </a:lnTo>
                  <a:lnTo>
                    <a:pt x="486" y="0"/>
                  </a:lnTo>
                  <a:lnTo>
                    <a:pt x="506" y="9"/>
                  </a:lnTo>
                  <a:lnTo>
                    <a:pt x="551" y="0"/>
                  </a:lnTo>
                  <a:lnTo>
                    <a:pt x="553" y="7"/>
                  </a:lnTo>
                  <a:lnTo>
                    <a:pt x="554" y="22"/>
                  </a:lnTo>
                  <a:lnTo>
                    <a:pt x="551" y="27"/>
                  </a:lnTo>
                  <a:lnTo>
                    <a:pt x="546" y="33"/>
                  </a:lnTo>
                  <a:lnTo>
                    <a:pt x="539" y="35"/>
                  </a:lnTo>
                  <a:lnTo>
                    <a:pt x="533" y="39"/>
                  </a:lnTo>
                  <a:lnTo>
                    <a:pt x="531" y="48"/>
                  </a:lnTo>
                  <a:lnTo>
                    <a:pt x="533" y="53"/>
                  </a:lnTo>
                  <a:lnTo>
                    <a:pt x="540" y="62"/>
                  </a:lnTo>
                  <a:lnTo>
                    <a:pt x="541" y="67"/>
                  </a:lnTo>
                  <a:lnTo>
                    <a:pt x="541" y="74"/>
                  </a:lnTo>
                  <a:lnTo>
                    <a:pt x="539" y="80"/>
                  </a:lnTo>
                  <a:lnTo>
                    <a:pt x="530" y="89"/>
                  </a:lnTo>
                  <a:lnTo>
                    <a:pt x="509" y="87"/>
                  </a:lnTo>
                  <a:lnTo>
                    <a:pt x="504" y="120"/>
                  </a:lnTo>
                  <a:lnTo>
                    <a:pt x="495" y="143"/>
                  </a:lnTo>
                  <a:lnTo>
                    <a:pt x="494" y="150"/>
                  </a:lnTo>
                  <a:lnTo>
                    <a:pt x="498" y="157"/>
                  </a:lnTo>
                  <a:lnTo>
                    <a:pt x="510" y="167"/>
                  </a:lnTo>
                  <a:lnTo>
                    <a:pt x="516" y="168"/>
                  </a:lnTo>
                  <a:lnTo>
                    <a:pt x="520" y="167"/>
                  </a:lnTo>
                  <a:lnTo>
                    <a:pt x="534" y="152"/>
                  </a:lnTo>
                  <a:lnTo>
                    <a:pt x="590" y="162"/>
                  </a:lnTo>
                  <a:lnTo>
                    <a:pt x="593" y="200"/>
                  </a:lnTo>
                  <a:lnTo>
                    <a:pt x="629" y="213"/>
                  </a:lnTo>
                  <a:lnTo>
                    <a:pt x="644" y="225"/>
                  </a:lnTo>
                  <a:lnTo>
                    <a:pt x="663" y="228"/>
                  </a:lnTo>
                  <a:lnTo>
                    <a:pt x="678" y="210"/>
                  </a:lnTo>
                  <a:lnTo>
                    <a:pt x="686" y="204"/>
                  </a:lnTo>
                  <a:lnTo>
                    <a:pt x="696" y="203"/>
                  </a:lnTo>
                  <a:lnTo>
                    <a:pt x="721" y="220"/>
                  </a:lnTo>
                  <a:lnTo>
                    <a:pt x="729" y="220"/>
                  </a:lnTo>
                  <a:lnTo>
                    <a:pt x="753" y="203"/>
                  </a:lnTo>
                  <a:lnTo>
                    <a:pt x="804" y="193"/>
                  </a:lnTo>
                  <a:lnTo>
                    <a:pt x="821" y="199"/>
                  </a:lnTo>
                  <a:lnTo>
                    <a:pt x="865" y="168"/>
                  </a:lnTo>
                  <a:lnTo>
                    <a:pt x="869" y="147"/>
                  </a:lnTo>
                  <a:lnTo>
                    <a:pt x="908" y="123"/>
                  </a:lnTo>
                  <a:lnTo>
                    <a:pt x="939" y="124"/>
                  </a:lnTo>
                  <a:lnTo>
                    <a:pt x="948" y="119"/>
                  </a:lnTo>
                  <a:lnTo>
                    <a:pt x="953" y="110"/>
                  </a:lnTo>
                  <a:lnTo>
                    <a:pt x="960" y="82"/>
                  </a:lnTo>
                  <a:lnTo>
                    <a:pt x="966" y="77"/>
                  </a:lnTo>
                  <a:lnTo>
                    <a:pt x="1026" y="74"/>
                  </a:lnTo>
                  <a:lnTo>
                    <a:pt x="1026" y="64"/>
                  </a:lnTo>
                  <a:lnTo>
                    <a:pt x="1050" y="58"/>
                  </a:lnTo>
                  <a:lnTo>
                    <a:pt x="1090" y="90"/>
                  </a:lnTo>
                  <a:lnTo>
                    <a:pt x="1116" y="87"/>
                  </a:lnTo>
                  <a:lnTo>
                    <a:pt x="1141" y="95"/>
                  </a:lnTo>
                  <a:lnTo>
                    <a:pt x="1168" y="75"/>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4" name="Córdoba" descr="{&quot;Key&quot;:&quot;córdoba&quot;,&quot;Name&quot;:&quot;Córdoba&quot;,&quot;Value&quot;:1.0,&quot;Formula&quot;:&quot;&quot;,&quot;Text&quot;:&quot;1&quot;,&quot;HasValue&quot;:true}">
              <a:extLst>
                <a:ext uri="{FF2B5EF4-FFF2-40B4-BE49-F238E27FC236}">
                  <a16:creationId xmlns:a16="http://schemas.microsoft.com/office/drawing/2014/main" id="{E7739DD2-3AE1-4483-AC16-EF3D3F14C295}"/>
                </a:ext>
              </a:extLst>
            </p:cNvPr>
            <p:cNvSpPr>
              <a:spLocks/>
            </p:cNvSpPr>
            <p:nvPr/>
          </p:nvSpPr>
          <p:spPr bwMode="auto">
            <a:xfrm>
              <a:off x="2581884" y="4514126"/>
              <a:ext cx="603545" cy="749472"/>
            </a:xfrm>
            <a:custGeom>
              <a:avLst/>
              <a:gdLst>
                <a:gd name="T0" fmla="*/ 759 w 876"/>
                <a:gd name="T1" fmla="*/ 311 h 1085"/>
                <a:gd name="T2" fmla="*/ 783 w 876"/>
                <a:gd name="T3" fmla="*/ 389 h 1085"/>
                <a:gd name="T4" fmla="*/ 736 w 876"/>
                <a:gd name="T5" fmla="*/ 479 h 1085"/>
                <a:gd name="T6" fmla="*/ 732 w 876"/>
                <a:gd name="T7" fmla="*/ 541 h 1085"/>
                <a:gd name="T8" fmla="*/ 742 w 876"/>
                <a:gd name="T9" fmla="*/ 665 h 1085"/>
                <a:gd name="T10" fmla="*/ 773 w 876"/>
                <a:gd name="T11" fmla="*/ 722 h 1085"/>
                <a:gd name="T12" fmla="*/ 761 w 876"/>
                <a:gd name="T13" fmla="*/ 767 h 1085"/>
                <a:gd name="T14" fmla="*/ 791 w 876"/>
                <a:gd name="T15" fmla="*/ 812 h 1085"/>
                <a:gd name="T16" fmla="*/ 856 w 876"/>
                <a:gd name="T17" fmla="*/ 897 h 1085"/>
                <a:gd name="T18" fmla="*/ 801 w 876"/>
                <a:gd name="T19" fmla="*/ 966 h 1085"/>
                <a:gd name="T20" fmla="*/ 756 w 876"/>
                <a:gd name="T21" fmla="*/ 971 h 1085"/>
                <a:gd name="T22" fmla="*/ 731 w 876"/>
                <a:gd name="T23" fmla="*/ 1033 h 1085"/>
                <a:gd name="T24" fmla="*/ 671 w 876"/>
                <a:gd name="T25" fmla="*/ 1065 h 1085"/>
                <a:gd name="T26" fmla="*/ 579 w 876"/>
                <a:gd name="T27" fmla="*/ 1067 h 1085"/>
                <a:gd name="T28" fmla="*/ 512 w 876"/>
                <a:gd name="T29" fmla="*/ 1022 h 1085"/>
                <a:gd name="T30" fmla="*/ 484 w 876"/>
                <a:gd name="T31" fmla="*/ 964 h 1085"/>
                <a:gd name="T32" fmla="*/ 406 w 876"/>
                <a:gd name="T33" fmla="*/ 929 h 1085"/>
                <a:gd name="T34" fmla="*/ 354 w 876"/>
                <a:gd name="T35" fmla="*/ 852 h 1085"/>
                <a:gd name="T36" fmla="*/ 357 w 876"/>
                <a:gd name="T37" fmla="*/ 791 h 1085"/>
                <a:gd name="T38" fmla="*/ 347 w 876"/>
                <a:gd name="T39" fmla="*/ 769 h 1085"/>
                <a:gd name="T40" fmla="*/ 321 w 876"/>
                <a:gd name="T41" fmla="*/ 724 h 1085"/>
                <a:gd name="T42" fmla="*/ 255 w 876"/>
                <a:gd name="T43" fmla="*/ 747 h 1085"/>
                <a:gd name="T44" fmla="*/ 217 w 876"/>
                <a:gd name="T45" fmla="*/ 747 h 1085"/>
                <a:gd name="T46" fmla="*/ 100 w 876"/>
                <a:gd name="T47" fmla="*/ 775 h 1085"/>
                <a:gd name="T48" fmla="*/ 151 w 876"/>
                <a:gd name="T49" fmla="*/ 675 h 1085"/>
                <a:gd name="T50" fmla="*/ 129 w 876"/>
                <a:gd name="T51" fmla="*/ 635 h 1085"/>
                <a:gd name="T52" fmla="*/ 94 w 876"/>
                <a:gd name="T53" fmla="*/ 596 h 1085"/>
                <a:gd name="T54" fmla="*/ 47 w 876"/>
                <a:gd name="T55" fmla="*/ 485 h 1085"/>
                <a:gd name="T56" fmla="*/ 27 w 876"/>
                <a:gd name="T57" fmla="*/ 397 h 1085"/>
                <a:gd name="T58" fmla="*/ 35 w 876"/>
                <a:gd name="T59" fmla="*/ 369 h 1085"/>
                <a:gd name="T60" fmla="*/ 34 w 876"/>
                <a:gd name="T61" fmla="*/ 327 h 1085"/>
                <a:gd name="T62" fmla="*/ 17 w 876"/>
                <a:gd name="T63" fmla="*/ 289 h 1085"/>
                <a:gd name="T64" fmla="*/ 12 w 876"/>
                <a:gd name="T65" fmla="*/ 256 h 1085"/>
                <a:gd name="T66" fmla="*/ 4 w 876"/>
                <a:gd name="T67" fmla="*/ 237 h 1085"/>
                <a:gd name="T68" fmla="*/ 19 w 876"/>
                <a:gd name="T69" fmla="*/ 205 h 1085"/>
                <a:gd name="T70" fmla="*/ 62 w 876"/>
                <a:gd name="T71" fmla="*/ 175 h 1085"/>
                <a:gd name="T72" fmla="*/ 95 w 876"/>
                <a:gd name="T73" fmla="*/ 145 h 1085"/>
                <a:gd name="T74" fmla="*/ 112 w 876"/>
                <a:gd name="T75" fmla="*/ 111 h 1085"/>
                <a:gd name="T76" fmla="*/ 147 w 876"/>
                <a:gd name="T77" fmla="*/ 102 h 1085"/>
                <a:gd name="T78" fmla="*/ 162 w 876"/>
                <a:gd name="T79" fmla="*/ 82 h 1085"/>
                <a:gd name="T80" fmla="*/ 225 w 876"/>
                <a:gd name="T81" fmla="*/ 41 h 1085"/>
                <a:gd name="T82" fmla="*/ 229 w 876"/>
                <a:gd name="T83" fmla="*/ 11 h 1085"/>
                <a:gd name="T84" fmla="*/ 302 w 876"/>
                <a:gd name="T85" fmla="*/ 0 h 1085"/>
                <a:gd name="T86" fmla="*/ 371 w 876"/>
                <a:gd name="T87" fmla="*/ 31 h 1085"/>
                <a:gd name="T88" fmla="*/ 396 w 876"/>
                <a:gd name="T89" fmla="*/ 50 h 1085"/>
                <a:gd name="T90" fmla="*/ 417 w 876"/>
                <a:gd name="T91" fmla="*/ 89 h 1085"/>
                <a:gd name="T92" fmla="*/ 451 w 876"/>
                <a:gd name="T93" fmla="*/ 95 h 1085"/>
                <a:gd name="T94" fmla="*/ 487 w 876"/>
                <a:gd name="T95" fmla="*/ 120 h 1085"/>
                <a:gd name="T96" fmla="*/ 531 w 876"/>
                <a:gd name="T97" fmla="*/ 152 h 1085"/>
                <a:gd name="T98" fmla="*/ 549 w 876"/>
                <a:gd name="T99" fmla="*/ 170 h 1085"/>
                <a:gd name="T100" fmla="*/ 576 w 876"/>
                <a:gd name="T101" fmla="*/ 181 h 1085"/>
                <a:gd name="T102" fmla="*/ 622 w 876"/>
                <a:gd name="T103" fmla="*/ 232 h 1085"/>
                <a:gd name="T104" fmla="*/ 674 w 876"/>
                <a:gd name="T105" fmla="*/ 254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76" h="1085">
                  <a:moveTo>
                    <a:pt x="725" y="267"/>
                  </a:moveTo>
                  <a:lnTo>
                    <a:pt x="742" y="276"/>
                  </a:lnTo>
                  <a:lnTo>
                    <a:pt x="744" y="277"/>
                  </a:lnTo>
                  <a:lnTo>
                    <a:pt x="759" y="311"/>
                  </a:lnTo>
                  <a:lnTo>
                    <a:pt x="757" y="335"/>
                  </a:lnTo>
                  <a:lnTo>
                    <a:pt x="761" y="350"/>
                  </a:lnTo>
                  <a:lnTo>
                    <a:pt x="767" y="364"/>
                  </a:lnTo>
                  <a:lnTo>
                    <a:pt x="783" y="389"/>
                  </a:lnTo>
                  <a:lnTo>
                    <a:pt x="783" y="418"/>
                  </a:lnTo>
                  <a:lnTo>
                    <a:pt x="770" y="426"/>
                  </a:lnTo>
                  <a:lnTo>
                    <a:pt x="738" y="472"/>
                  </a:lnTo>
                  <a:lnTo>
                    <a:pt x="736" y="479"/>
                  </a:lnTo>
                  <a:lnTo>
                    <a:pt x="733" y="497"/>
                  </a:lnTo>
                  <a:lnTo>
                    <a:pt x="731" y="502"/>
                  </a:lnTo>
                  <a:lnTo>
                    <a:pt x="720" y="512"/>
                  </a:lnTo>
                  <a:lnTo>
                    <a:pt x="732" y="541"/>
                  </a:lnTo>
                  <a:lnTo>
                    <a:pt x="720" y="642"/>
                  </a:lnTo>
                  <a:lnTo>
                    <a:pt x="722" y="650"/>
                  </a:lnTo>
                  <a:lnTo>
                    <a:pt x="728" y="657"/>
                  </a:lnTo>
                  <a:lnTo>
                    <a:pt x="742" y="665"/>
                  </a:lnTo>
                  <a:lnTo>
                    <a:pt x="748" y="674"/>
                  </a:lnTo>
                  <a:lnTo>
                    <a:pt x="751" y="704"/>
                  </a:lnTo>
                  <a:lnTo>
                    <a:pt x="755" y="715"/>
                  </a:lnTo>
                  <a:lnTo>
                    <a:pt x="773" y="722"/>
                  </a:lnTo>
                  <a:lnTo>
                    <a:pt x="781" y="729"/>
                  </a:lnTo>
                  <a:lnTo>
                    <a:pt x="782" y="741"/>
                  </a:lnTo>
                  <a:lnTo>
                    <a:pt x="779" y="749"/>
                  </a:lnTo>
                  <a:lnTo>
                    <a:pt x="761" y="767"/>
                  </a:lnTo>
                  <a:lnTo>
                    <a:pt x="758" y="779"/>
                  </a:lnTo>
                  <a:lnTo>
                    <a:pt x="763" y="782"/>
                  </a:lnTo>
                  <a:lnTo>
                    <a:pt x="776" y="787"/>
                  </a:lnTo>
                  <a:lnTo>
                    <a:pt x="791" y="812"/>
                  </a:lnTo>
                  <a:lnTo>
                    <a:pt x="816" y="840"/>
                  </a:lnTo>
                  <a:lnTo>
                    <a:pt x="825" y="867"/>
                  </a:lnTo>
                  <a:lnTo>
                    <a:pt x="829" y="876"/>
                  </a:lnTo>
                  <a:lnTo>
                    <a:pt x="856" y="897"/>
                  </a:lnTo>
                  <a:lnTo>
                    <a:pt x="876" y="935"/>
                  </a:lnTo>
                  <a:lnTo>
                    <a:pt x="835" y="933"/>
                  </a:lnTo>
                  <a:lnTo>
                    <a:pt x="825" y="938"/>
                  </a:lnTo>
                  <a:lnTo>
                    <a:pt x="801" y="966"/>
                  </a:lnTo>
                  <a:lnTo>
                    <a:pt x="791" y="972"/>
                  </a:lnTo>
                  <a:lnTo>
                    <a:pt x="781" y="973"/>
                  </a:lnTo>
                  <a:lnTo>
                    <a:pt x="761" y="970"/>
                  </a:lnTo>
                  <a:lnTo>
                    <a:pt x="756" y="971"/>
                  </a:lnTo>
                  <a:lnTo>
                    <a:pt x="752" y="976"/>
                  </a:lnTo>
                  <a:lnTo>
                    <a:pt x="746" y="987"/>
                  </a:lnTo>
                  <a:lnTo>
                    <a:pt x="746" y="1008"/>
                  </a:lnTo>
                  <a:lnTo>
                    <a:pt x="731" y="1033"/>
                  </a:lnTo>
                  <a:lnTo>
                    <a:pt x="736" y="1055"/>
                  </a:lnTo>
                  <a:lnTo>
                    <a:pt x="700" y="1085"/>
                  </a:lnTo>
                  <a:lnTo>
                    <a:pt x="696" y="1073"/>
                  </a:lnTo>
                  <a:lnTo>
                    <a:pt x="671" y="1065"/>
                  </a:lnTo>
                  <a:lnTo>
                    <a:pt x="665" y="1022"/>
                  </a:lnTo>
                  <a:lnTo>
                    <a:pt x="630" y="1022"/>
                  </a:lnTo>
                  <a:lnTo>
                    <a:pt x="611" y="1048"/>
                  </a:lnTo>
                  <a:lnTo>
                    <a:pt x="579" y="1067"/>
                  </a:lnTo>
                  <a:lnTo>
                    <a:pt x="546" y="1061"/>
                  </a:lnTo>
                  <a:lnTo>
                    <a:pt x="537" y="1037"/>
                  </a:lnTo>
                  <a:lnTo>
                    <a:pt x="515" y="1037"/>
                  </a:lnTo>
                  <a:lnTo>
                    <a:pt x="512" y="1022"/>
                  </a:lnTo>
                  <a:lnTo>
                    <a:pt x="505" y="1007"/>
                  </a:lnTo>
                  <a:lnTo>
                    <a:pt x="501" y="977"/>
                  </a:lnTo>
                  <a:lnTo>
                    <a:pt x="494" y="969"/>
                  </a:lnTo>
                  <a:lnTo>
                    <a:pt x="484" y="964"/>
                  </a:lnTo>
                  <a:lnTo>
                    <a:pt x="454" y="986"/>
                  </a:lnTo>
                  <a:lnTo>
                    <a:pt x="442" y="985"/>
                  </a:lnTo>
                  <a:lnTo>
                    <a:pt x="421" y="966"/>
                  </a:lnTo>
                  <a:lnTo>
                    <a:pt x="406" y="929"/>
                  </a:lnTo>
                  <a:lnTo>
                    <a:pt x="386" y="910"/>
                  </a:lnTo>
                  <a:lnTo>
                    <a:pt x="385" y="892"/>
                  </a:lnTo>
                  <a:lnTo>
                    <a:pt x="374" y="870"/>
                  </a:lnTo>
                  <a:lnTo>
                    <a:pt x="354" y="852"/>
                  </a:lnTo>
                  <a:lnTo>
                    <a:pt x="359" y="840"/>
                  </a:lnTo>
                  <a:lnTo>
                    <a:pt x="362" y="807"/>
                  </a:lnTo>
                  <a:lnTo>
                    <a:pt x="360" y="795"/>
                  </a:lnTo>
                  <a:lnTo>
                    <a:pt x="357" y="791"/>
                  </a:lnTo>
                  <a:lnTo>
                    <a:pt x="350" y="786"/>
                  </a:lnTo>
                  <a:lnTo>
                    <a:pt x="347" y="784"/>
                  </a:lnTo>
                  <a:lnTo>
                    <a:pt x="346" y="777"/>
                  </a:lnTo>
                  <a:lnTo>
                    <a:pt x="347" y="769"/>
                  </a:lnTo>
                  <a:lnTo>
                    <a:pt x="347" y="762"/>
                  </a:lnTo>
                  <a:lnTo>
                    <a:pt x="341" y="747"/>
                  </a:lnTo>
                  <a:lnTo>
                    <a:pt x="332" y="734"/>
                  </a:lnTo>
                  <a:lnTo>
                    <a:pt x="321" y="724"/>
                  </a:lnTo>
                  <a:lnTo>
                    <a:pt x="307" y="719"/>
                  </a:lnTo>
                  <a:lnTo>
                    <a:pt x="293" y="721"/>
                  </a:lnTo>
                  <a:lnTo>
                    <a:pt x="265" y="732"/>
                  </a:lnTo>
                  <a:lnTo>
                    <a:pt x="255" y="747"/>
                  </a:lnTo>
                  <a:lnTo>
                    <a:pt x="251" y="751"/>
                  </a:lnTo>
                  <a:lnTo>
                    <a:pt x="239" y="754"/>
                  </a:lnTo>
                  <a:lnTo>
                    <a:pt x="224" y="751"/>
                  </a:lnTo>
                  <a:lnTo>
                    <a:pt x="217" y="747"/>
                  </a:lnTo>
                  <a:lnTo>
                    <a:pt x="170" y="780"/>
                  </a:lnTo>
                  <a:lnTo>
                    <a:pt x="132" y="790"/>
                  </a:lnTo>
                  <a:lnTo>
                    <a:pt x="112" y="789"/>
                  </a:lnTo>
                  <a:lnTo>
                    <a:pt x="100" y="775"/>
                  </a:lnTo>
                  <a:lnTo>
                    <a:pt x="94" y="745"/>
                  </a:lnTo>
                  <a:lnTo>
                    <a:pt x="106" y="729"/>
                  </a:lnTo>
                  <a:lnTo>
                    <a:pt x="150" y="727"/>
                  </a:lnTo>
                  <a:lnTo>
                    <a:pt x="151" y="675"/>
                  </a:lnTo>
                  <a:lnTo>
                    <a:pt x="137" y="666"/>
                  </a:lnTo>
                  <a:lnTo>
                    <a:pt x="134" y="661"/>
                  </a:lnTo>
                  <a:lnTo>
                    <a:pt x="131" y="652"/>
                  </a:lnTo>
                  <a:lnTo>
                    <a:pt x="129" y="635"/>
                  </a:lnTo>
                  <a:lnTo>
                    <a:pt x="124" y="627"/>
                  </a:lnTo>
                  <a:lnTo>
                    <a:pt x="105" y="616"/>
                  </a:lnTo>
                  <a:lnTo>
                    <a:pt x="99" y="610"/>
                  </a:lnTo>
                  <a:lnTo>
                    <a:pt x="94" y="596"/>
                  </a:lnTo>
                  <a:lnTo>
                    <a:pt x="92" y="566"/>
                  </a:lnTo>
                  <a:lnTo>
                    <a:pt x="89" y="557"/>
                  </a:lnTo>
                  <a:lnTo>
                    <a:pt x="57" y="529"/>
                  </a:lnTo>
                  <a:lnTo>
                    <a:pt x="47" y="485"/>
                  </a:lnTo>
                  <a:lnTo>
                    <a:pt x="0" y="434"/>
                  </a:lnTo>
                  <a:lnTo>
                    <a:pt x="1" y="420"/>
                  </a:lnTo>
                  <a:lnTo>
                    <a:pt x="25" y="401"/>
                  </a:lnTo>
                  <a:lnTo>
                    <a:pt x="27" y="397"/>
                  </a:lnTo>
                  <a:lnTo>
                    <a:pt x="27" y="389"/>
                  </a:lnTo>
                  <a:lnTo>
                    <a:pt x="29" y="379"/>
                  </a:lnTo>
                  <a:lnTo>
                    <a:pt x="31" y="374"/>
                  </a:lnTo>
                  <a:lnTo>
                    <a:pt x="35" y="369"/>
                  </a:lnTo>
                  <a:lnTo>
                    <a:pt x="36" y="359"/>
                  </a:lnTo>
                  <a:lnTo>
                    <a:pt x="35" y="342"/>
                  </a:lnTo>
                  <a:lnTo>
                    <a:pt x="34" y="337"/>
                  </a:lnTo>
                  <a:lnTo>
                    <a:pt x="34" y="327"/>
                  </a:lnTo>
                  <a:lnTo>
                    <a:pt x="27" y="315"/>
                  </a:lnTo>
                  <a:lnTo>
                    <a:pt x="24" y="304"/>
                  </a:lnTo>
                  <a:lnTo>
                    <a:pt x="21" y="296"/>
                  </a:lnTo>
                  <a:lnTo>
                    <a:pt x="17" y="289"/>
                  </a:lnTo>
                  <a:lnTo>
                    <a:pt x="10" y="281"/>
                  </a:lnTo>
                  <a:lnTo>
                    <a:pt x="9" y="279"/>
                  </a:lnTo>
                  <a:lnTo>
                    <a:pt x="10" y="267"/>
                  </a:lnTo>
                  <a:lnTo>
                    <a:pt x="12" y="256"/>
                  </a:lnTo>
                  <a:lnTo>
                    <a:pt x="11" y="249"/>
                  </a:lnTo>
                  <a:lnTo>
                    <a:pt x="10" y="246"/>
                  </a:lnTo>
                  <a:lnTo>
                    <a:pt x="5" y="240"/>
                  </a:lnTo>
                  <a:lnTo>
                    <a:pt x="4" y="237"/>
                  </a:lnTo>
                  <a:lnTo>
                    <a:pt x="4" y="230"/>
                  </a:lnTo>
                  <a:lnTo>
                    <a:pt x="7" y="215"/>
                  </a:lnTo>
                  <a:lnTo>
                    <a:pt x="11" y="210"/>
                  </a:lnTo>
                  <a:lnTo>
                    <a:pt x="19" y="205"/>
                  </a:lnTo>
                  <a:lnTo>
                    <a:pt x="42" y="191"/>
                  </a:lnTo>
                  <a:lnTo>
                    <a:pt x="52" y="187"/>
                  </a:lnTo>
                  <a:lnTo>
                    <a:pt x="56" y="184"/>
                  </a:lnTo>
                  <a:lnTo>
                    <a:pt x="62" y="175"/>
                  </a:lnTo>
                  <a:lnTo>
                    <a:pt x="65" y="170"/>
                  </a:lnTo>
                  <a:lnTo>
                    <a:pt x="74" y="162"/>
                  </a:lnTo>
                  <a:lnTo>
                    <a:pt x="90" y="151"/>
                  </a:lnTo>
                  <a:lnTo>
                    <a:pt x="95" y="145"/>
                  </a:lnTo>
                  <a:lnTo>
                    <a:pt x="96" y="140"/>
                  </a:lnTo>
                  <a:lnTo>
                    <a:pt x="97" y="135"/>
                  </a:lnTo>
                  <a:lnTo>
                    <a:pt x="101" y="127"/>
                  </a:lnTo>
                  <a:lnTo>
                    <a:pt x="112" y="111"/>
                  </a:lnTo>
                  <a:lnTo>
                    <a:pt x="122" y="102"/>
                  </a:lnTo>
                  <a:lnTo>
                    <a:pt x="129" y="101"/>
                  </a:lnTo>
                  <a:lnTo>
                    <a:pt x="140" y="101"/>
                  </a:lnTo>
                  <a:lnTo>
                    <a:pt x="147" y="102"/>
                  </a:lnTo>
                  <a:lnTo>
                    <a:pt x="152" y="101"/>
                  </a:lnTo>
                  <a:lnTo>
                    <a:pt x="155" y="95"/>
                  </a:lnTo>
                  <a:lnTo>
                    <a:pt x="157" y="89"/>
                  </a:lnTo>
                  <a:lnTo>
                    <a:pt x="162" y="82"/>
                  </a:lnTo>
                  <a:lnTo>
                    <a:pt x="181" y="67"/>
                  </a:lnTo>
                  <a:lnTo>
                    <a:pt x="206" y="50"/>
                  </a:lnTo>
                  <a:lnTo>
                    <a:pt x="222" y="45"/>
                  </a:lnTo>
                  <a:lnTo>
                    <a:pt x="225" y="41"/>
                  </a:lnTo>
                  <a:lnTo>
                    <a:pt x="230" y="25"/>
                  </a:lnTo>
                  <a:lnTo>
                    <a:pt x="229" y="20"/>
                  </a:lnTo>
                  <a:lnTo>
                    <a:pt x="227" y="15"/>
                  </a:lnTo>
                  <a:lnTo>
                    <a:pt x="229" y="11"/>
                  </a:lnTo>
                  <a:lnTo>
                    <a:pt x="235" y="7"/>
                  </a:lnTo>
                  <a:lnTo>
                    <a:pt x="279" y="6"/>
                  </a:lnTo>
                  <a:lnTo>
                    <a:pt x="287" y="2"/>
                  </a:lnTo>
                  <a:lnTo>
                    <a:pt x="302" y="0"/>
                  </a:lnTo>
                  <a:lnTo>
                    <a:pt x="335" y="25"/>
                  </a:lnTo>
                  <a:lnTo>
                    <a:pt x="352" y="32"/>
                  </a:lnTo>
                  <a:lnTo>
                    <a:pt x="365" y="32"/>
                  </a:lnTo>
                  <a:lnTo>
                    <a:pt x="371" y="31"/>
                  </a:lnTo>
                  <a:lnTo>
                    <a:pt x="387" y="31"/>
                  </a:lnTo>
                  <a:lnTo>
                    <a:pt x="392" y="34"/>
                  </a:lnTo>
                  <a:lnTo>
                    <a:pt x="395" y="39"/>
                  </a:lnTo>
                  <a:lnTo>
                    <a:pt x="396" y="50"/>
                  </a:lnTo>
                  <a:lnTo>
                    <a:pt x="397" y="66"/>
                  </a:lnTo>
                  <a:lnTo>
                    <a:pt x="400" y="74"/>
                  </a:lnTo>
                  <a:lnTo>
                    <a:pt x="406" y="81"/>
                  </a:lnTo>
                  <a:lnTo>
                    <a:pt x="417" y="89"/>
                  </a:lnTo>
                  <a:lnTo>
                    <a:pt x="426" y="91"/>
                  </a:lnTo>
                  <a:lnTo>
                    <a:pt x="432" y="92"/>
                  </a:lnTo>
                  <a:lnTo>
                    <a:pt x="444" y="94"/>
                  </a:lnTo>
                  <a:lnTo>
                    <a:pt x="451" y="95"/>
                  </a:lnTo>
                  <a:lnTo>
                    <a:pt x="474" y="106"/>
                  </a:lnTo>
                  <a:lnTo>
                    <a:pt x="481" y="111"/>
                  </a:lnTo>
                  <a:lnTo>
                    <a:pt x="485" y="116"/>
                  </a:lnTo>
                  <a:lnTo>
                    <a:pt x="487" y="120"/>
                  </a:lnTo>
                  <a:lnTo>
                    <a:pt x="497" y="126"/>
                  </a:lnTo>
                  <a:lnTo>
                    <a:pt x="507" y="130"/>
                  </a:lnTo>
                  <a:lnTo>
                    <a:pt x="526" y="146"/>
                  </a:lnTo>
                  <a:lnTo>
                    <a:pt x="531" y="152"/>
                  </a:lnTo>
                  <a:lnTo>
                    <a:pt x="534" y="159"/>
                  </a:lnTo>
                  <a:lnTo>
                    <a:pt x="539" y="165"/>
                  </a:lnTo>
                  <a:lnTo>
                    <a:pt x="544" y="167"/>
                  </a:lnTo>
                  <a:lnTo>
                    <a:pt x="549" y="170"/>
                  </a:lnTo>
                  <a:lnTo>
                    <a:pt x="554" y="170"/>
                  </a:lnTo>
                  <a:lnTo>
                    <a:pt x="561" y="171"/>
                  </a:lnTo>
                  <a:lnTo>
                    <a:pt x="567" y="177"/>
                  </a:lnTo>
                  <a:lnTo>
                    <a:pt x="576" y="181"/>
                  </a:lnTo>
                  <a:lnTo>
                    <a:pt x="590" y="194"/>
                  </a:lnTo>
                  <a:lnTo>
                    <a:pt x="606" y="211"/>
                  </a:lnTo>
                  <a:lnTo>
                    <a:pt x="617" y="226"/>
                  </a:lnTo>
                  <a:lnTo>
                    <a:pt x="622" y="232"/>
                  </a:lnTo>
                  <a:lnTo>
                    <a:pt x="627" y="236"/>
                  </a:lnTo>
                  <a:lnTo>
                    <a:pt x="652" y="247"/>
                  </a:lnTo>
                  <a:lnTo>
                    <a:pt x="666" y="252"/>
                  </a:lnTo>
                  <a:lnTo>
                    <a:pt x="674" y="254"/>
                  </a:lnTo>
                  <a:lnTo>
                    <a:pt x="710" y="269"/>
                  </a:lnTo>
                  <a:lnTo>
                    <a:pt x="716" y="270"/>
                  </a:lnTo>
                  <a:lnTo>
                    <a:pt x="725" y="267"/>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5" name="Cuenca" descr="{&quot;Key&quot;:&quot;cuenca&quot;,&quot;Name&quot;:&quot;Cuenca&quot;,&quot;Value&quot;:1.0,&quot;Formula&quot;:&quot;&quot;,&quot;Text&quot;:&quot;1&quot;,&quot;HasValue&quot;:true}">
              <a:extLst>
                <a:ext uri="{FF2B5EF4-FFF2-40B4-BE49-F238E27FC236}">
                  <a16:creationId xmlns:a16="http://schemas.microsoft.com/office/drawing/2014/main" id="{24AB1B75-E460-B562-7824-6459C550F5B1}"/>
                </a:ext>
              </a:extLst>
            </p:cNvPr>
            <p:cNvSpPr>
              <a:spLocks/>
            </p:cNvSpPr>
            <p:nvPr/>
          </p:nvSpPr>
          <p:spPr bwMode="auto">
            <a:xfrm>
              <a:off x="3502786" y="3550721"/>
              <a:ext cx="774975" cy="718303"/>
            </a:xfrm>
            <a:custGeom>
              <a:avLst/>
              <a:gdLst>
                <a:gd name="T0" fmla="*/ 804 w 1123"/>
                <a:gd name="T1" fmla="*/ 237 h 1038"/>
                <a:gd name="T2" fmla="*/ 804 w 1123"/>
                <a:gd name="T3" fmla="*/ 270 h 1038"/>
                <a:gd name="T4" fmla="*/ 837 w 1123"/>
                <a:gd name="T5" fmla="*/ 275 h 1038"/>
                <a:gd name="T6" fmla="*/ 915 w 1123"/>
                <a:gd name="T7" fmla="*/ 334 h 1038"/>
                <a:gd name="T8" fmla="*/ 943 w 1123"/>
                <a:gd name="T9" fmla="*/ 340 h 1038"/>
                <a:gd name="T10" fmla="*/ 960 w 1123"/>
                <a:gd name="T11" fmla="*/ 356 h 1038"/>
                <a:gd name="T12" fmla="*/ 959 w 1123"/>
                <a:gd name="T13" fmla="*/ 393 h 1038"/>
                <a:gd name="T14" fmla="*/ 993 w 1123"/>
                <a:gd name="T15" fmla="*/ 464 h 1038"/>
                <a:gd name="T16" fmla="*/ 1044 w 1123"/>
                <a:gd name="T17" fmla="*/ 476 h 1038"/>
                <a:gd name="T18" fmla="*/ 1079 w 1123"/>
                <a:gd name="T19" fmla="*/ 479 h 1038"/>
                <a:gd name="T20" fmla="*/ 1113 w 1123"/>
                <a:gd name="T21" fmla="*/ 473 h 1038"/>
                <a:gd name="T22" fmla="*/ 1090 w 1123"/>
                <a:gd name="T23" fmla="*/ 520 h 1038"/>
                <a:gd name="T24" fmla="*/ 1094 w 1123"/>
                <a:gd name="T25" fmla="*/ 540 h 1038"/>
                <a:gd name="T26" fmla="*/ 1090 w 1123"/>
                <a:gd name="T27" fmla="*/ 579 h 1038"/>
                <a:gd name="T28" fmla="*/ 1068 w 1123"/>
                <a:gd name="T29" fmla="*/ 643 h 1038"/>
                <a:gd name="T30" fmla="*/ 1055 w 1123"/>
                <a:gd name="T31" fmla="*/ 695 h 1038"/>
                <a:gd name="T32" fmla="*/ 1035 w 1123"/>
                <a:gd name="T33" fmla="*/ 718 h 1038"/>
                <a:gd name="T34" fmla="*/ 992 w 1123"/>
                <a:gd name="T35" fmla="*/ 712 h 1038"/>
                <a:gd name="T36" fmla="*/ 947 w 1123"/>
                <a:gd name="T37" fmla="*/ 777 h 1038"/>
                <a:gd name="T38" fmla="*/ 927 w 1123"/>
                <a:gd name="T39" fmla="*/ 795 h 1038"/>
                <a:gd name="T40" fmla="*/ 924 w 1123"/>
                <a:gd name="T41" fmla="*/ 825 h 1038"/>
                <a:gd name="T42" fmla="*/ 922 w 1123"/>
                <a:gd name="T43" fmla="*/ 850 h 1038"/>
                <a:gd name="T44" fmla="*/ 917 w 1123"/>
                <a:gd name="T45" fmla="*/ 884 h 1038"/>
                <a:gd name="T46" fmla="*/ 793 w 1123"/>
                <a:gd name="T47" fmla="*/ 970 h 1038"/>
                <a:gd name="T48" fmla="*/ 654 w 1123"/>
                <a:gd name="T49" fmla="*/ 989 h 1038"/>
                <a:gd name="T50" fmla="*/ 622 w 1123"/>
                <a:gd name="T51" fmla="*/ 1009 h 1038"/>
                <a:gd name="T52" fmla="*/ 455 w 1123"/>
                <a:gd name="T53" fmla="*/ 1000 h 1038"/>
                <a:gd name="T54" fmla="*/ 334 w 1123"/>
                <a:gd name="T55" fmla="*/ 965 h 1038"/>
                <a:gd name="T56" fmla="*/ 212 w 1123"/>
                <a:gd name="T57" fmla="*/ 915 h 1038"/>
                <a:gd name="T58" fmla="*/ 167 w 1123"/>
                <a:gd name="T59" fmla="*/ 920 h 1038"/>
                <a:gd name="T60" fmla="*/ 145 w 1123"/>
                <a:gd name="T61" fmla="*/ 739 h 1038"/>
                <a:gd name="T62" fmla="*/ 62 w 1123"/>
                <a:gd name="T63" fmla="*/ 598 h 1038"/>
                <a:gd name="T64" fmla="*/ 40 w 1123"/>
                <a:gd name="T65" fmla="*/ 490 h 1038"/>
                <a:gd name="T66" fmla="*/ 32 w 1123"/>
                <a:gd name="T67" fmla="*/ 432 h 1038"/>
                <a:gd name="T68" fmla="*/ 59 w 1123"/>
                <a:gd name="T69" fmla="*/ 409 h 1038"/>
                <a:gd name="T70" fmla="*/ 50 w 1123"/>
                <a:gd name="T71" fmla="*/ 385 h 1038"/>
                <a:gd name="T72" fmla="*/ 54 w 1123"/>
                <a:gd name="T73" fmla="*/ 366 h 1038"/>
                <a:gd name="T74" fmla="*/ 95 w 1123"/>
                <a:gd name="T75" fmla="*/ 329 h 1038"/>
                <a:gd name="T76" fmla="*/ 154 w 1123"/>
                <a:gd name="T77" fmla="*/ 362 h 1038"/>
                <a:gd name="T78" fmla="*/ 192 w 1123"/>
                <a:gd name="T79" fmla="*/ 333 h 1038"/>
                <a:gd name="T80" fmla="*/ 202 w 1123"/>
                <a:gd name="T81" fmla="*/ 185 h 1038"/>
                <a:gd name="T82" fmla="*/ 302 w 1123"/>
                <a:gd name="T83" fmla="*/ 151 h 1038"/>
                <a:gd name="T84" fmla="*/ 368 w 1123"/>
                <a:gd name="T85" fmla="*/ 175 h 1038"/>
                <a:gd name="T86" fmla="*/ 367 w 1123"/>
                <a:gd name="T87" fmla="*/ 153 h 1038"/>
                <a:gd name="T88" fmla="*/ 355 w 1123"/>
                <a:gd name="T89" fmla="*/ 121 h 1038"/>
                <a:gd name="T90" fmla="*/ 347 w 1123"/>
                <a:gd name="T91" fmla="*/ 90 h 1038"/>
                <a:gd name="T92" fmla="*/ 378 w 1123"/>
                <a:gd name="T93" fmla="*/ 108 h 1038"/>
                <a:gd name="T94" fmla="*/ 434 w 1123"/>
                <a:gd name="T95" fmla="*/ 88 h 1038"/>
                <a:gd name="T96" fmla="*/ 419 w 1123"/>
                <a:gd name="T97" fmla="*/ 45 h 1038"/>
                <a:gd name="T98" fmla="*/ 445 w 1123"/>
                <a:gd name="T99" fmla="*/ 44 h 1038"/>
                <a:gd name="T100" fmla="*/ 483 w 1123"/>
                <a:gd name="T101" fmla="*/ 55 h 1038"/>
                <a:gd name="T102" fmla="*/ 489 w 1123"/>
                <a:gd name="T103" fmla="*/ 12 h 1038"/>
                <a:gd name="T104" fmla="*/ 540 w 1123"/>
                <a:gd name="T105" fmla="*/ 27 h 1038"/>
                <a:gd name="T106" fmla="*/ 562 w 1123"/>
                <a:gd name="T107" fmla="*/ 2 h 1038"/>
                <a:gd name="T108" fmla="*/ 653 w 1123"/>
                <a:gd name="T109" fmla="*/ 53 h 1038"/>
                <a:gd name="T110" fmla="*/ 688 w 1123"/>
                <a:gd name="T111" fmla="*/ 49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3" h="1038">
                  <a:moveTo>
                    <a:pt x="755" y="189"/>
                  </a:moveTo>
                  <a:lnTo>
                    <a:pt x="772" y="195"/>
                  </a:lnTo>
                  <a:lnTo>
                    <a:pt x="780" y="205"/>
                  </a:lnTo>
                  <a:lnTo>
                    <a:pt x="804" y="237"/>
                  </a:lnTo>
                  <a:lnTo>
                    <a:pt x="807" y="247"/>
                  </a:lnTo>
                  <a:lnTo>
                    <a:pt x="807" y="255"/>
                  </a:lnTo>
                  <a:lnTo>
                    <a:pt x="804" y="262"/>
                  </a:lnTo>
                  <a:lnTo>
                    <a:pt x="804" y="270"/>
                  </a:lnTo>
                  <a:lnTo>
                    <a:pt x="808" y="272"/>
                  </a:lnTo>
                  <a:lnTo>
                    <a:pt x="815" y="267"/>
                  </a:lnTo>
                  <a:lnTo>
                    <a:pt x="823" y="268"/>
                  </a:lnTo>
                  <a:lnTo>
                    <a:pt x="837" y="275"/>
                  </a:lnTo>
                  <a:lnTo>
                    <a:pt x="895" y="331"/>
                  </a:lnTo>
                  <a:lnTo>
                    <a:pt x="903" y="337"/>
                  </a:lnTo>
                  <a:lnTo>
                    <a:pt x="908" y="339"/>
                  </a:lnTo>
                  <a:lnTo>
                    <a:pt x="915" y="334"/>
                  </a:lnTo>
                  <a:lnTo>
                    <a:pt x="920" y="334"/>
                  </a:lnTo>
                  <a:lnTo>
                    <a:pt x="929" y="336"/>
                  </a:lnTo>
                  <a:lnTo>
                    <a:pt x="937" y="340"/>
                  </a:lnTo>
                  <a:lnTo>
                    <a:pt x="943" y="340"/>
                  </a:lnTo>
                  <a:lnTo>
                    <a:pt x="957" y="338"/>
                  </a:lnTo>
                  <a:lnTo>
                    <a:pt x="959" y="342"/>
                  </a:lnTo>
                  <a:lnTo>
                    <a:pt x="960" y="350"/>
                  </a:lnTo>
                  <a:lnTo>
                    <a:pt x="960" y="356"/>
                  </a:lnTo>
                  <a:lnTo>
                    <a:pt x="958" y="365"/>
                  </a:lnTo>
                  <a:lnTo>
                    <a:pt x="954" y="371"/>
                  </a:lnTo>
                  <a:lnTo>
                    <a:pt x="953" y="385"/>
                  </a:lnTo>
                  <a:lnTo>
                    <a:pt x="959" y="393"/>
                  </a:lnTo>
                  <a:lnTo>
                    <a:pt x="972" y="401"/>
                  </a:lnTo>
                  <a:lnTo>
                    <a:pt x="974" y="404"/>
                  </a:lnTo>
                  <a:lnTo>
                    <a:pt x="978" y="419"/>
                  </a:lnTo>
                  <a:lnTo>
                    <a:pt x="993" y="464"/>
                  </a:lnTo>
                  <a:lnTo>
                    <a:pt x="998" y="469"/>
                  </a:lnTo>
                  <a:lnTo>
                    <a:pt x="1004" y="470"/>
                  </a:lnTo>
                  <a:lnTo>
                    <a:pt x="1009" y="470"/>
                  </a:lnTo>
                  <a:lnTo>
                    <a:pt x="1044" y="476"/>
                  </a:lnTo>
                  <a:lnTo>
                    <a:pt x="1059" y="481"/>
                  </a:lnTo>
                  <a:lnTo>
                    <a:pt x="1068" y="483"/>
                  </a:lnTo>
                  <a:lnTo>
                    <a:pt x="1074" y="480"/>
                  </a:lnTo>
                  <a:lnTo>
                    <a:pt x="1079" y="479"/>
                  </a:lnTo>
                  <a:lnTo>
                    <a:pt x="1089" y="478"/>
                  </a:lnTo>
                  <a:lnTo>
                    <a:pt x="1099" y="476"/>
                  </a:lnTo>
                  <a:lnTo>
                    <a:pt x="1103" y="474"/>
                  </a:lnTo>
                  <a:lnTo>
                    <a:pt x="1113" y="473"/>
                  </a:lnTo>
                  <a:lnTo>
                    <a:pt x="1123" y="500"/>
                  </a:lnTo>
                  <a:lnTo>
                    <a:pt x="1115" y="506"/>
                  </a:lnTo>
                  <a:lnTo>
                    <a:pt x="1094" y="516"/>
                  </a:lnTo>
                  <a:lnTo>
                    <a:pt x="1090" y="520"/>
                  </a:lnTo>
                  <a:lnTo>
                    <a:pt x="1089" y="525"/>
                  </a:lnTo>
                  <a:lnTo>
                    <a:pt x="1089" y="529"/>
                  </a:lnTo>
                  <a:lnTo>
                    <a:pt x="1093" y="535"/>
                  </a:lnTo>
                  <a:lnTo>
                    <a:pt x="1094" y="540"/>
                  </a:lnTo>
                  <a:lnTo>
                    <a:pt x="1094" y="545"/>
                  </a:lnTo>
                  <a:lnTo>
                    <a:pt x="1093" y="557"/>
                  </a:lnTo>
                  <a:lnTo>
                    <a:pt x="1091" y="568"/>
                  </a:lnTo>
                  <a:lnTo>
                    <a:pt x="1090" y="579"/>
                  </a:lnTo>
                  <a:lnTo>
                    <a:pt x="1083" y="617"/>
                  </a:lnTo>
                  <a:lnTo>
                    <a:pt x="1078" y="628"/>
                  </a:lnTo>
                  <a:lnTo>
                    <a:pt x="1074" y="634"/>
                  </a:lnTo>
                  <a:lnTo>
                    <a:pt x="1068" y="643"/>
                  </a:lnTo>
                  <a:lnTo>
                    <a:pt x="1055" y="667"/>
                  </a:lnTo>
                  <a:lnTo>
                    <a:pt x="1053" y="673"/>
                  </a:lnTo>
                  <a:lnTo>
                    <a:pt x="1054" y="684"/>
                  </a:lnTo>
                  <a:lnTo>
                    <a:pt x="1055" y="695"/>
                  </a:lnTo>
                  <a:lnTo>
                    <a:pt x="1055" y="702"/>
                  </a:lnTo>
                  <a:lnTo>
                    <a:pt x="1050" y="712"/>
                  </a:lnTo>
                  <a:lnTo>
                    <a:pt x="1041" y="717"/>
                  </a:lnTo>
                  <a:lnTo>
                    <a:pt x="1035" y="718"/>
                  </a:lnTo>
                  <a:lnTo>
                    <a:pt x="1025" y="718"/>
                  </a:lnTo>
                  <a:lnTo>
                    <a:pt x="1006" y="709"/>
                  </a:lnTo>
                  <a:lnTo>
                    <a:pt x="997" y="709"/>
                  </a:lnTo>
                  <a:lnTo>
                    <a:pt x="992" y="712"/>
                  </a:lnTo>
                  <a:lnTo>
                    <a:pt x="982" y="720"/>
                  </a:lnTo>
                  <a:lnTo>
                    <a:pt x="969" y="733"/>
                  </a:lnTo>
                  <a:lnTo>
                    <a:pt x="967" y="737"/>
                  </a:lnTo>
                  <a:lnTo>
                    <a:pt x="947" y="777"/>
                  </a:lnTo>
                  <a:lnTo>
                    <a:pt x="940" y="785"/>
                  </a:lnTo>
                  <a:lnTo>
                    <a:pt x="934" y="790"/>
                  </a:lnTo>
                  <a:lnTo>
                    <a:pt x="929" y="793"/>
                  </a:lnTo>
                  <a:lnTo>
                    <a:pt x="927" y="795"/>
                  </a:lnTo>
                  <a:lnTo>
                    <a:pt x="924" y="803"/>
                  </a:lnTo>
                  <a:lnTo>
                    <a:pt x="923" y="809"/>
                  </a:lnTo>
                  <a:lnTo>
                    <a:pt x="925" y="815"/>
                  </a:lnTo>
                  <a:lnTo>
                    <a:pt x="924" y="825"/>
                  </a:lnTo>
                  <a:lnTo>
                    <a:pt x="924" y="839"/>
                  </a:lnTo>
                  <a:lnTo>
                    <a:pt x="927" y="844"/>
                  </a:lnTo>
                  <a:lnTo>
                    <a:pt x="923" y="848"/>
                  </a:lnTo>
                  <a:lnTo>
                    <a:pt x="922" y="850"/>
                  </a:lnTo>
                  <a:lnTo>
                    <a:pt x="923" y="859"/>
                  </a:lnTo>
                  <a:lnTo>
                    <a:pt x="919" y="870"/>
                  </a:lnTo>
                  <a:lnTo>
                    <a:pt x="915" y="876"/>
                  </a:lnTo>
                  <a:lnTo>
                    <a:pt x="917" y="884"/>
                  </a:lnTo>
                  <a:lnTo>
                    <a:pt x="918" y="886"/>
                  </a:lnTo>
                  <a:lnTo>
                    <a:pt x="922" y="891"/>
                  </a:lnTo>
                  <a:lnTo>
                    <a:pt x="925" y="898"/>
                  </a:lnTo>
                  <a:lnTo>
                    <a:pt x="793" y="970"/>
                  </a:lnTo>
                  <a:lnTo>
                    <a:pt x="777" y="999"/>
                  </a:lnTo>
                  <a:lnTo>
                    <a:pt x="734" y="995"/>
                  </a:lnTo>
                  <a:lnTo>
                    <a:pt x="712" y="981"/>
                  </a:lnTo>
                  <a:lnTo>
                    <a:pt x="654" y="989"/>
                  </a:lnTo>
                  <a:lnTo>
                    <a:pt x="633" y="958"/>
                  </a:lnTo>
                  <a:lnTo>
                    <a:pt x="637" y="948"/>
                  </a:lnTo>
                  <a:lnTo>
                    <a:pt x="598" y="943"/>
                  </a:lnTo>
                  <a:lnTo>
                    <a:pt x="622" y="1009"/>
                  </a:lnTo>
                  <a:lnTo>
                    <a:pt x="555" y="999"/>
                  </a:lnTo>
                  <a:lnTo>
                    <a:pt x="489" y="1038"/>
                  </a:lnTo>
                  <a:lnTo>
                    <a:pt x="470" y="996"/>
                  </a:lnTo>
                  <a:lnTo>
                    <a:pt x="455" y="1000"/>
                  </a:lnTo>
                  <a:lnTo>
                    <a:pt x="442" y="1033"/>
                  </a:lnTo>
                  <a:lnTo>
                    <a:pt x="365" y="955"/>
                  </a:lnTo>
                  <a:lnTo>
                    <a:pt x="355" y="965"/>
                  </a:lnTo>
                  <a:lnTo>
                    <a:pt x="334" y="965"/>
                  </a:lnTo>
                  <a:lnTo>
                    <a:pt x="305" y="957"/>
                  </a:lnTo>
                  <a:lnTo>
                    <a:pt x="282" y="969"/>
                  </a:lnTo>
                  <a:lnTo>
                    <a:pt x="238" y="972"/>
                  </a:lnTo>
                  <a:lnTo>
                    <a:pt x="212" y="915"/>
                  </a:lnTo>
                  <a:lnTo>
                    <a:pt x="188" y="945"/>
                  </a:lnTo>
                  <a:lnTo>
                    <a:pt x="159" y="948"/>
                  </a:lnTo>
                  <a:lnTo>
                    <a:pt x="152" y="937"/>
                  </a:lnTo>
                  <a:lnTo>
                    <a:pt x="167" y="920"/>
                  </a:lnTo>
                  <a:lnTo>
                    <a:pt x="145" y="892"/>
                  </a:lnTo>
                  <a:lnTo>
                    <a:pt x="133" y="862"/>
                  </a:lnTo>
                  <a:lnTo>
                    <a:pt x="135" y="768"/>
                  </a:lnTo>
                  <a:lnTo>
                    <a:pt x="145" y="739"/>
                  </a:lnTo>
                  <a:lnTo>
                    <a:pt x="94" y="682"/>
                  </a:lnTo>
                  <a:lnTo>
                    <a:pt x="85" y="650"/>
                  </a:lnTo>
                  <a:lnTo>
                    <a:pt x="72" y="634"/>
                  </a:lnTo>
                  <a:lnTo>
                    <a:pt x="62" y="598"/>
                  </a:lnTo>
                  <a:lnTo>
                    <a:pt x="42" y="575"/>
                  </a:lnTo>
                  <a:lnTo>
                    <a:pt x="25" y="569"/>
                  </a:lnTo>
                  <a:lnTo>
                    <a:pt x="40" y="529"/>
                  </a:lnTo>
                  <a:lnTo>
                    <a:pt x="40" y="490"/>
                  </a:lnTo>
                  <a:lnTo>
                    <a:pt x="15" y="492"/>
                  </a:lnTo>
                  <a:lnTo>
                    <a:pt x="0" y="445"/>
                  </a:lnTo>
                  <a:lnTo>
                    <a:pt x="4" y="433"/>
                  </a:lnTo>
                  <a:lnTo>
                    <a:pt x="32" y="432"/>
                  </a:lnTo>
                  <a:lnTo>
                    <a:pt x="43" y="428"/>
                  </a:lnTo>
                  <a:lnTo>
                    <a:pt x="50" y="420"/>
                  </a:lnTo>
                  <a:lnTo>
                    <a:pt x="57" y="415"/>
                  </a:lnTo>
                  <a:lnTo>
                    <a:pt x="59" y="409"/>
                  </a:lnTo>
                  <a:lnTo>
                    <a:pt x="60" y="404"/>
                  </a:lnTo>
                  <a:lnTo>
                    <a:pt x="58" y="399"/>
                  </a:lnTo>
                  <a:lnTo>
                    <a:pt x="54" y="395"/>
                  </a:lnTo>
                  <a:lnTo>
                    <a:pt x="50" y="385"/>
                  </a:lnTo>
                  <a:lnTo>
                    <a:pt x="47" y="375"/>
                  </a:lnTo>
                  <a:lnTo>
                    <a:pt x="47" y="368"/>
                  </a:lnTo>
                  <a:lnTo>
                    <a:pt x="48" y="365"/>
                  </a:lnTo>
                  <a:lnTo>
                    <a:pt x="54" y="366"/>
                  </a:lnTo>
                  <a:lnTo>
                    <a:pt x="59" y="358"/>
                  </a:lnTo>
                  <a:lnTo>
                    <a:pt x="87" y="368"/>
                  </a:lnTo>
                  <a:lnTo>
                    <a:pt x="83" y="340"/>
                  </a:lnTo>
                  <a:lnTo>
                    <a:pt x="95" y="329"/>
                  </a:lnTo>
                  <a:lnTo>
                    <a:pt x="124" y="358"/>
                  </a:lnTo>
                  <a:lnTo>
                    <a:pt x="143" y="367"/>
                  </a:lnTo>
                  <a:lnTo>
                    <a:pt x="149" y="365"/>
                  </a:lnTo>
                  <a:lnTo>
                    <a:pt x="154" y="362"/>
                  </a:lnTo>
                  <a:lnTo>
                    <a:pt x="158" y="355"/>
                  </a:lnTo>
                  <a:lnTo>
                    <a:pt x="164" y="340"/>
                  </a:lnTo>
                  <a:lnTo>
                    <a:pt x="169" y="337"/>
                  </a:lnTo>
                  <a:lnTo>
                    <a:pt x="192" y="333"/>
                  </a:lnTo>
                  <a:lnTo>
                    <a:pt x="197" y="328"/>
                  </a:lnTo>
                  <a:lnTo>
                    <a:pt x="204" y="286"/>
                  </a:lnTo>
                  <a:lnTo>
                    <a:pt x="197" y="244"/>
                  </a:lnTo>
                  <a:lnTo>
                    <a:pt x="202" y="185"/>
                  </a:lnTo>
                  <a:lnTo>
                    <a:pt x="222" y="174"/>
                  </a:lnTo>
                  <a:lnTo>
                    <a:pt x="248" y="191"/>
                  </a:lnTo>
                  <a:lnTo>
                    <a:pt x="272" y="165"/>
                  </a:lnTo>
                  <a:lnTo>
                    <a:pt x="302" y="151"/>
                  </a:lnTo>
                  <a:lnTo>
                    <a:pt x="315" y="151"/>
                  </a:lnTo>
                  <a:lnTo>
                    <a:pt x="330" y="155"/>
                  </a:lnTo>
                  <a:lnTo>
                    <a:pt x="364" y="175"/>
                  </a:lnTo>
                  <a:lnTo>
                    <a:pt x="368" y="175"/>
                  </a:lnTo>
                  <a:lnTo>
                    <a:pt x="370" y="171"/>
                  </a:lnTo>
                  <a:lnTo>
                    <a:pt x="372" y="168"/>
                  </a:lnTo>
                  <a:lnTo>
                    <a:pt x="370" y="159"/>
                  </a:lnTo>
                  <a:lnTo>
                    <a:pt x="367" y="153"/>
                  </a:lnTo>
                  <a:lnTo>
                    <a:pt x="357" y="145"/>
                  </a:lnTo>
                  <a:lnTo>
                    <a:pt x="352" y="139"/>
                  </a:lnTo>
                  <a:lnTo>
                    <a:pt x="352" y="134"/>
                  </a:lnTo>
                  <a:lnTo>
                    <a:pt x="355" y="121"/>
                  </a:lnTo>
                  <a:lnTo>
                    <a:pt x="355" y="118"/>
                  </a:lnTo>
                  <a:lnTo>
                    <a:pt x="347" y="105"/>
                  </a:lnTo>
                  <a:lnTo>
                    <a:pt x="344" y="98"/>
                  </a:lnTo>
                  <a:lnTo>
                    <a:pt x="347" y="90"/>
                  </a:lnTo>
                  <a:lnTo>
                    <a:pt x="349" y="88"/>
                  </a:lnTo>
                  <a:lnTo>
                    <a:pt x="357" y="85"/>
                  </a:lnTo>
                  <a:lnTo>
                    <a:pt x="372" y="105"/>
                  </a:lnTo>
                  <a:lnTo>
                    <a:pt x="378" y="108"/>
                  </a:lnTo>
                  <a:lnTo>
                    <a:pt x="409" y="91"/>
                  </a:lnTo>
                  <a:lnTo>
                    <a:pt x="428" y="96"/>
                  </a:lnTo>
                  <a:lnTo>
                    <a:pt x="432" y="94"/>
                  </a:lnTo>
                  <a:lnTo>
                    <a:pt x="434" y="88"/>
                  </a:lnTo>
                  <a:lnTo>
                    <a:pt x="433" y="80"/>
                  </a:lnTo>
                  <a:lnTo>
                    <a:pt x="418" y="59"/>
                  </a:lnTo>
                  <a:lnTo>
                    <a:pt x="418" y="52"/>
                  </a:lnTo>
                  <a:lnTo>
                    <a:pt x="419" y="45"/>
                  </a:lnTo>
                  <a:lnTo>
                    <a:pt x="423" y="39"/>
                  </a:lnTo>
                  <a:lnTo>
                    <a:pt x="427" y="37"/>
                  </a:lnTo>
                  <a:lnTo>
                    <a:pt x="433" y="37"/>
                  </a:lnTo>
                  <a:lnTo>
                    <a:pt x="445" y="44"/>
                  </a:lnTo>
                  <a:lnTo>
                    <a:pt x="465" y="64"/>
                  </a:lnTo>
                  <a:lnTo>
                    <a:pt x="472" y="64"/>
                  </a:lnTo>
                  <a:lnTo>
                    <a:pt x="478" y="60"/>
                  </a:lnTo>
                  <a:lnTo>
                    <a:pt x="483" y="55"/>
                  </a:lnTo>
                  <a:lnTo>
                    <a:pt x="487" y="48"/>
                  </a:lnTo>
                  <a:lnTo>
                    <a:pt x="488" y="39"/>
                  </a:lnTo>
                  <a:lnTo>
                    <a:pt x="487" y="19"/>
                  </a:lnTo>
                  <a:lnTo>
                    <a:pt x="489" y="12"/>
                  </a:lnTo>
                  <a:lnTo>
                    <a:pt x="497" y="10"/>
                  </a:lnTo>
                  <a:lnTo>
                    <a:pt x="513" y="20"/>
                  </a:lnTo>
                  <a:lnTo>
                    <a:pt x="532" y="27"/>
                  </a:lnTo>
                  <a:lnTo>
                    <a:pt x="540" y="27"/>
                  </a:lnTo>
                  <a:lnTo>
                    <a:pt x="550" y="23"/>
                  </a:lnTo>
                  <a:lnTo>
                    <a:pt x="555" y="19"/>
                  </a:lnTo>
                  <a:lnTo>
                    <a:pt x="558" y="14"/>
                  </a:lnTo>
                  <a:lnTo>
                    <a:pt x="562" y="2"/>
                  </a:lnTo>
                  <a:lnTo>
                    <a:pt x="568" y="0"/>
                  </a:lnTo>
                  <a:lnTo>
                    <a:pt x="602" y="14"/>
                  </a:lnTo>
                  <a:lnTo>
                    <a:pt x="632" y="44"/>
                  </a:lnTo>
                  <a:lnTo>
                    <a:pt x="653" y="53"/>
                  </a:lnTo>
                  <a:lnTo>
                    <a:pt x="658" y="53"/>
                  </a:lnTo>
                  <a:lnTo>
                    <a:pt x="673" y="44"/>
                  </a:lnTo>
                  <a:lnTo>
                    <a:pt x="682" y="45"/>
                  </a:lnTo>
                  <a:lnTo>
                    <a:pt x="688" y="49"/>
                  </a:lnTo>
                  <a:lnTo>
                    <a:pt x="709" y="93"/>
                  </a:lnTo>
                  <a:lnTo>
                    <a:pt x="728" y="169"/>
                  </a:lnTo>
                  <a:lnTo>
                    <a:pt x="755" y="189"/>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6" name="Gerona" descr="{&quot;Key&quot;:&quot;gerona&quot;,&quot;Name&quot;:&quot;Gerona&quot;,&quot;Value&quot;:1.0,&quot;Formula&quot;:&quot;&quot;,&quot;Text&quot;:&quot;1&quot;,&quot;HasValue&quot;:true}">
              <a:extLst>
                <a:ext uri="{FF2B5EF4-FFF2-40B4-BE49-F238E27FC236}">
                  <a16:creationId xmlns:a16="http://schemas.microsoft.com/office/drawing/2014/main" id="{4A57D426-FF5A-8A7C-F7DF-52A75F8EC3FF}"/>
                </a:ext>
              </a:extLst>
            </p:cNvPr>
            <p:cNvSpPr>
              <a:spLocks noEditPoints="1"/>
            </p:cNvSpPr>
            <p:nvPr/>
          </p:nvSpPr>
          <p:spPr bwMode="auto">
            <a:xfrm>
              <a:off x="5370091" y="2611402"/>
              <a:ext cx="613463" cy="437782"/>
            </a:xfrm>
            <a:custGeom>
              <a:avLst/>
              <a:gdLst>
                <a:gd name="T0" fmla="*/ 129 w 890"/>
                <a:gd name="T1" fmla="*/ 23 h 634"/>
                <a:gd name="T2" fmla="*/ 153 w 890"/>
                <a:gd name="T3" fmla="*/ 27 h 634"/>
                <a:gd name="T4" fmla="*/ 582 w 890"/>
                <a:gd name="T5" fmla="*/ 613 h 634"/>
                <a:gd name="T6" fmla="*/ 589 w 890"/>
                <a:gd name="T7" fmla="*/ 593 h 634"/>
                <a:gd name="T8" fmla="*/ 539 w 890"/>
                <a:gd name="T9" fmla="*/ 557 h 634"/>
                <a:gd name="T10" fmla="*/ 402 w 890"/>
                <a:gd name="T11" fmla="*/ 517 h 634"/>
                <a:gd name="T12" fmla="*/ 352 w 890"/>
                <a:gd name="T13" fmla="*/ 513 h 634"/>
                <a:gd name="T14" fmla="*/ 341 w 890"/>
                <a:gd name="T15" fmla="*/ 460 h 634"/>
                <a:gd name="T16" fmla="*/ 378 w 890"/>
                <a:gd name="T17" fmla="*/ 464 h 634"/>
                <a:gd name="T18" fmla="*/ 417 w 890"/>
                <a:gd name="T19" fmla="*/ 429 h 634"/>
                <a:gd name="T20" fmla="*/ 404 w 890"/>
                <a:gd name="T21" fmla="*/ 408 h 634"/>
                <a:gd name="T22" fmla="*/ 434 w 890"/>
                <a:gd name="T23" fmla="*/ 335 h 634"/>
                <a:gd name="T24" fmla="*/ 384 w 890"/>
                <a:gd name="T25" fmla="*/ 309 h 634"/>
                <a:gd name="T26" fmla="*/ 323 w 890"/>
                <a:gd name="T27" fmla="*/ 278 h 634"/>
                <a:gd name="T28" fmla="*/ 282 w 890"/>
                <a:gd name="T29" fmla="*/ 267 h 634"/>
                <a:gd name="T30" fmla="*/ 232 w 890"/>
                <a:gd name="T31" fmla="*/ 280 h 634"/>
                <a:gd name="T32" fmla="*/ 201 w 890"/>
                <a:gd name="T33" fmla="*/ 268 h 634"/>
                <a:gd name="T34" fmla="*/ 191 w 890"/>
                <a:gd name="T35" fmla="*/ 232 h 634"/>
                <a:gd name="T36" fmla="*/ 173 w 890"/>
                <a:gd name="T37" fmla="*/ 200 h 634"/>
                <a:gd name="T38" fmla="*/ 186 w 890"/>
                <a:gd name="T39" fmla="*/ 158 h 634"/>
                <a:gd name="T40" fmla="*/ 153 w 890"/>
                <a:gd name="T41" fmla="*/ 150 h 634"/>
                <a:gd name="T42" fmla="*/ 73 w 890"/>
                <a:gd name="T43" fmla="*/ 140 h 634"/>
                <a:gd name="T44" fmla="*/ 68 w 890"/>
                <a:gd name="T45" fmla="*/ 102 h 634"/>
                <a:gd name="T46" fmla="*/ 53 w 890"/>
                <a:gd name="T47" fmla="*/ 57 h 634"/>
                <a:gd name="T48" fmla="*/ 2 w 890"/>
                <a:gd name="T49" fmla="*/ 13 h 634"/>
                <a:gd name="T50" fmla="*/ 57 w 890"/>
                <a:gd name="T51" fmla="*/ 14 h 634"/>
                <a:gd name="T52" fmla="*/ 119 w 890"/>
                <a:gd name="T53" fmla="*/ 43 h 634"/>
                <a:gd name="T54" fmla="*/ 150 w 890"/>
                <a:gd name="T55" fmla="*/ 104 h 634"/>
                <a:gd name="T56" fmla="*/ 188 w 890"/>
                <a:gd name="T57" fmla="*/ 107 h 634"/>
                <a:gd name="T58" fmla="*/ 221 w 890"/>
                <a:gd name="T59" fmla="*/ 78 h 634"/>
                <a:gd name="T60" fmla="*/ 262 w 890"/>
                <a:gd name="T61" fmla="*/ 62 h 634"/>
                <a:gd name="T62" fmla="*/ 336 w 890"/>
                <a:gd name="T63" fmla="*/ 63 h 634"/>
                <a:gd name="T64" fmla="*/ 398 w 890"/>
                <a:gd name="T65" fmla="*/ 95 h 634"/>
                <a:gd name="T66" fmla="*/ 439 w 890"/>
                <a:gd name="T67" fmla="*/ 124 h 634"/>
                <a:gd name="T68" fmla="*/ 459 w 890"/>
                <a:gd name="T69" fmla="*/ 110 h 634"/>
                <a:gd name="T70" fmla="*/ 512 w 890"/>
                <a:gd name="T71" fmla="*/ 117 h 634"/>
                <a:gd name="T72" fmla="*/ 516 w 890"/>
                <a:gd name="T73" fmla="*/ 90 h 634"/>
                <a:gd name="T74" fmla="*/ 564 w 890"/>
                <a:gd name="T75" fmla="*/ 60 h 634"/>
                <a:gd name="T76" fmla="*/ 623 w 890"/>
                <a:gd name="T77" fmla="*/ 39 h 634"/>
                <a:gd name="T78" fmla="*/ 659 w 890"/>
                <a:gd name="T79" fmla="*/ 32 h 634"/>
                <a:gd name="T80" fmla="*/ 711 w 890"/>
                <a:gd name="T81" fmla="*/ 19 h 634"/>
                <a:gd name="T82" fmla="*/ 738 w 890"/>
                <a:gd name="T83" fmla="*/ 37 h 634"/>
                <a:gd name="T84" fmla="*/ 777 w 890"/>
                <a:gd name="T85" fmla="*/ 52 h 634"/>
                <a:gd name="T86" fmla="*/ 809 w 890"/>
                <a:gd name="T87" fmla="*/ 73 h 634"/>
                <a:gd name="T88" fmla="*/ 828 w 890"/>
                <a:gd name="T89" fmla="*/ 115 h 634"/>
                <a:gd name="T90" fmla="*/ 864 w 890"/>
                <a:gd name="T91" fmla="*/ 124 h 634"/>
                <a:gd name="T92" fmla="*/ 877 w 890"/>
                <a:gd name="T93" fmla="*/ 154 h 634"/>
                <a:gd name="T94" fmla="*/ 864 w 890"/>
                <a:gd name="T95" fmla="*/ 183 h 634"/>
                <a:gd name="T96" fmla="*/ 813 w 890"/>
                <a:gd name="T97" fmla="*/ 183 h 634"/>
                <a:gd name="T98" fmla="*/ 780 w 890"/>
                <a:gd name="T99" fmla="*/ 207 h 634"/>
                <a:gd name="T100" fmla="*/ 810 w 890"/>
                <a:gd name="T101" fmla="*/ 287 h 634"/>
                <a:gd name="T102" fmla="*/ 825 w 890"/>
                <a:gd name="T103" fmla="*/ 335 h 634"/>
                <a:gd name="T104" fmla="*/ 829 w 890"/>
                <a:gd name="T105" fmla="*/ 378 h 634"/>
                <a:gd name="T106" fmla="*/ 843 w 890"/>
                <a:gd name="T107" fmla="*/ 410 h 634"/>
                <a:gd name="T108" fmla="*/ 798 w 890"/>
                <a:gd name="T109" fmla="*/ 485 h 634"/>
                <a:gd name="T110" fmla="*/ 737 w 890"/>
                <a:gd name="T111" fmla="*/ 529 h 634"/>
                <a:gd name="T112" fmla="*/ 632 w 890"/>
                <a:gd name="T113" fmla="*/ 595 h 634"/>
                <a:gd name="T114" fmla="*/ 605 w 890"/>
                <a:gd name="T115" fmla="*/ 61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0" h="634">
                  <a:moveTo>
                    <a:pt x="152" y="39"/>
                  </a:moveTo>
                  <a:lnTo>
                    <a:pt x="138" y="38"/>
                  </a:lnTo>
                  <a:lnTo>
                    <a:pt x="131" y="32"/>
                  </a:lnTo>
                  <a:lnTo>
                    <a:pt x="129" y="23"/>
                  </a:lnTo>
                  <a:lnTo>
                    <a:pt x="136" y="9"/>
                  </a:lnTo>
                  <a:lnTo>
                    <a:pt x="142" y="7"/>
                  </a:lnTo>
                  <a:lnTo>
                    <a:pt x="148" y="14"/>
                  </a:lnTo>
                  <a:lnTo>
                    <a:pt x="153" y="27"/>
                  </a:lnTo>
                  <a:lnTo>
                    <a:pt x="159" y="38"/>
                  </a:lnTo>
                  <a:lnTo>
                    <a:pt x="152" y="39"/>
                  </a:lnTo>
                  <a:close/>
                  <a:moveTo>
                    <a:pt x="592" y="634"/>
                  </a:moveTo>
                  <a:lnTo>
                    <a:pt x="582" y="613"/>
                  </a:lnTo>
                  <a:lnTo>
                    <a:pt x="581" y="607"/>
                  </a:lnTo>
                  <a:lnTo>
                    <a:pt x="583" y="603"/>
                  </a:lnTo>
                  <a:lnTo>
                    <a:pt x="588" y="597"/>
                  </a:lnTo>
                  <a:lnTo>
                    <a:pt x="589" y="593"/>
                  </a:lnTo>
                  <a:lnTo>
                    <a:pt x="586" y="578"/>
                  </a:lnTo>
                  <a:lnTo>
                    <a:pt x="574" y="567"/>
                  </a:lnTo>
                  <a:lnTo>
                    <a:pt x="549" y="557"/>
                  </a:lnTo>
                  <a:lnTo>
                    <a:pt x="539" y="557"/>
                  </a:lnTo>
                  <a:lnTo>
                    <a:pt x="531" y="558"/>
                  </a:lnTo>
                  <a:lnTo>
                    <a:pt x="513" y="569"/>
                  </a:lnTo>
                  <a:lnTo>
                    <a:pt x="463" y="579"/>
                  </a:lnTo>
                  <a:lnTo>
                    <a:pt x="402" y="517"/>
                  </a:lnTo>
                  <a:lnTo>
                    <a:pt x="379" y="515"/>
                  </a:lnTo>
                  <a:lnTo>
                    <a:pt x="366" y="520"/>
                  </a:lnTo>
                  <a:lnTo>
                    <a:pt x="361" y="520"/>
                  </a:lnTo>
                  <a:lnTo>
                    <a:pt x="352" y="513"/>
                  </a:lnTo>
                  <a:lnTo>
                    <a:pt x="343" y="500"/>
                  </a:lnTo>
                  <a:lnTo>
                    <a:pt x="337" y="485"/>
                  </a:lnTo>
                  <a:lnTo>
                    <a:pt x="334" y="470"/>
                  </a:lnTo>
                  <a:lnTo>
                    <a:pt x="341" y="460"/>
                  </a:lnTo>
                  <a:lnTo>
                    <a:pt x="344" y="454"/>
                  </a:lnTo>
                  <a:lnTo>
                    <a:pt x="347" y="453"/>
                  </a:lnTo>
                  <a:lnTo>
                    <a:pt x="372" y="465"/>
                  </a:lnTo>
                  <a:lnTo>
                    <a:pt x="378" y="464"/>
                  </a:lnTo>
                  <a:lnTo>
                    <a:pt x="396" y="453"/>
                  </a:lnTo>
                  <a:lnTo>
                    <a:pt x="406" y="454"/>
                  </a:lnTo>
                  <a:lnTo>
                    <a:pt x="417" y="437"/>
                  </a:lnTo>
                  <a:lnTo>
                    <a:pt x="417" y="429"/>
                  </a:lnTo>
                  <a:lnTo>
                    <a:pt x="411" y="420"/>
                  </a:lnTo>
                  <a:lnTo>
                    <a:pt x="407" y="417"/>
                  </a:lnTo>
                  <a:lnTo>
                    <a:pt x="403" y="413"/>
                  </a:lnTo>
                  <a:lnTo>
                    <a:pt x="404" y="408"/>
                  </a:lnTo>
                  <a:lnTo>
                    <a:pt x="432" y="377"/>
                  </a:lnTo>
                  <a:lnTo>
                    <a:pt x="437" y="367"/>
                  </a:lnTo>
                  <a:lnTo>
                    <a:pt x="438" y="350"/>
                  </a:lnTo>
                  <a:lnTo>
                    <a:pt x="434" y="335"/>
                  </a:lnTo>
                  <a:lnTo>
                    <a:pt x="426" y="323"/>
                  </a:lnTo>
                  <a:lnTo>
                    <a:pt x="414" y="315"/>
                  </a:lnTo>
                  <a:lnTo>
                    <a:pt x="393" y="315"/>
                  </a:lnTo>
                  <a:lnTo>
                    <a:pt x="384" y="309"/>
                  </a:lnTo>
                  <a:lnTo>
                    <a:pt x="363" y="279"/>
                  </a:lnTo>
                  <a:lnTo>
                    <a:pt x="342" y="285"/>
                  </a:lnTo>
                  <a:lnTo>
                    <a:pt x="331" y="285"/>
                  </a:lnTo>
                  <a:lnTo>
                    <a:pt x="323" y="278"/>
                  </a:lnTo>
                  <a:lnTo>
                    <a:pt x="319" y="267"/>
                  </a:lnTo>
                  <a:lnTo>
                    <a:pt x="316" y="263"/>
                  </a:lnTo>
                  <a:lnTo>
                    <a:pt x="288" y="264"/>
                  </a:lnTo>
                  <a:lnTo>
                    <a:pt x="282" y="267"/>
                  </a:lnTo>
                  <a:lnTo>
                    <a:pt x="276" y="273"/>
                  </a:lnTo>
                  <a:lnTo>
                    <a:pt x="273" y="274"/>
                  </a:lnTo>
                  <a:lnTo>
                    <a:pt x="248" y="274"/>
                  </a:lnTo>
                  <a:lnTo>
                    <a:pt x="232" y="280"/>
                  </a:lnTo>
                  <a:lnTo>
                    <a:pt x="229" y="279"/>
                  </a:lnTo>
                  <a:lnTo>
                    <a:pt x="214" y="268"/>
                  </a:lnTo>
                  <a:lnTo>
                    <a:pt x="211" y="267"/>
                  </a:lnTo>
                  <a:lnTo>
                    <a:pt x="201" y="268"/>
                  </a:lnTo>
                  <a:lnTo>
                    <a:pt x="197" y="268"/>
                  </a:lnTo>
                  <a:lnTo>
                    <a:pt x="193" y="263"/>
                  </a:lnTo>
                  <a:lnTo>
                    <a:pt x="191" y="255"/>
                  </a:lnTo>
                  <a:lnTo>
                    <a:pt x="191" y="232"/>
                  </a:lnTo>
                  <a:lnTo>
                    <a:pt x="188" y="223"/>
                  </a:lnTo>
                  <a:lnTo>
                    <a:pt x="186" y="218"/>
                  </a:lnTo>
                  <a:lnTo>
                    <a:pt x="174" y="203"/>
                  </a:lnTo>
                  <a:lnTo>
                    <a:pt x="173" y="200"/>
                  </a:lnTo>
                  <a:lnTo>
                    <a:pt x="177" y="182"/>
                  </a:lnTo>
                  <a:lnTo>
                    <a:pt x="184" y="172"/>
                  </a:lnTo>
                  <a:lnTo>
                    <a:pt x="186" y="167"/>
                  </a:lnTo>
                  <a:lnTo>
                    <a:pt x="186" y="158"/>
                  </a:lnTo>
                  <a:lnTo>
                    <a:pt x="183" y="150"/>
                  </a:lnTo>
                  <a:lnTo>
                    <a:pt x="177" y="147"/>
                  </a:lnTo>
                  <a:lnTo>
                    <a:pt x="169" y="147"/>
                  </a:lnTo>
                  <a:lnTo>
                    <a:pt x="153" y="150"/>
                  </a:lnTo>
                  <a:lnTo>
                    <a:pt x="146" y="149"/>
                  </a:lnTo>
                  <a:lnTo>
                    <a:pt x="126" y="135"/>
                  </a:lnTo>
                  <a:lnTo>
                    <a:pt x="112" y="132"/>
                  </a:lnTo>
                  <a:lnTo>
                    <a:pt x="73" y="140"/>
                  </a:lnTo>
                  <a:lnTo>
                    <a:pt x="68" y="125"/>
                  </a:lnTo>
                  <a:lnTo>
                    <a:pt x="71" y="113"/>
                  </a:lnTo>
                  <a:lnTo>
                    <a:pt x="69" y="108"/>
                  </a:lnTo>
                  <a:lnTo>
                    <a:pt x="68" y="102"/>
                  </a:lnTo>
                  <a:lnTo>
                    <a:pt x="58" y="89"/>
                  </a:lnTo>
                  <a:lnTo>
                    <a:pt x="56" y="83"/>
                  </a:lnTo>
                  <a:lnTo>
                    <a:pt x="56" y="60"/>
                  </a:lnTo>
                  <a:lnTo>
                    <a:pt x="53" y="57"/>
                  </a:lnTo>
                  <a:lnTo>
                    <a:pt x="18" y="43"/>
                  </a:lnTo>
                  <a:lnTo>
                    <a:pt x="9" y="35"/>
                  </a:lnTo>
                  <a:lnTo>
                    <a:pt x="4" y="24"/>
                  </a:lnTo>
                  <a:lnTo>
                    <a:pt x="2" y="13"/>
                  </a:lnTo>
                  <a:lnTo>
                    <a:pt x="0" y="0"/>
                  </a:lnTo>
                  <a:lnTo>
                    <a:pt x="10" y="4"/>
                  </a:lnTo>
                  <a:lnTo>
                    <a:pt x="45" y="9"/>
                  </a:lnTo>
                  <a:lnTo>
                    <a:pt x="57" y="14"/>
                  </a:lnTo>
                  <a:lnTo>
                    <a:pt x="88" y="35"/>
                  </a:lnTo>
                  <a:lnTo>
                    <a:pt x="100" y="38"/>
                  </a:lnTo>
                  <a:lnTo>
                    <a:pt x="112" y="39"/>
                  </a:lnTo>
                  <a:lnTo>
                    <a:pt x="119" y="43"/>
                  </a:lnTo>
                  <a:lnTo>
                    <a:pt x="127" y="55"/>
                  </a:lnTo>
                  <a:lnTo>
                    <a:pt x="134" y="83"/>
                  </a:lnTo>
                  <a:lnTo>
                    <a:pt x="139" y="95"/>
                  </a:lnTo>
                  <a:lnTo>
                    <a:pt x="150" y="104"/>
                  </a:lnTo>
                  <a:lnTo>
                    <a:pt x="158" y="109"/>
                  </a:lnTo>
                  <a:lnTo>
                    <a:pt x="165" y="110"/>
                  </a:lnTo>
                  <a:lnTo>
                    <a:pt x="179" y="109"/>
                  </a:lnTo>
                  <a:lnTo>
                    <a:pt x="188" y="107"/>
                  </a:lnTo>
                  <a:lnTo>
                    <a:pt x="196" y="102"/>
                  </a:lnTo>
                  <a:lnTo>
                    <a:pt x="204" y="92"/>
                  </a:lnTo>
                  <a:lnTo>
                    <a:pt x="218" y="82"/>
                  </a:lnTo>
                  <a:lnTo>
                    <a:pt x="221" y="78"/>
                  </a:lnTo>
                  <a:lnTo>
                    <a:pt x="224" y="67"/>
                  </a:lnTo>
                  <a:lnTo>
                    <a:pt x="227" y="63"/>
                  </a:lnTo>
                  <a:lnTo>
                    <a:pt x="236" y="58"/>
                  </a:lnTo>
                  <a:lnTo>
                    <a:pt x="262" y="62"/>
                  </a:lnTo>
                  <a:lnTo>
                    <a:pt x="297" y="50"/>
                  </a:lnTo>
                  <a:lnTo>
                    <a:pt x="314" y="49"/>
                  </a:lnTo>
                  <a:lnTo>
                    <a:pt x="329" y="58"/>
                  </a:lnTo>
                  <a:lnTo>
                    <a:pt x="336" y="63"/>
                  </a:lnTo>
                  <a:lnTo>
                    <a:pt x="368" y="79"/>
                  </a:lnTo>
                  <a:lnTo>
                    <a:pt x="386" y="83"/>
                  </a:lnTo>
                  <a:lnTo>
                    <a:pt x="394" y="83"/>
                  </a:lnTo>
                  <a:lnTo>
                    <a:pt x="398" y="95"/>
                  </a:lnTo>
                  <a:lnTo>
                    <a:pt x="407" y="107"/>
                  </a:lnTo>
                  <a:lnTo>
                    <a:pt x="418" y="115"/>
                  </a:lnTo>
                  <a:lnTo>
                    <a:pt x="428" y="118"/>
                  </a:lnTo>
                  <a:lnTo>
                    <a:pt x="439" y="124"/>
                  </a:lnTo>
                  <a:lnTo>
                    <a:pt x="446" y="127"/>
                  </a:lnTo>
                  <a:lnTo>
                    <a:pt x="452" y="127"/>
                  </a:lnTo>
                  <a:lnTo>
                    <a:pt x="454" y="123"/>
                  </a:lnTo>
                  <a:lnTo>
                    <a:pt x="459" y="110"/>
                  </a:lnTo>
                  <a:lnTo>
                    <a:pt x="464" y="107"/>
                  </a:lnTo>
                  <a:lnTo>
                    <a:pt x="474" y="107"/>
                  </a:lnTo>
                  <a:lnTo>
                    <a:pt x="501" y="115"/>
                  </a:lnTo>
                  <a:lnTo>
                    <a:pt x="512" y="117"/>
                  </a:lnTo>
                  <a:lnTo>
                    <a:pt x="527" y="117"/>
                  </a:lnTo>
                  <a:lnTo>
                    <a:pt x="527" y="113"/>
                  </a:lnTo>
                  <a:lnTo>
                    <a:pt x="521" y="105"/>
                  </a:lnTo>
                  <a:lnTo>
                    <a:pt x="516" y="90"/>
                  </a:lnTo>
                  <a:lnTo>
                    <a:pt x="519" y="84"/>
                  </a:lnTo>
                  <a:lnTo>
                    <a:pt x="543" y="65"/>
                  </a:lnTo>
                  <a:lnTo>
                    <a:pt x="553" y="60"/>
                  </a:lnTo>
                  <a:lnTo>
                    <a:pt x="564" y="60"/>
                  </a:lnTo>
                  <a:lnTo>
                    <a:pt x="586" y="63"/>
                  </a:lnTo>
                  <a:lnTo>
                    <a:pt x="597" y="62"/>
                  </a:lnTo>
                  <a:lnTo>
                    <a:pt x="606" y="55"/>
                  </a:lnTo>
                  <a:lnTo>
                    <a:pt x="623" y="39"/>
                  </a:lnTo>
                  <a:lnTo>
                    <a:pt x="632" y="34"/>
                  </a:lnTo>
                  <a:lnTo>
                    <a:pt x="641" y="33"/>
                  </a:lnTo>
                  <a:lnTo>
                    <a:pt x="651" y="34"/>
                  </a:lnTo>
                  <a:lnTo>
                    <a:pt x="659" y="32"/>
                  </a:lnTo>
                  <a:lnTo>
                    <a:pt x="678" y="18"/>
                  </a:lnTo>
                  <a:lnTo>
                    <a:pt x="696" y="24"/>
                  </a:lnTo>
                  <a:lnTo>
                    <a:pt x="706" y="18"/>
                  </a:lnTo>
                  <a:lnTo>
                    <a:pt x="711" y="19"/>
                  </a:lnTo>
                  <a:lnTo>
                    <a:pt x="727" y="20"/>
                  </a:lnTo>
                  <a:lnTo>
                    <a:pt x="730" y="22"/>
                  </a:lnTo>
                  <a:lnTo>
                    <a:pt x="734" y="29"/>
                  </a:lnTo>
                  <a:lnTo>
                    <a:pt x="738" y="37"/>
                  </a:lnTo>
                  <a:lnTo>
                    <a:pt x="744" y="42"/>
                  </a:lnTo>
                  <a:lnTo>
                    <a:pt x="750" y="47"/>
                  </a:lnTo>
                  <a:lnTo>
                    <a:pt x="762" y="50"/>
                  </a:lnTo>
                  <a:lnTo>
                    <a:pt x="777" y="52"/>
                  </a:lnTo>
                  <a:lnTo>
                    <a:pt x="790" y="50"/>
                  </a:lnTo>
                  <a:lnTo>
                    <a:pt x="814" y="47"/>
                  </a:lnTo>
                  <a:lnTo>
                    <a:pt x="813" y="57"/>
                  </a:lnTo>
                  <a:lnTo>
                    <a:pt x="809" y="73"/>
                  </a:lnTo>
                  <a:lnTo>
                    <a:pt x="810" y="85"/>
                  </a:lnTo>
                  <a:lnTo>
                    <a:pt x="810" y="98"/>
                  </a:lnTo>
                  <a:lnTo>
                    <a:pt x="818" y="108"/>
                  </a:lnTo>
                  <a:lnTo>
                    <a:pt x="828" y="115"/>
                  </a:lnTo>
                  <a:lnTo>
                    <a:pt x="839" y="114"/>
                  </a:lnTo>
                  <a:lnTo>
                    <a:pt x="853" y="113"/>
                  </a:lnTo>
                  <a:lnTo>
                    <a:pt x="860" y="124"/>
                  </a:lnTo>
                  <a:lnTo>
                    <a:pt x="864" y="124"/>
                  </a:lnTo>
                  <a:lnTo>
                    <a:pt x="869" y="118"/>
                  </a:lnTo>
                  <a:lnTo>
                    <a:pt x="877" y="119"/>
                  </a:lnTo>
                  <a:lnTo>
                    <a:pt x="890" y="128"/>
                  </a:lnTo>
                  <a:lnTo>
                    <a:pt x="877" y="154"/>
                  </a:lnTo>
                  <a:lnTo>
                    <a:pt x="875" y="162"/>
                  </a:lnTo>
                  <a:lnTo>
                    <a:pt x="873" y="173"/>
                  </a:lnTo>
                  <a:lnTo>
                    <a:pt x="869" y="179"/>
                  </a:lnTo>
                  <a:lnTo>
                    <a:pt x="864" y="183"/>
                  </a:lnTo>
                  <a:lnTo>
                    <a:pt x="860" y="190"/>
                  </a:lnTo>
                  <a:lnTo>
                    <a:pt x="852" y="187"/>
                  </a:lnTo>
                  <a:lnTo>
                    <a:pt x="830" y="190"/>
                  </a:lnTo>
                  <a:lnTo>
                    <a:pt x="813" y="183"/>
                  </a:lnTo>
                  <a:lnTo>
                    <a:pt x="809" y="175"/>
                  </a:lnTo>
                  <a:lnTo>
                    <a:pt x="798" y="178"/>
                  </a:lnTo>
                  <a:lnTo>
                    <a:pt x="787" y="190"/>
                  </a:lnTo>
                  <a:lnTo>
                    <a:pt x="780" y="207"/>
                  </a:lnTo>
                  <a:lnTo>
                    <a:pt x="779" y="252"/>
                  </a:lnTo>
                  <a:lnTo>
                    <a:pt x="782" y="265"/>
                  </a:lnTo>
                  <a:lnTo>
                    <a:pt x="792" y="274"/>
                  </a:lnTo>
                  <a:lnTo>
                    <a:pt x="810" y="287"/>
                  </a:lnTo>
                  <a:lnTo>
                    <a:pt x="820" y="300"/>
                  </a:lnTo>
                  <a:lnTo>
                    <a:pt x="833" y="319"/>
                  </a:lnTo>
                  <a:lnTo>
                    <a:pt x="833" y="328"/>
                  </a:lnTo>
                  <a:lnTo>
                    <a:pt x="825" y="335"/>
                  </a:lnTo>
                  <a:lnTo>
                    <a:pt x="823" y="345"/>
                  </a:lnTo>
                  <a:lnTo>
                    <a:pt x="825" y="357"/>
                  </a:lnTo>
                  <a:lnTo>
                    <a:pt x="829" y="373"/>
                  </a:lnTo>
                  <a:lnTo>
                    <a:pt x="829" y="378"/>
                  </a:lnTo>
                  <a:lnTo>
                    <a:pt x="832" y="382"/>
                  </a:lnTo>
                  <a:lnTo>
                    <a:pt x="842" y="390"/>
                  </a:lnTo>
                  <a:lnTo>
                    <a:pt x="845" y="395"/>
                  </a:lnTo>
                  <a:lnTo>
                    <a:pt x="843" y="410"/>
                  </a:lnTo>
                  <a:lnTo>
                    <a:pt x="829" y="434"/>
                  </a:lnTo>
                  <a:lnTo>
                    <a:pt x="822" y="453"/>
                  </a:lnTo>
                  <a:lnTo>
                    <a:pt x="813" y="463"/>
                  </a:lnTo>
                  <a:lnTo>
                    <a:pt x="798" y="485"/>
                  </a:lnTo>
                  <a:lnTo>
                    <a:pt x="779" y="484"/>
                  </a:lnTo>
                  <a:lnTo>
                    <a:pt x="758" y="499"/>
                  </a:lnTo>
                  <a:lnTo>
                    <a:pt x="753" y="520"/>
                  </a:lnTo>
                  <a:lnTo>
                    <a:pt x="737" y="529"/>
                  </a:lnTo>
                  <a:lnTo>
                    <a:pt x="687" y="568"/>
                  </a:lnTo>
                  <a:lnTo>
                    <a:pt x="677" y="584"/>
                  </a:lnTo>
                  <a:lnTo>
                    <a:pt x="659" y="589"/>
                  </a:lnTo>
                  <a:lnTo>
                    <a:pt x="632" y="595"/>
                  </a:lnTo>
                  <a:lnTo>
                    <a:pt x="623" y="599"/>
                  </a:lnTo>
                  <a:lnTo>
                    <a:pt x="614" y="607"/>
                  </a:lnTo>
                  <a:lnTo>
                    <a:pt x="610" y="615"/>
                  </a:lnTo>
                  <a:lnTo>
                    <a:pt x="605" y="617"/>
                  </a:lnTo>
                  <a:lnTo>
                    <a:pt x="599" y="617"/>
                  </a:lnTo>
                  <a:lnTo>
                    <a:pt x="592" y="634"/>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7" name="Granada" descr="{&quot;Key&quot;:&quot;granada&quot;,&quot;Name&quot;:&quot;Granada&quot;,&quot;Value&quot;:1.0,&quot;Formula&quot;:&quot;&quot;,&quot;Text&quot;:&quot;1&quot;,&quot;HasValue&quot;:true}">
              <a:extLst>
                <a:ext uri="{FF2B5EF4-FFF2-40B4-BE49-F238E27FC236}">
                  <a16:creationId xmlns:a16="http://schemas.microsoft.com/office/drawing/2014/main" id="{E9DAEA09-0D7E-C36A-3291-DA0AC257A01B}"/>
                </a:ext>
              </a:extLst>
            </p:cNvPr>
            <p:cNvSpPr>
              <a:spLocks/>
            </p:cNvSpPr>
            <p:nvPr/>
          </p:nvSpPr>
          <p:spPr bwMode="auto">
            <a:xfrm>
              <a:off x="3063587" y="4831483"/>
              <a:ext cx="807560" cy="667299"/>
            </a:xfrm>
            <a:custGeom>
              <a:avLst/>
              <a:gdLst>
                <a:gd name="T0" fmla="*/ 1121 w 1170"/>
                <a:gd name="T1" fmla="*/ 56 h 967"/>
                <a:gd name="T2" fmla="*/ 1157 w 1170"/>
                <a:gd name="T3" fmla="*/ 108 h 967"/>
                <a:gd name="T4" fmla="*/ 1130 w 1170"/>
                <a:gd name="T5" fmla="*/ 145 h 967"/>
                <a:gd name="T6" fmla="*/ 1128 w 1170"/>
                <a:gd name="T7" fmla="*/ 222 h 967"/>
                <a:gd name="T8" fmla="*/ 1107 w 1170"/>
                <a:gd name="T9" fmla="*/ 268 h 967"/>
                <a:gd name="T10" fmla="*/ 1087 w 1170"/>
                <a:gd name="T11" fmla="*/ 392 h 967"/>
                <a:gd name="T12" fmla="*/ 926 w 1170"/>
                <a:gd name="T13" fmla="*/ 500 h 967"/>
                <a:gd name="T14" fmla="*/ 917 w 1170"/>
                <a:gd name="T15" fmla="*/ 553 h 967"/>
                <a:gd name="T16" fmla="*/ 892 w 1170"/>
                <a:gd name="T17" fmla="*/ 596 h 967"/>
                <a:gd name="T18" fmla="*/ 845 w 1170"/>
                <a:gd name="T19" fmla="*/ 572 h 967"/>
                <a:gd name="T20" fmla="*/ 816 w 1170"/>
                <a:gd name="T21" fmla="*/ 567 h 967"/>
                <a:gd name="T22" fmla="*/ 795 w 1170"/>
                <a:gd name="T23" fmla="*/ 631 h 967"/>
                <a:gd name="T24" fmla="*/ 771 w 1170"/>
                <a:gd name="T25" fmla="*/ 647 h 967"/>
                <a:gd name="T26" fmla="*/ 757 w 1170"/>
                <a:gd name="T27" fmla="*/ 686 h 967"/>
                <a:gd name="T28" fmla="*/ 725 w 1170"/>
                <a:gd name="T29" fmla="*/ 697 h 967"/>
                <a:gd name="T30" fmla="*/ 735 w 1170"/>
                <a:gd name="T31" fmla="*/ 756 h 967"/>
                <a:gd name="T32" fmla="*/ 693 w 1170"/>
                <a:gd name="T33" fmla="*/ 815 h 967"/>
                <a:gd name="T34" fmla="*/ 702 w 1170"/>
                <a:gd name="T35" fmla="*/ 834 h 967"/>
                <a:gd name="T36" fmla="*/ 653 w 1170"/>
                <a:gd name="T37" fmla="*/ 903 h 967"/>
                <a:gd name="T38" fmla="*/ 605 w 1170"/>
                <a:gd name="T39" fmla="*/ 926 h 967"/>
                <a:gd name="T40" fmla="*/ 532 w 1170"/>
                <a:gd name="T41" fmla="*/ 946 h 967"/>
                <a:gd name="T42" fmla="*/ 466 w 1170"/>
                <a:gd name="T43" fmla="*/ 967 h 967"/>
                <a:gd name="T44" fmla="*/ 426 w 1170"/>
                <a:gd name="T45" fmla="*/ 956 h 967"/>
                <a:gd name="T46" fmla="*/ 381 w 1170"/>
                <a:gd name="T47" fmla="*/ 936 h 967"/>
                <a:gd name="T48" fmla="*/ 326 w 1170"/>
                <a:gd name="T49" fmla="*/ 947 h 967"/>
                <a:gd name="T50" fmla="*/ 306 w 1170"/>
                <a:gd name="T51" fmla="*/ 893 h 967"/>
                <a:gd name="T52" fmla="*/ 95 w 1170"/>
                <a:gd name="T53" fmla="*/ 792 h 967"/>
                <a:gd name="T54" fmla="*/ 21 w 1170"/>
                <a:gd name="T55" fmla="*/ 717 h 967"/>
                <a:gd name="T56" fmla="*/ 36 w 1170"/>
                <a:gd name="T57" fmla="*/ 596 h 967"/>
                <a:gd name="T58" fmla="*/ 46 w 1170"/>
                <a:gd name="T59" fmla="*/ 528 h 967"/>
                <a:gd name="T60" fmla="*/ 61 w 1170"/>
                <a:gd name="T61" fmla="*/ 511 h 967"/>
                <a:gd name="T62" fmla="*/ 101 w 1170"/>
                <a:gd name="T63" fmla="*/ 507 h 967"/>
                <a:gd name="T64" fmla="*/ 176 w 1170"/>
                <a:gd name="T65" fmla="*/ 476 h 967"/>
                <a:gd name="T66" fmla="*/ 292 w 1170"/>
                <a:gd name="T67" fmla="*/ 431 h 967"/>
                <a:gd name="T68" fmla="*/ 450 w 1170"/>
                <a:gd name="T69" fmla="*/ 328 h 967"/>
                <a:gd name="T70" fmla="*/ 496 w 1170"/>
                <a:gd name="T71" fmla="*/ 360 h 967"/>
                <a:gd name="T72" fmla="*/ 566 w 1170"/>
                <a:gd name="T73" fmla="*/ 346 h 967"/>
                <a:gd name="T74" fmla="*/ 607 w 1170"/>
                <a:gd name="T75" fmla="*/ 310 h 967"/>
                <a:gd name="T76" fmla="*/ 692 w 1170"/>
                <a:gd name="T77" fmla="*/ 332 h 967"/>
                <a:gd name="T78" fmla="*/ 741 w 1170"/>
                <a:gd name="T79" fmla="*/ 336 h 967"/>
                <a:gd name="T80" fmla="*/ 786 w 1170"/>
                <a:gd name="T81" fmla="*/ 233 h 967"/>
                <a:gd name="T82" fmla="*/ 897 w 1170"/>
                <a:gd name="T83" fmla="*/ 76 h 967"/>
                <a:gd name="T84" fmla="*/ 913 w 1170"/>
                <a:gd name="T85" fmla="*/ 83 h 967"/>
                <a:gd name="T86" fmla="*/ 982 w 1170"/>
                <a:gd name="T87" fmla="*/ 0 h 967"/>
                <a:gd name="T88" fmla="*/ 1091 w 1170"/>
                <a:gd name="T89" fmla="*/ 4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0" h="967">
                  <a:moveTo>
                    <a:pt x="1099" y="38"/>
                  </a:moveTo>
                  <a:lnTo>
                    <a:pt x="1117" y="52"/>
                  </a:lnTo>
                  <a:lnTo>
                    <a:pt x="1121" y="56"/>
                  </a:lnTo>
                  <a:lnTo>
                    <a:pt x="1130" y="72"/>
                  </a:lnTo>
                  <a:lnTo>
                    <a:pt x="1141" y="90"/>
                  </a:lnTo>
                  <a:lnTo>
                    <a:pt x="1157" y="108"/>
                  </a:lnTo>
                  <a:lnTo>
                    <a:pt x="1170" y="116"/>
                  </a:lnTo>
                  <a:lnTo>
                    <a:pt x="1135" y="140"/>
                  </a:lnTo>
                  <a:lnTo>
                    <a:pt x="1130" y="145"/>
                  </a:lnTo>
                  <a:lnTo>
                    <a:pt x="1127" y="152"/>
                  </a:lnTo>
                  <a:lnTo>
                    <a:pt x="1125" y="182"/>
                  </a:lnTo>
                  <a:lnTo>
                    <a:pt x="1128" y="222"/>
                  </a:lnTo>
                  <a:lnTo>
                    <a:pt x="1126" y="235"/>
                  </a:lnTo>
                  <a:lnTo>
                    <a:pt x="1112" y="257"/>
                  </a:lnTo>
                  <a:lnTo>
                    <a:pt x="1107" y="268"/>
                  </a:lnTo>
                  <a:lnTo>
                    <a:pt x="1111" y="322"/>
                  </a:lnTo>
                  <a:lnTo>
                    <a:pt x="1077" y="328"/>
                  </a:lnTo>
                  <a:lnTo>
                    <a:pt x="1087" y="392"/>
                  </a:lnTo>
                  <a:lnTo>
                    <a:pt x="1013" y="415"/>
                  </a:lnTo>
                  <a:lnTo>
                    <a:pt x="930" y="490"/>
                  </a:lnTo>
                  <a:lnTo>
                    <a:pt x="926" y="500"/>
                  </a:lnTo>
                  <a:lnTo>
                    <a:pt x="923" y="538"/>
                  </a:lnTo>
                  <a:lnTo>
                    <a:pt x="922" y="543"/>
                  </a:lnTo>
                  <a:lnTo>
                    <a:pt x="917" y="553"/>
                  </a:lnTo>
                  <a:lnTo>
                    <a:pt x="917" y="558"/>
                  </a:lnTo>
                  <a:lnTo>
                    <a:pt x="920" y="608"/>
                  </a:lnTo>
                  <a:lnTo>
                    <a:pt x="892" y="596"/>
                  </a:lnTo>
                  <a:lnTo>
                    <a:pt x="866" y="595"/>
                  </a:lnTo>
                  <a:lnTo>
                    <a:pt x="858" y="591"/>
                  </a:lnTo>
                  <a:lnTo>
                    <a:pt x="845" y="572"/>
                  </a:lnTo>
                  <a:lnTo>
                    <a:pt x="840" y="570"/>
                  </a:lnTo>
                  <a:lnTo>
                    <a:pt x="822" y="566"/>
                  </a:lnTo>
                  <a:lnTo>
                    <a:pt x="816" y="567"/>
                  </a:lnTo>
                  <a:lnTo>
                    <a:pt x="812" y="570"/>
                  </a:lnTo>
                  <a:lnTo>
                    <a:pt x="808" y="575"/>
                  </a:lnTo>
                  <a:lnTo>
                    <a:pt x="795" y="631"/>
                  </a:lnTo>
                  <a:lnTo>
                    <a:pt x="790" y="637"/>
                  </a:lnTo>
                  <a:lnTo>
                    <a:pt x="777" y="642"/>
                  </a:lnTo>
                  <a:lnTo>
                    <a:pt x="771" y="647"/>
                  </a:lnTo>
                  <a:lnTo>
                    <a:pt x="767" y="656"/>
                  </a:lnTo>
                  <a:lnTo>
                    <a:pt x="762" y="677"/>
                  </a:lnTo>
                  <a:lnTo>
                    <a:pt x="757" y="686"/>
                  </a:lnTo>
                  <a:lnTo>
                    <a:pt x="752" y="688"/>
                  </a:lnTo>
                  <a:lnTo>
                    <a:pt x="732" y="689"/>
                  </a:lnTo>
                  <a:lnTo>
                    <a:pt x="725" y="697"/>
                  </a:lnTo>
                  <a:lnTo>
                    <a:pt x="722" y="707"/>
                  </a:lnTo>
                  <a:lnTo>
                    <a:pt x="726" y="731"/>
                  </a:lnTo>
                  <a:lnTo>
                    <a:pt x="735" y="756"/>
                  </a:lnTo>
                  <a:lnTo>
                    <a:pt x="736" y="766"/>
                  </a:lnTo>
                  <a:lnTo>
                    <a:pt x="733" y="776"/>
                  </a:lnTo>
                  <a:lnTo>
                    <a:pt x="693" y="815"/>
                  </a:lnTo>
                  <a:lnTo>
                    <a:pt x="691" y="823"/>
                  </a:lnTo>
                  <a:lnTo>
                    <a:pt x="695" y="830"/>
                  </a:lnTo>
                  <a:lnTo>
                    <a:pt x="702" y="834"/>
                  </a:lnTo>
                  <a:lnTo>
                    <a:pt x="707" y="839"/>
                  </a:lnTo>
                  <a:lnTo>
                    <a:pt x="715" y="863"/>
                  </a:lnTo>
                  <a:lnTo>
                    <a:pt x="653" y="903"/>
                  </a:lnTo>
                  <a:lnTo>
                    <a:pt x="660" y="932"/>
                  </a:lnTo>
                  <a:lnTo>
                    <a:pt x="645" y="933"/>
                  </a:lnTo>
                  <a:lnTo>
                    <a:pt x="605" y="926"/>
                  </a:lnTo>
                  <a:lnTo>
                    <a:pt x="548" y="933"/>
                  </a:lnTo>
                  <a:lnTo>
                    <a:pt x="540" y="938"/>
                  </a:lnTo>
                  <a:lnTo>
                    <a:pt x="532" y="946"/>
                  </a:lnTo>
                  <a:lnTo>
                    <a:pt x="521" y="954"/>
                  </a:lnTo>
                  <a:lnTo>
                    <a:pt x="501" y="967"/>
                  </a:lnTo>
                  <a:lnTo>
                    <a:pt x="466" y="967"/>
                  </a:lnTo>
                  <a:lnTo>
                    <a:pt x="445" y="949"/>
                  </a:lnTo>
                  <a:lnTo>
                    <a:pt x="433" y="951"/>
                  </a:lnTo>
                  <a:lnTo>
                    <a:pt x="426" y="956"/>
                  </a:lnTo>
                  <a:lnTo>
                    <a:pt x="406" y="946"/>
                  </a:lnTo>
                  <a:lnTo>
                    <a:pt x="398" y="934"/>
                  </a:lnTo>
                  <a:lnTo>
                    <a:pt x="381" y="936"/>
                  </a:lnTo>
                  <a:lnTo>
                    <a:pt x="362" y="937"/>
                  </a:lnTo>
                  <a:lnTo>
                    <a:pt x="355" y="945"/>
                  </a:lnTo>
                  <a:lnTo>
                    <a:pt x="326" y="947"/>
                  </a:lnTo>
                  <a:lnTo>
                    <a:pt x="301" y="940"/>
                  </a:lnTo>
                  <a:lnTo>
                    <a:pt x="297" y="920"/>
                  </a:lnTo>
                  <a:lnTo>
                    <a:pt x="306" y="893"/>
                  </a:lnTo>
                  <a:lnTo>
                    <a:pt x="272" y="856"/>
                  </a:lnTo>
                  <a:lnTo>
                    <a:pt x="246" y="858"/>
                  </a:lnTo>
                  <a:lnTo>
                    <a:pt x="95" y="792"/>
                  </a:lnTo>
                  <a:lnTo>
                    <a:pt x="32" y="739"/>
                  </a:lnTo>
                  <a:lnTo>
                    <a:pt x="26" y="729"/>
                  </a:lnTo>
                  <a:lnTo>
                    <a:pt x="21" y="717"/>
                  </a:lnTo>
                  <a:lnTo>
                    <a:pt x="17" y="672"/>
                  </a:lnTo>
                  <a:lnTo>
                    <a:pt x="0" y="626"/>
                  </a:lnTo>
                  <a:lnTo>
                    <a:pt x="36" y="596"/>
                  </a:lnTo>
                  <a:lnTo>
                    <a:pt x="31" y="574"/>
                  </a:lnTo>
                  <a:lnTo>
                    <a:pt x="46" y="549"/>
                  </a:lnTo>
                  <a:lnTo>
                    <a:pt x="46" y="528"/>
                  </a:lnTo>
                  <a:lnTo>
                    <a:pt x="52" y="517"/>
                  </a:lnTo>
                  <a:lnTo>
                    <a:pt x="56" y="512"/>
                  </a:lnTo>
                  <a:lnTo>
                    <a:pt x="61" y="511"/>
                  </a:lnTo>
                  <a:lnTo>
                    <a:pt x="81" y="515"/>
                  </a:lnTo>
                  <a:lnTo>
                    <a:pt x="91" y="513"/>
                  </a:lnTo>
                  <a:lnTo>
                    <a:pt x="101" y="507"/>
                  </a:lnTo>
                  <a:lnTo>
                    <a:pt x="125" y="480"/>
                  </a:lnTo>
                  <a:lnTo>
                    <a:pt x="135" y="475"/>
                  </a:lnTo>
                  <a:lnTo>
                    <a:pt x="176" y="476"/>
                  </a:lnTo>
                  <a:lnTo>
                    <a:pt x="205" y="492"/>
                  </a:lnTo>
                  <a:lnTo>
                    <a:pt x="265" y="487"/>
                  </a:lnTo>
                  <a:lnTo>
                    <a:pt x="292" y="431"/>
                  </a:lnTo>
                  <a:lnTo>
                    <a:pt x="352" y="395"/>
                  </a:lnTo>
                  <a:lnTo>
                    <a:pt x="383" y="387"/>
                  </a:lnTo>
                  <a:lnTo>
                    <a:pt x="450" y="328"/>
                  </a:lnTo>
                  <a:lnTo>
                    <a:pt x="458" y="326"/>
                  </a:lnTo>
                  <a:lnTo>
                    <a:pt x="472" y="333"/>
                  </a:lnTo>
                  <a:lnTo>
                    <a:pt x="496" y="360"/>
                  </a:lnTo>
                  <a:lnTo>
                    <a:pt x="510" y="362"/>
                  </a:lnTo>
                  <a:lnTo>
                    <a:pt x="556" y="353"/>
                  </a:lnTo>
                  <a:lnTo>
                    <a:pt x="566" y="346"/>
                  </a:lnTo>
                  <a:lnTo>
                    <a:pt x="578" y="326"/>
                  </a:lnTo>
                  <a:lnTo>
                    <a:pt x="592" y="315"/>
                  </a:lnTo>
                  <a:lnTo>
                    <a:pt x="607" y="310"/>
                  </a:lnTo>
                  <a:lnTo>
                    <a:pt x="627" y="312"/>
                  </a:lnTo>
                  <a:lnTo>
                    <a:pt x="681" y="340"/>
                  </a:lnTo>
                  <a:lnTo>
                    <a:pt x="692" y="332"/>
                  </a:lnTo>
                  <a:lnTo>
                    <a:pt x="702" y="328"/>
                  </a:lnTo>
                  <a:lnTo>
                    <a:pt x="713" y="328"/>
                  </a:lnTo>
                  <a:lnTo>
                    <a:pt x="741" y="336"/>
                  </a:lnTo>
                  <a:lnTo>
                    <a:pt x="745" y="315"/>
                  </a:lnTo>
                  <a:lnTo>
                    <a:pt x="786" y="291"/>
                  </a:lnTo>
                  <a:lnTo>
                    <a:pt x="786" y="233"/>
                  </a:lnTo>
                  <a:lnTo>
                    <a:pt x="792" y="215"/>
                  </a:lnTo>
                  <a:lnTo>
                    <a:pt x="850" y="118"/>
                  </a:lnTo>
                  <a:lnTo>
                    <a:pt x="897" y="76"/>
                  </a:lnTo>
                  <a:lnTo>
                    <a:pt x="902" y="76"/>
                  </a:lnTo>
                  <a:lnTo>
                    <a:pt x="905" y="77"/>
                  </a:lnTo>
                  <a:lnTo>
                    <a:pt x="913" y="83"/>
                  </a:lnTo>
                  <a:lnTo>
                    <a:pt x="953" y="52"/>
                  </a:lnTo>
                  <a:lnTo>
                    <a:pt x="952" y="13"/>
                  </a:lnTo>
                  <a:lnTo>
                    <a:pt x="982" y="0"/>
                  </a:lnTo>
                  <a:lnTo>
                    <a:pt x="1027" y="22"/>
                  </a:lnTo>
                  <a:lnTo>
                    <a:pt x="1086" y="40"/>
                  </a:lnTo>
                  <a:lnTo>
                    <a:pt x="1091" y="40"/>
                  </a:lnTo>
                  <a:lnTo>
                    <a:pt x="1099" y="38"/>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8" name="Guadalaraja" descr="{&quot;Key&quot;:&quot;guadalaraja&quot;,&quot;Name&quot;:&quot;Guadalaraja&quot;,&quot;Value&quot;:1.0,&quot;Formula&quot;:&quot;&quot;,&quot;Text&quot;:&quot;1&quot;,&quot;HasValue&quot;:true}">
              <a:extLst>
                <a:ext uri="{FF2B5EF4-FFF2-40B4-BE49-F238E27FC236}">
                  <a16:creationId xmlns:a16="http://schemas.microsoft.com/office/drawing/2014/main" id="{4EFE391B-EA9E-CB64-B865-AD69C0217C03}"/>
                </a:ext>
              </a:extLst>
            </p:cNvPr>
            <p:cNvSpPr>
              <a:spLocks/>
            </p:cNvSpPr>
            <p:nvPr/>
          </p:nvSpPr>
          <p:spPr bwMode="auto">
            <a:xfrm>
              <a:off x="3359692" y="3214947"/>
              <a:ext cx="767890" cy="590793"/>
            </a:xfrm>
            <a:custGeom>
              <a:avLst/>
              <a:gdLst>
                <a:gd name="T0" fmla="*/ 904 w 1114"/>
                <a:gd name="T1" fmla="*/ 132 h 855"/>
                <a:gd name="T2" fmla="*/ 994 w 1114"/>
                <a:gd name="T3" fmla="*/ 205 h 855"/>
                <a:gd name="T4" fmla="*/ 1048 w 1114"/>
                <a:gd name="T5" fmla="*/ 260 h 855"/>
                <a:gd name="T6" fmla="*/ 1079 w 1114"/>
                <a:gd name="T7" fmla="*/ 341 h 855"/>
                <a:gd name="T8" fmla="*/ 1113 w 1114"/>
                <a:gd name="T9" fmla="*/ 384 h 855"/>
                <a:gd name="T10" fmla="*/ 1106 w 1114"/>
                <a:gd name="T11" fmla="*/ 446 h 855"/>
                <a:gd name="T12" fmla="*/ 1108 w 1114"/>
                <a:gd name="T13" fmla="*/ 501 h 855"/>
                <a:gd name="T14" fmla="*/ 1087 w 1114"/>
                <a:gd name="T15" fmla="*/ 552 h 855"/>
                <a:gd name="T16" fmla="*/ 1037 w 1114"/>
                <a:gd name="T17" fmla="*/ 542 h 855"/>
                <a:gd name="T18" fmla="*/ 1017 w 1114"/>
                <a:gd name="T19" fmla="*/ 619 h 855"/>
                <a:gd name="T20" fmla="*/ 971 w 1114"/>
                <a:gd name="T21" fmla="*/ 666 h 855"/>
                <a:gd name="T22" fmla="*/ 882 w 1114"/>
                <a:gd name="T23" fmla="*/ 531 h 855"/>
                <a:gd name="T24" fmla="*/ 771 w 1114"/>
                <a:gd name="T25" fmla="*/ 489 h 855"/>
                <a:gd name="T26" fmla="*/ 722 w 1114"/>
                <a:gd name="T27" fmla="*/ 507 h 855"/>
                <a:gd name="T28" fmla="*/ 692 w 1114"/>
                <a:gd name="T29" fmla="*/ 542 h 855"/>
                <a:gd name="T30" fmla="*/ 636 w 1114"/>
                <a:gd name="T31" fmla="*/ 524 h 855"/>
                <a:gd name="T32" fmla="*/ 643 w 1114"/>
                <a:gd name="T33" fmla="*/ 575 h 855"/>
                <a:gd name="T34" fmla="*/ 566 w 1114"/>
                <a:gd name="T35" fmla="*/ 572 h 855"/>
                <a:gd name="T36" fmla="*/ 564 w 1114"/>
                <a:gd name="T37" fmla="*/ 609 h 855"/>
                <a:gd name="T38" fmla="*/ 581 w 1114"/>
                <a:gd name="T39" fmla="*/ 655 h 855"/>
                <a:gd name="T40" fmla="*/ 511 w 1114"/>
                <a:gd name="T41" fmla="*/ 639 h 855"/>
                <a:gd name="T42" fmla="*/ 413 w 1114"/>
                <a:gd name="T43" fmla="*/ 774 h 855"/>
                <a:gd name="T44" fmla="*/ 363 w 1114"/>
                <a:gd name="T45" fmla="*/ 849 h 855"/>
                <a:gd name="T46" fmla="*/ 296 w 1114"/>
                <a:gd name="T47" fmla="*/ 855 h 855"/>
                <a:gd name="T48" fmla="*/ 256 w 1114"/>
                <a:gd name="T49" fmla="*/ 794 h 855"/>
                <a:gd name="T50" fmla="*/ 213 w 1114"/>
                <a:gd name="T51" fmla="*/ 787 h 855"/>
                <a:gd name="T52" fmla="*/ 203 w 1114"/>
                <a:gd name="T53" fmla="*/ 755 h 855"/>
                <a:gd name="T54" fmla="*/ 224 w 1114"/>
                <a:gd name="T55" fmla="*/ 702 h 855"/>
                <a:gd name="T56" fmla="*/ 203 w 1114"/>
                <a:gd name="T57" fmla="*/ 650 h 855"/>
                <a:gd name="T58" fmla="*/ 191 w 1114"/>
                <a:gd name="T59" fmla="*/ 595 h 855"/>
                <a:gd name="T60" fmla="*/ 151 w 1114"/>
                <a:gd name="T61" fmla="*/ 579 h 855"/>
                <a:gd name="T62" fmla="*/ 133 w 1114"/>
                <a:gd name="T63" fmla="*/ 547 h 855"/>
                <a:gd name="T64" fmla="*/ 123 w 1114"/>
                <a:gd name="T65" fmla="*/ 496 h 855"/>
                <a:gd name="T66" fmla="*/ 88 w 1114"/>
                <a:gd name="T67" fmla="*/ 467 h 855"/>
                <a:gd name="T68" fmla="*/ 51 w 1114"/>
                <a:gd name="T69" fmla="*/ 466 h 855"/>
                <a:gd name="T70" fmla="*/ 58 w 1114"/>
                <a:gd name="T71" fmla="*/ 430 h 855"/>
                <a:gd name="T72" fmla="*/ 28 w 1114"/>
                <a:gd name="T73" fmla="*/ 392 h 855"/>
                <a:gd name="T74" fmla="*/ 46 w 1114"/>
                <a:gd name="T75" fmla="*/ 336 h 855"/>
                <a:gd name="T76" fmla="*/ 57 w 1114"/>
                <a:gd name="T77" fmla="*/ 294 h 855"/>
                <a:gd name="T78" fmla="*/ 76 w 1114"/>
                <a:gd name="T79" fmla="*/ 229 h 855"/>
                <a:gd name="T80" fmla="*/ 24 w 1114"/>
                <a:gd name="T81" fmla="*/ 152 h 855"/>
                <a:gd name="T82" fmla="*/ 70 w 1114"/>
                <a:gd name="T83" fmla="*/ 82 h 855"/>
                <a:gd name="T84" fmla="*/ 72 w 1114"/>
                <a:gd name="T85" fmla="*/ 44 h 855"/>
                <a:gd name="T86" fmla="*/ 182 w 1114"/>
                <a:gd name="T87" fmla="*/ 22 h 855"/>
                <a:gd name="T88" fmla="*/ 334 w 1114"/>
                <a:gd name="T89" fmla="*/ 17 h 855"/>
                <a:gd name="T90" fmla="*/ 370 w 1114"/>
                <a:gd name="T91" fmla="*/ 6 h 855"/>
                <a:gd name="T92" fmla="*/ 410 w 1114"/>
                <a:gd name="T93" fmla="*/ 46 h 855"/>
                <a:gd name="T94" fmla="*/ 454 w 1114"/>
                <a:gd name="T95" fmla="*/ 37 h 855"/>
                <a:gd name="T96" fmla="*/ 503 w 1114"/>
                <a:gd name="T97" fmla="*/ 65 h 855"/>
                <a:gd name="T98" fmla="*/ 529 w 1114"/>
                <a:gd name="T99" fmla="*/ 87 h 855"/>
                <a:gd name="T100" fmla="*/ 535 w 1114"/>
                <a:gd name="T101" fmla="*/ 116 h 855"/>
                <a:gd name="T102" fmla="*/ 558 w 1114"/>
                <a:gd name="T103" fmla="*/ 124 h 855"/>
                <a:gd name="T104" fmla="*/ 590 w 1114"/>
                <a:gd name="T105" fmla="*/ 154 h 855"/>
                <a:gd name="T106" fmla="*/ 623 w 1114"/>
                <a:gd name="T107" fmla="*/ 190 h 855"/>
                <a:gd name="T108" fmla="*/ 677 w 1114"/>
                <a:gd name="T109" fmla="*/ 190 h 855"/>
                <a:gd name="T110" fmla="*/ 727 w 1114"/>
                <a:gd name="T111" fmla="*/ 172 h 855"/>
                <a:gd name="T112" fmla="*/ 785 w 1114"/>
                <a:gd name="T113" fmla="*/ 152 h 855"/>
                <a:gd name="T114" fmla="*/ 824 w 1114"/>
                <a:gd name="T115" fmla="*/ 180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4" h="855">
                  <a:moveTo>
                    <a:pt x="828" y="127"/>
                  </a:moveTo>
                  <a:lnTo>
                    <a:pt x="873" y="112"/>
                  </a:lnTo>
                  <a:lnTo>
                    <a:pt x="888" y="117"/>
                  </a:lnTo>
                  <a:lnTo>
                    <a:pt x="892" y="122"/>
                  </a:lnTo>
                  <a:lnTo>
                    <a:pt x="897" y="127"/>
                  </a:lnTo>
                  <a:lnTo>
                    <a:pt x="904" y="132"/>
                  </a:lnTo>
                  <a:lnTo>
                    <a:pt x="918" y="139"/>
                  </a:lnTo>
                  <a:lnTo>
                    <a:pt x="941" y="156"/>
                  </a:lnTo>
                  <a:lnTo>
                    <a:pt x="959" y="166"/>
                  </a:lnTo>
                  <a:lnTo>
                    <a:pt x="987" y="190"/>
                  </a:lnTo>
                  <a:lnTo>
                    <a:pt x="993" y="200"/>
                  </a:lnTo>
                  <a:lnTo>
                    <a:pt x="994" y="205"/>
                  </a:lnTo>
                  <a:lnTo>
                    <a:pt x="998" y="210"/>
                  </a:lnTo>
                  <a:lnTo>
                    <a:pt x="1006" y="219"/>
                  </a:lnTo>
                  <a:lnTo>
                    <a:pt x="1036" y="245"/>
                  </a:lnTo>
                  <a:lnTo>
                    <a:pt x="1039" y="250"/>
                  </a:lnTo>
                  <a:lnTo>
                    <a:pt x="1044" y="255"/>
                  </a:lnTo>
                  <a:lnTo>
                    <a:pt x="1048" y="260"/>
                  </a:lnTo>
                  <a:lnTo>
                    <a:pt x="1067" y="277"/>
                  </a:lnTo>
                  <a:lnTo>
                    <a:pt x="1074" y="291"/>
                  </a:lnTo>
                  <a:lnTo>
                    <a:pt x="1073" y="297"/>
                  </a:lnTo>
                  <a:lnTo>
                    <a:pt x="1072" y="321"/>
                  </a:lnTo>
                  <a:lnTo>
                    <a:pt x="1074" y="332"/>
                  </a:lnTo>
                  <a:lnTo>
                    <a:pt x="1079" y="341"/>
                  </a:lnTo>
                  <a:lnTo>
                    <a:pt x="1083" y="347"/>
                  </a:lnTo>
                  <a:lnTo>
                    <a:pt x="1090" y="356"/>
                  </a:lnTo>
                  <a:lnTo>
                    <a:pt x="1106" y="366"/>
                  </a:lnTo>
                  <a:lnTo>
                    <a:pt x="1111" y="372"/>
                  </a:lnTo>
                  <a:lnTo>
                    <a:pt x="1112" y="377"/>
                  </a:lnTo>
                  <a:lnTo>
                    <a:pt x="1113" y="384"/>
                  </a:lnTo>
                  <a:lnTo>
                    <a:pt x="1113" y="401"/>
                  </a:lnTo>
                  <a:lnTo>
                    <a:pt x="1112" y="409"/>
                  </a:lnTo>
                  <a:lnTo>
                    <a:pt x="1107" y="420"/>
                  </a:lnTo>
                  <a:lnTo>
                    <a:pt x="1104" y="426"/>
                  </a:lnTo>
                  <a:lnTo>
                    <a:pt x="1103" y="440"/>
                  </a:lnTo>
                  <a:lnTo>
                    <a:pt x="1106" y="446"/>
                  </a:lnTo>
                  <a:lnTo>
                    <a:pt x="1109" y="452"/>
                  </a:lnTo>
                  <a:lnTo>
                    <a:pt x="1113" y="462"/>
                  </a:lnTo>
                  <a:lnTo>
                    <a:pt x="1114" y="470"/>
                  </a:lnTo>
                  <a:lnTo>
                    <a:pt x="1114" y="485"/>
                  </a:lnTo>
                  <a:lnTo>
                    <a:pt x="1112" y="491"/>
                  </a:lnTo>
                  <a:lnTo>
                    <a:pt x="1108" y="501"/>
                  </a:lnTo>
                  <a:lnTo>
                    <a:pt x="1104" y="512"/>
                  </a:lnTo>
                  <a:lnTo>
                    <a:pt x="1104" y="521"/>
                  </a:lnTo>
                  <a:lnTo>
                    <a:pt x="1107" y="535"/>
                  </a:lnTo>
                  <a:lnTo>
                    <a:pt x="1101" y="544"/>
                  </a:lnTo>
                  <a:lnTo>
                    <a:pt x="1096" y="547"/>
                  </a:lnTo>
                  <a:lnTo>
                    <a:pt x="1087" y="552"/>
                  </a:lnTo>
                  <a:lnTo>
                    <a:pt x="1077" y="552"/>
                  </a:lnTo>
                  <a:lnTo>
                    <a:pt x="1068" y="546"/>
                  </a:lnTo>
                  <a:lnTo>
                    <a:pt x="1059" y="542"/>
                  </a:lnTo>
                  <a:lnTo>
                    <a:pt x="1054" y="542"/>
                  </a:lnTo>
                  <a:lnTo>
                    <a:pt x="1040" y="539"/>
                  </a:lnTo>
                  <a:lnTo>
                    <a:pt x="1037" y="542"/>
                  </a:lnTo>
                  <a:lnTo>
                    <a:pt x="1033" y="546"/>
                  </a:lnTo>
                  <a:lnTo>
                    <a:pt x="1024" y="574"/>
                  </a:lnTo>
                  <a:lnTo>
                    <a:pt x="1024" y="582"/>
                  </a:lnTo>
                  <a:lnTo>
                    <a:pt x="1024" y="609"/>
                  </a:lnTo>
                  <a:lnTo>
                    <a:pt x="1021" y="615"/>
                  </a:lnTo>
                  <a:lnTo>
                    <a:pt x="1017" y="619"/>
                  </a:lnTo>
                  <a:lnTo>
                    <a:pt x="1006" y="624"/>
                  </a:lnTo>
                  <a:lnTo>
                    <a:pt x="1001" y="627"/>
                  </a:lnTo>
                  <a:lnTo>
                    <a:pt x="997" y="634"/>
                  </a:lnTo>
                  <a:lnTo>
                    <a:pt x="978" y="661"/>
                  </a:lnTo>
                  <a:lnTo>
                    <a:pt x="974" y="665"/>
                  </a:lnTo>
                  <a:lnTo>
                    <a:pt x="971" y="666"/>
                  </a:lnTo>
                  <a:lnTo>
                    <a:pt x="964" y="676"/>
                  </a:lnTo>
                  <a:lnTo>
                    <a:pt x="937" y="656"/>
                  </a:lnTo>
                  <a:lnTo>
                    <a:pt x="918" y="580"/>
                  </a:lnTo>
                  <a:lnTo>
                    <a:pt x="897" y="536"/>
                  </a:lnTo>
                  <a:lnTo>
                    <a:pt x="891" y="532"/>
                  </a:lnTo>
                  <a:lnTo>
                    <a:pt x="882" y="531"/>
                  </a:lnTo>
                  <a:lnTo>
                    <a:pt x="867" y="540"/>
                  </a:lnTo>
                  <a:lnTo>
                    <a:pt x="862" y="540"/>
                  </a:lnTo>
                  <a:lnTo>
                    <a:pt x="841" y="531"/>
                  </a:lnTo>
                  <a:lnTo>
                    <a:pt x="811" y="501"/>
                  </a:lnTo>
                  <a:lnTo>
                    <a:pt x="777" y="487"/>
                  </a:lnTo>
                  <a:lnTo>
                    <a:pt x="771" y="489"/>
                  </a:lnTo>
                  <a:lnTo>
                    <a:pt x="767" y="501"/>
                  </a:lnTo>
                  <a:lnTo>
                    <a:pt x="764" y="506"/>
                  </a:lnTo>
                  <a:lnTo>
                    <a:pt x="759" y="510"/>
                  </a:lnTo>
                  <a:lnTo>
                    <a:pt x="749" y="514"/>
                  </a:lnTo>
                  <a:lnTo>
                    <a:pt x="741" y="514"/>
                  </a:lnTo>
                  <a:lnTo>
                    <a:pt x="722" y="507"/>
                  </a:lnTo>
                  <a:lnTo>
                    <a:pt x="706" y="497"/>
                  </a:lnTo>
                  <a:lnTo>
                    <a:pt x="698" y="499"/>
                  </a:lnTo>
                  <a:lnTo>
                    <a:pt x="696" y="506"/>
                  </a:lnTo>
                  <a:lnTo>
                    <a:pt x="697" y="526"/>
                  </a:lnTo>
                  <a:lnTo>
                    <a:pt x="696" y="535"/>
                  </a:lnTo>
                  <a:lnTo>
                    <a:pt x="692" y="542"/>
                  </a:lnTo>
                  <a:lnTo>
                    <a:pt x="687" y="547"/>
                  </a:lnTo>
                  <a:lnTo>
                    <a:pt x="681" y="551"/>
                  </a:lnTo>
                  <a:lnTo>
                    <a:pt x="674" y="551"/>
                  </a:lnTo>
                  <a:lnTo>
                    <a:pt x="654" y="531"/>
                  </a:lnTo>
                  <a:lnTo>
                    <a:pt x="642" y="524"/>
                  </a:lnTo>
                  <a:lnTo>
                    <a:pt x="636" y="524"/>
                  </a:lnTo>
                  <a:lnTo>
                    <a:pt x="632" y="526"/>
                  </a:lnTo>
                  <a:lnTo>
                    <a:pt x="628" y="532"/>
                  </a:lnTo>
                  <a:lnTo>
                    <a:pt x="627" y="539"/>
                  </a:lnTo>
                  <a:lnTo>
                    <a:pt x="627" y="546"/>
                  </a:lnTo>
                  <a:lnTo>
                    <a:pt x="642" y="567"/>
                  </a:lnTo>
                  <a:lnTo>
                    <a:pt x="643" y="575"/>
                  </a:lnTo>
                  <a:lnTo>
                    <a:pt x="641" y="581"/>
                  </a:lnTo>
                  <a:lnTo>
                    <a:pt x="637" y="584"/>
                  </a:lnTo>
                  <a:lnTo>
                    <a:pt x="618" y="579"/>
                  </a:lnTo>
                  <a:lnTo>
                    <a:pt x="587" y="595"/>
                  </a:lnTo>
                  <a:lnTo>
                    <a:pt x="581" y="592"/>
                  </a:lnTo>
                  <a:lnTo>
                    <a:pt x="566" y="572"/>
                  </a:lnTo>
                  <a:lnTo>
                    <a:pt x="558" y="575"/>
                  </a:lnTo>
                  <a:lnTo>
                    <a:pt x="556" y="577"/>
                  </a:lnTo>
                  <a:lnTo>
                    <a:pt x="553" y="585"/>
                  </a:lnTo>
                  <a:lnTo>
                    <a:pt x="556" y="592"/>
                  </a:lnTo>
                  <a:lnTo>
                    <a:pt x="564" y="605"/>
                  </a:lnTo>
                  <a:lnTo>
                    <a:pt x="564" y="609"/>
                  </a:lnTo>
                  <a:lnTo>
                    <a:pt x="561" y="621"/>
                  </a:lnTo>
                  <a:lnTo>
                    <a:pt x="561" y="626"/>
                  </a:lnTo>
                  <a:lnTo>
                    <a:pt x="566" y="632"/>
                  </a:lnTo>
                  <a:lnTo>
                    <a:pt x="576" y="640"/>
                  </a:lnTo>
                  <a:lnTo>
                    <a:pt x="579" y="646"/>
                  </a:lnTo>
                  <a:lnTo>
                    <a:pt x="581" y="655"/>
                  </a:lnTo>
                  <a:lnTo>
                    <a:pt x="579" y="659"/>
                  </a:lnTo>
                  <a:lnTo>
                    <a:pt x="577" y="662"/>
                  </a:lnTo>
                  <a:lnTo>
                    <a:pt x="573" y="662"/>
                  </a:lnTo>
                  <a:lnTo>
                    <a:pt x="539" y="642"/>
                  </a:lnTo>
                  <a:lnTo>
                    <a:pt x="524" y="639"/>
                  </a:lnTo>
                  <a:lnTo>
                    <a:pt x="511" y="639"/>
                  </a:lnTo>
                  <a:lnTo>
                    <a:pt x="481" y="652"/>
                  </a:lnTo>
                  <a:lnTo>
                    <a:pt x="457" y="679"/>
                  </a:lnTo>
                  <a:lnTo>
                    <a:pt x="431" y="661"/>
                  </a:lnTo>
                  <a:lnTo>
                    <a:pt x="411" y="672"/>
                  </a:lnTo>
                  <a:lnTo>
                    <a:pt x="406" y="731"/>
                  </a:lnTo>
                  <a:lnTo>
                    <a:pt x="413" y="774"/>
                  </a:lnTo>
                  <a:lnTo>
                    <a:pt x="406" y="815"/>
                  </a:lnTo>
                  <a:lnTo>
                    <a:pt x="401" y="820"/>
                  </a:lnTo>
                  <a:lnTo>
                    <a:pt x="378" y="824"/>
                  </a:lnTo>
                  <a:lnTo>
                    <a:pt x="373" y="827"/>
                  </a:lnTo>
                  <a:lnTo>
                    <a:pt x="367" y="842"/>
                  </a:lnTo>
                  <a:lnTo>
                    <a:pt x="363" y="849"/>
                  </a:lnTo>
                  <a:lnTo>
                    <a:pt x="358" y="852"/>
                  </a:lnTo>
                  <a:lnTo>
                    <a:pt x="352" y="854"/>
                  </a:lnTo>
                  <a:lnTo>
                    <a:pt x="333" y="845"/>
                  </a:lnTo>
                  <a:lnTo>
                    <a:pt x="304" y="816"/>
                  </a:lnTo>
                  <a:lnTo>
                    <a:pt x="292" y="827"/>
                  </a:lnTo>
                  <a:lnTo>
                    <a:pt x="296" y="855"/>
                  </a:lnTo>
                  <a:lnTo>
                    <a:pt x="268" y="845"/>
                  </a:lnTo>
                  <a:lnTo>
                    <a:pt x="263" y="854"/>
                  </a:lnTo>
                  <a:lnTo>
                    <a:pt x="258" y="824"/>
                  </a:lnTo>
                  <a:lnTo>
                    <a:pt x="258" y="810"/>
                  </a:lnTo>
                  <a:lnTo>
                    <a:pt x="257" y="802"/>
                  </a:lnTo>
                  <a:lnTo>
                    <a:pt x="256" y="794"/>
                  </a:lnTo>
                  <a:lnTo>
                    <a:pt x="251" y="781"/>
                  </a:lnTo>
                  <a:lnTo>
                    <a:pt x="246" y="771"/>
                  </a:lnTo>
                  <a:lnTo>
                    <a:pt x="239" y="767"/>
                  </a:lnTo>
                  <a:lnTo>
                    <a:pt x="234" y="769"/>
                  </a:lnTo>
                  <a:lnTo>
                    <a:pt x="219" y="779"/>
                  </a:lnTo>
                  <a:lnTo>
                    <a:pt x="213" y="787"/>
                  </a:lnTo>
                  <a:lnTo>
                    <a:pt x="208" y="791"/>
                  </a:lnTo>
                  <a:lnTo>
                    <a:pt x="204" y="792"/>
                  </a:lnTo>
                  <a:lnTo>
                    <a:pt x="201" y="786"/>
                  </a:lnTo>
                  <a:lnTo>
                    <a:pt x="199" y="776"/>
                  </a:lnTo>
                  <a:lnTo>
                    <a:pt x="199" y="769"/>
                  </a:lnTo>
                  <a:lnTo>
                    <a:pt x="203" y="755"/>
                  </a:lnTo>
                  <a:lnTo>
                    <a:pt x="204" y="741"/>
                  </a:lnTo>
                  <a:lnTo>
                    <a:pt x="208" y="735"/>
                  </a:lnTo>
                  <a:lnTo>
                    <a:pt x="216" y="727"/>
                  </a:lnTo>
                  <a:lnTo>
                    <a:pt x="218" y="724"/>
                  </a:lnTo>
                  <a:lnTo>
                    <a:pt x="219" y="716"/>
                  </a:lnTo>
                  <a:lnTo>
                    <a:pt x="224" y="702"/>
                  </a:lnTo>
                  <a:lnTo>
                    <a:pt x="224" y="692"/>
                  </a:lnTo>
                  <a:lnTo>
                    <a:pt x="227" y="681"/>
                  </a:lnTo>
                  <a:lnTo>
                    <a:pt x="224" y="672"/>
                  </a:lnTo>
                  <a:lnTo>
                    <a:pt x="217" y="659"/>
                  </a:lnTo>
                  <a:lnTo>
                    <a:pt x="209" y="652"/>
                  </a:lnTo>
                  <a:lnTo>
                    <a:pt x="203" y="650"/>
                  </a:lnTo>
                  <a:lnTo>
                    <a:pt x="198" y="649"/>
                  </a:lnTo>
                  <a:lnTo>
                    <a:pt x="194" y="645"/>
                  </a:lnTo>
                  <a:lnTo>
                    <a:pt x="192" y="640"/>
                  </a:lnTo>
                  <a:lnTo>
                    <a:pt x="193" y="620"/>
                  </a:lnTo>
                  <a:lnTo>
                    <a:pt x="192" y="599"/>
                  </a:lnTo>
                  <a:lnTo>
                    <a:pt x="191" y="595"/>
                  </a:lnTo>
                  <a:lnTo>
                    <a:pt x="178" y="584"/>
                  </a:lnTo>
                  <a:lnTo>
                    <a:pt x="171" y="576"/>
                  </a:lnTo>
                  <a:lnTo>
                    <a:pt x="166" y="574"/>
                  </a:lnTo>
                  <a:lnTo>
                    <a:pt x="161" y="572"/>
                  </a:lnTo>
                  <a:lnTo>
                    <a:pt x="153" y="576"/>
                  </a:lnTo>
                  <a:lnTo>
                    <a:pt x="151" y="579"/>
                  </a:lnTo>
                  <a:lnTo>
                    <a:pt x="143" y="580"/>
                  </a:lnTo>
                  <a:lnTo>
                    <a:pt x="139" y="576"/>
                  </a:lnTo>
                  <a:lnTo>
                    <a:pt x="143" y="569"/>
                  </a:lnTo>
                  <a:lnTo>
                    <a:pt x="144" y="565"/>
                  </a:lnTo>
                  <a:lnTo>
                    <a:pt x="141" y="554"/>
                  </a:lnTo>
                  <a:lnTo>
                    <a:pt x="133" y="547"/>
                  </a:lnTo>
                  <a:lnTo>
                    <a:pt x="128" y="544"/>
                  </a:lnTo>
                  <a:lnTo>
                    <a:pt x="126" y="539"/>
                  </a:lnTo>
                  <a:lnTo>
                    <a:pt x="123" y="532"/>
                  </a:lnTo>
                  <a:lnTo>
                    <a:pt x="123" y="512"/>
                  </a:lnTo>
                  <a:lnTo>
                    <a:pt x="127" y="497"/>
                  </a:lnTo>
                  <a:lnTo>
                    <a:pt x="123" y="496"/>
                  </a:lnTo>
                  <a:lnTo>
                    <a:pt x="117" y="500"/>
                  </a:lnTo>
                  <a:lnTo>
                    <a:pt x="112" y="499"/>
                  </a:lnTo>
                  <a:lnTo>
                    <a:pt x="107" y="495"/>
                  </a:lnTo>
                  <a:lnTo>
                    <a:pt x="101" y="487"/>
                  </a:lnTo>
                  <a:lnTo>
                    <a:pt x="92" y="474"/>
                  </a:lnTo>
                  <a:lnTo>
                    <a:pt x="88" y="467"/>
                  </a:lnTo>
                  <a:lnTo>
                    <a:pt x="83" y="467"/>
                  </a:lnTo>
                  <a:lnTo>
                    <a:pt x="79" y="475"/>
                  </a:lnTo>
                  <a:lnTo>
                    <a:pt x="71" y="474"/>
                  </a:lnTo>
                  <a:lnTo>
                    <a:pt x="63" y="476"/>
                  </a:lnTo>
                  <a:lnTo>
                    <a:pt x="58" y="474"/>
                  </a:lnTo>
                  <a:lnTo>
                    <a:pt x="51" y="466"/>
                  </a:lnTo>
                  <a:lnTo>
                    <a:pt x="49" y="461"/>
                  </a:lnTo>
                  <a:lnTo>
                    <a:pt x="51" y="455"/>
                  </a:lnTo>
                  <a:lnTo>
                    <a:pt x="58" y="446"/>
                  </a:lnTo>
                  <a:lnTo>
                    <a:pt x="59" y="441"/>
                  </a:lnTo>
                  <a:lnTo>
                    <a:pt x="59" y="435"/>
                  </a:lnTo>
                  <a:lnTo>
                    <a:pt x="58" y="430"/>
                  </a:lnTo>
                  <a:lnTo>
                    <a:pt x="57" y="420"/>
                  </a:lnTo>
                  <a:lnTo>
                    <a:pt x="56" y="412"/>
                  </a:lnTo>
                  <a:lnTo>
                    <a:pt x="52" y="405"/>
                  </a:lnTo>
                  <a:lnTo>
                    <a:pt x="48" y="400"/>
                  </a:lnTo>
                  <a:lnTo>
                    <a:pt x="32" y="395"/>
                  </a:lnTo>
                  <a:lnTo>
                    <a:pt x="28" y="392"/>
                  </a:lnTo>
                  <a:lnTo>
                    <a:pt x="27" y="387"/>
                  </a:lnTo>
                  <a:lnTo>
                    <a:pt x="31" y="382"/>
                  </a:lnTo>
                  <a:lnTo>
                    <a:pt x="34" y="375"/>
                  </a:lnTo>
                  <a:lnTo>
                    <a:pt x="38" y="364"/>
                  </a:lnTo>
                  <a:lnTo>
                    <a:pt x="42" y="342"/>
                  </a:lnTo>
                  <a:lnTo>
                    <a:pt x="46" y="336"/>
                  </a:lnTo>
                  <a:lnTo>
                    <a:pt x="53" y="330"/>
                  </a:lnTo>
                  <a:lnTo>
                    <a:pt x="56" y="326"/>
                  </a:lnTo>
                  <a:lnTo>
                    <a:pt x="56" y="319"/>
                  </a:lnTo>
                  <a:lnTo>
                    <a:pt x="52" y="312"/>
                  </a:lnTo>
                  <a:lnTo>
                    <a:pt x="53" y="306"/>
                  </a:lnTo>
                  <a:lnTo>
                    <a:pt x="57" y="294"/>
                  </a:lnTo>
                  <a:lnTo>
                    <a:pt x="62" y="284"/>
                  </a:lnTo>
                  <a:lnTo>
                    <a:pt x="66" y="266"/>
                  </a:lnTo>
                  <a:lnTo>
                    <a:pt x="71" y="255"/>
                  </a:lnTo>
                  <a:lnTo>
                    <a:pt x="74" y="246"/>
                  </a:lnTo>
                  <a:lnTo>
                    <a:pt x="77" y="239"/>
                  </a:lnTo>
                  <a:lnTo>
                    <a:pt x="76" y="229"/>
                  </a:lnTo>
                  <a:lnTo>
                    <a:pt x="68" y="206"/>
                  </a:lnTo>
                  <a:lnTo>
                    <a:pt x="62" y="181"/>
                  </a:lnTo>
                  <a:lnTo>
                    <a:pt x="52" y="177"/>
                  </a:lnTo>
                  <a:lnTo>
                    <a:pt x="39" y="171"/>
                  </a:lnTo>
                  <a:lnTo>
                    <a:pt x="30" y="162"/>
                  </a:lnTo>
                  <a:lnTo>
                    <a:pt x="24" y="152"/>
                  </a:lnTo>
                  <a:lnTo>
                    <a:pt x="3" y="132"/>
                  </a:lnTo>
                  <a:lnTo>
                    <a:pt x="0" y="119"/>
                  </a:lnTo>
                  <a:lnTo>
                    <a:pt x="10" y="120"/>
                  </a:lnTo>
                  <a:lnTo>
                    <a:pt x="15" y="119"/>
                  </a:lnTo>
                  <a:lnTo>
                    <a:pt x="58" y="86"/>
                  </a:lnTo>
                  <a:lnTo>
                    <a:pt x="70" y="82"/>
                  </a:lnTo>
                  <a:lnTo>
                    <a:pt x="75" y="81"/>
                  </a:lnTo>
                  <a:lnTo>
                    <a:pt x="77" y="75"/>
                  </a:lnTo>
                  <a:lnTo>
                    <a:pt x="78" y="64"/>
                  </a:lnTo>
                  <a:lnTo>
                    <a:pt x="78" y="59"/>
                  </a:lnTo>
                  <a:lnTo>
                    <a:pt x="70" y="45"/>
                  </a:lnTo>
                  <a:lnTo>
                    <a:pt x="72" y="44"/>
                  </a:lnTo>
                  <a:lnTo>
                    <a:pt x="87" y="50"/>
                  </a:lnTo>
                  <a:lnTo>
                    <a:pt x="115" y="51"/>
                  </a:lnTo>
                  <a:lnTo>
                    <a:pt x="142" y="46"/>
                  </a:lnTo>
                  <a:lnTo>
                    <a:pt x="148" y="42"/>
                  </a:lnTo>
                  <a:lnTo>
                    <a:pt x="165" y="41"/>
                  </a:lnTo>
                  <a:lnTo>
                    <a:pt x="182" y="22"/>
                  </a:lnTo>
                  <a:lnTo>
                    <a:pt x="193" y="16"/>
                  </a:lnTo>
                  <a:lnTo>
                    <a:pt x="257" y="31"/>
                  </a:lnTo>
                  <a:lnTo>
                    <a:pt x="277" y="31"/>
                  </a:lnTo>
                  <a:lnTo>
                    <a:pt x="313" y="26"/>
                  </a:lnTo>
                  <a:lnTo>
                    <a:pt x="325" y="24"/>
                  </a:lnTo>
                  <a:lnTo>
                    <a:pt x="334" y="17"/>
                  </a:lnTo>
                  <a:lnTo>
                    <a:pt x="335" y="12"/>
                  </a:lnTo>
                  <a:lnTo>
                    <a:pt x="342" y="5"/>
                  </a:lnTo>
                  <a:lnTo>
                    <a:pt x="347" y="2"/>
                  </a:lnTo>
                  <a:lnTo>
                    <a:pt x="353" y="0"/>
                  </a:lnTo>
                  <a:lnTo>
                    <a:pt x="360" y="1"/>
                  </a:lnTo>
                  <a:lnTo>
                    <a:pt x="370" y="6"/>
                  </a:lnTo>
                  <a:lnTo>
                    <a:pt x="373" y="11"/>
                  </a:lnTo>
                  <a:lnTo>
                    <a:pt x="375" y="22"/>
                  </a:lnTo>
                  <a:lnTo>
                    <a:pt x="379" y="32"/>
                  </a:lnTo>
                  <a:lnTo>
                    <a:pt x="383" y="37"/>
                  </a:lnTo>
                  <a:lnTo>
                    <a:pt x="389" y="41"/>
                  </a:lnTo>
                  <a:lnTo>
                    <a:pt x="410" y="46"/>
                  </a:lnTo>
                  <a:lnTo>
                    <a:pt x="424" y="46"/>
                  </a:lnTo>
                  <a:lnTo>
                    <a:pt x="430" y="42"/>
                  </a:lnTo>
                  <a:lnTo>
                    <a:pt x="435" y="39"/>
                  </a:lnTo>
                  <a:lnTo>
                    <a:pt x="440" y="36"/>
                  </a:lnTo>
                  <a:lnTo>
                    <a:pt x="447" y="36"/>
                  </a:lnTo>
                  <a:lnTo>
                    <a:pt x="454" y="37"/>
                  </a:lnTo>
                  <a:lnTo>
                    <a:pt x="458" y="42"/>
                  </a:lnTo>
                  <a:lnTo>
                    <a:pt x="464" y="52"/>
                  </a:lnTo>
                  <a:lnTo>
                    <a:pt x="470" y="55"/>
                  </a:lnTo>
                  <a:lnTo>
                    <a:pt x="480" y="59"/>
                  </a:lnTo>
                  <a:lnTo>
                    <a:pt x="494" y="60"/>
                  </a:lnTo>
                  <a:lnTo>
                    <a:pt x="503" y="65"/>
                  </a:lnTo>
                  <a:lnTo>
                    <a:pt x="510" y="74"/>
                  </a:lnTo>
                  <a:lnTo>
                    <a:pt x="515" y="76"/>
                  </a:lnTo>
                  <a:lnTo>
                    <a:pt x="525" y="74"/>
                  </a:lnTo>
                  <a:lnTo>
                    <a:pt x="529" y="75"/>
                  </a:lnTo>
                  <a:lnTo>
                    <a:pt x="533" y="79"/>
                  </a:lnTo>
                  <a:lnTo>
                    <a:pt x="529" y="87"/>
                  </a:lnTo>
                  <a:lnTo>
                    <a:pt x="520" y="94"/>
                  </a:lnTo>
                  <a:lnTo>
                    <a:pt x="519" y="97"/>
                  </a:lnTo>
                  <a:lnTo>
                    <a:pt x="524" y="100"/>
                  </a:lnTo>
                  <a:lnTo>
                    <a:pt x="533" y="106"/>
                  </a:lnTo>
                  <a:lnTo>
                    <a:pt x="537" y="111"/>
                  </a:lnTo>
                  <a:lnTo>
                    <a:pt x="535" y="116"/>
                  </a:lnTo>
                  <a:lnTo>
                    <a:pt x="532" y="124"/>
                  </a:lnTo>
                  <a:lnTo>
                    <a:pt x="533" y="127"/>
                  </a:lnTo>
                  <a:lnTo>
                    <a:pt x="537" y="130"/>
                  </a:lnTo>
                  <a:lnTo>
                    <a:pt x="543" y="131"/>
                  </a:lnTo>
                  <a:lnTo>
                    <a:pt x="552" y="127"/>
                  </a:lnTo>
                  <a:lnTo>
                    <a:pt x="558" y="124"/>
                  </a:lnTo>
                  <a:lnTo>
                    <a:pt x="563" y="122"/>
                  </a:lnTo>
                  <a:lnTo>
                    <a:pt x="568" y="126"/>
                  </a:lnTo>
                  <a:lnTo>
                    <a:pt x="573" y="136"/>
                  </a:lnTo>
                  <a:lnTo>
                    <a:pt x="574" y="140"/>
                  </a:lnTo>
                  <a:lnTo>
                    <a:pt x="577" y="146"/>
                  </a:lnTo>
                  <a:lnTo>
                    <a:pt x="590" y="154"/>
                  </a:lnTo>
                  <a:lnTo>
                    <a:pt x="593" y="159"/>
                  </a:lnTo>
                  <a:lnTo>
                    <a:pt x="595" y="169"/>
                  </a:lnTo>
                  <a:lnTo>
                    <a:pt x="598" y="175"/>
                  </a:lnTo>
                  <a:lnTo>
                    <a:pt x="603" y="179"/>
                  </a:lnTo>
                  <a:lnTo>
                    <a:pt x="608" y="184"/>
                  </a:lnTo>
                  <a:lnTo>
                    <a:pt x="623" y="190"/>
                  </a:lnTo>
                  <a:lnTo>
                    <a:pt x="630" y="190"/>
                  </a:lnTo>
                  <a:lnTo>
                    <a:pt x="649" y="181"/>
                  </a:lnTo>
                  <a:lnTo>
                    <a:pt x="655" y="179"/>
                  </a:lnTo>
                  <a:lnTo>
                    <a:pt x="662" y="181"/>
                  </a:lnTo>
                  <a:lnTo>
                    <a:pt x="667" y="184"/>
                  </a:lnTo>
                  <a:lnTo>
                    <a:pt x="677" y="190"/>
                  </a:lnTo>
                  <a:lnTo>
                    <a:pt x="684" y="191"/>
                  </a:lnTo>
                  <a:lnTo>
                    <a:pt x="698" y="189"/>
                  </a:lnTo>
                  <a:lnTo>
                    <a:pt x="707" y="185"/>
                  </a:lnTo>
                  <a:lnTo>
                    <a:pt x="713" y="182"/>
                  </a:lnTo>
                  <a:lnTo>
                    <a:pt x="719" y="176"/>
                  </a:lnTo>
                  <a:lnTo>
                    <a:pt x="727" y="172"/>
                  </a:lnTo>
                  <a:lnTo>
                    <a:pt x="737" y="171"/>
                  </a:lnTo>
                  <a:lnTo>
                    <a:pt x="749" y="172"/>
                  </a:lnTo>
                  <a:lnTo>
                    <a:pt x="759" y="171"/>
                  </a:lnTo>
                  <a:lnTo>
                    <a:pt x="777" y="154"/>
                  </a:lnTo>
                  <a:lnTo>
                    <a:pt x="782" y="151"/>
                  </a:lnTo>
                  <a:lnTo>
                    <a:pt x="785" y="152"/>
                  </a:lnTo>
                  <a:lnTo>
                    <a:pt x="793" y="160"/>
                  </a:lnTo>
                  <a:lnTo>
                    <a:pt x="807" y="169"/>
                  </a:lnTo>
                  <a:lnTo>
                    <a:pt x="810" y="172"/>
                  </a:lnTo>
                  <a:lnTo>
                    <a:pt x="817" y="180"/>
                  </a:lnTo>
                  <a:lnTo>
                    <a:pt x="822" y="181"/>
                  </a:lnTo>
                  <a:lnTo>
                    <a:pt x="824" y="180"/>
                  </a:lnTo>
                  <a:lnTo>
                    <a:pt x="825" y="175"/>
                  </a:lnTo>
                  <a:lnTo>
                    <a:pt x="824" y="171"/>
                  </a:lnTo>
                  <a:lnTo>
                    <a:pt x="823" y="157"/>
                  </a:lnTo>
                  <a:lnTo>
                    <a:pt x="828" y="139"/>
                  </a:lnTo>
                  <a:lnTo>
                    <a:pt x="828" y="127"/>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39" name="Gipuzkoa" descr="{&quot;Key&quot;:&quot;gipuzkoa&quot;,&quot;Name&quot;:&quot;Gipuzkoa&quot;,&quot;Value&quot;:1.0,&quot;Formula&quot;:&quot;&quot;,&quot;Text&quot;:&quot;1&quot;,&quot;HasValue&quot;:true}">
              <a:extLst>
                <a:ext uri="{FF2B5EF4-FFF2-40B4-BE49-F238E27FC236}">
                  <a16:creationId xmlns:a16="http://schemas.microsoft.com/office/drawing/2014/main" id="{815FCDBD-3CF8-01E6-F7AE-77A50CFFAF96}"/>
                </a:ext>
              </a:extLst>
            </p:cNvPr>
            <p:cNvSpPr>
              <a:spLocks/>
            </p:cNvSpPr>
            <p:nvPr/>
          </p:nvSpPr>
          <p:spPr bwMode="auto">
            <a:xfrm>
              <a:off x="3719552" y="2139617"/>
              <a:ext cx="327275" cy="259269"/>
            </a:xfrm>
            <a:custGeom>
              <a:avLst/>
              <a:gdLst>
                <a:gd name="T0" fmla="*/ 460 w 474"/>
                <a:gd name="T1" fmla="*/ 80 h 376"/>
                <a:gd name="T2" fmla="*/ 443 w 474"/>
                <a:gd name="T3" fmla="*/ 105 h 376"/>
                <a:gd name="T4" fmla="*/ 426 w 474"/>
                <a:gd name="T5" fmla="*/ 126 h 376"/>
                <a:gd name="T6" fmla="*/ 414 w 474"/>
                <a:gd name="T7" fmla="*/ 131 h 376"/>
                <a:gd name="T8" fmla="*/ 402 w 474"/>
                <a:gd name="T9" fmla="*/ 130 h 376"/>
                <a:gd name="T10" fmla="*/ 396 w 474"/>
                <a:gd name="T11" fmla="*/ 140 h 376"/>
                <a:gd name="T12" fmla="*/ 384 w 474"/>
                <a:gd name="T13" fmla="*/ 138 h 376"/>
                <a:gd name="T14" fmla="*/ 379 w 474"/>
                <a:gd name="T15" fmla="*/ 161 h 376"/>
                <a:gd name="T16" fmla="*/ 384 w 474"/>
                <a:gd name="T17" fmla="*/ 182 h 376"/>
                <a:gd name="T18" fmla="*/ 383 w 474"/>
                <a:gd name="T19" fmla="*/ 198 h 376"/>
                <a:gd name="T20" fmla="*/ 369 w 474"/>
                <a:gd name="T21" fmla="*/ 221 h 376"/>
                <a:gd name="T22" fmla="*/ 355 w 474"/>
                <a:gd name="T23" fmla="*/ 230 h 376"/>
                <a:gd name="T24" fmla="*/ 319 w 474"/>
                <a:gd name="T25" fmla="*/ 263 h 376"/>
                <a:gd name="T26" fmla="*/ 313 w 474"/>
                <a:gd name="T27" fmla="*/ 280 h 376"/>
                <a:gd name="T28" fmla="*/ 313 w 474"/>
                <a:gd name="T29" fmla="*/ 291 h 376"/>
                <a:gd name="T30" fmla="*/ 311 w 474"/>
                <a:gd name="T31" fmla="*/ 305 h 376"/>
                <a:gd name="T32" fmla="*/ 303 w 474"/>
                <a:gd name="T33" fmla="*/ 313 h 376"/>
                <a:gd name="T34" fmla="*/ 283 w 474"/>
                <a:gd name="T35" fmla="*/ 320 h 376"/>
                <a:gd name="T36" fmla="*/ 266 w 474"/>
                <a:gd name="T37" fmla="*/ 338 h 376"/>
                <a:gd name="T38" fmla="*/ 249 w 474"/>
                <a:gd name="T39" fmla="*/ 341 h 376"/>
                <a:gd name="T40" fmla="*/ 234 w 474"/>
                <a:gd name="T41" fmla="*/ 342 h 376"/>
                <a:gd name="T42" fmla="*/ 216 w 474"/>
                <a:gd name="T43" fmla="*/ 338 h 376"/>
                <a:gd name="T44" fmla="*/ 206 w 474"/>
                <a:gd name="T45" fmla="*/ 350 h 376"/>
                <a:gd name="T46" fmla="*/ 195 w 474"/>
                <a:gd name="T47" fmla="*/ 376 h 376"/>
                <a:gd name="T48" fmla="*/ 174 w 474"/>
                <a:gd name="T49" fmla="*/ 372 h 376"/>
                <a:gd name="T50" fmla="*/ 138 w 474"/>
                <a:gd name="T51" fmla="*/ 338 h 376"/>
                <a:gd name="T52" fmla="*/ 41 w 474"/>
                <a:gd name="T53" fmla="*/ 323 h 376"/>
                <a:gd name="T54" fmla="*/ 30 w 474"/>
                <a:gd name="T55" fmla="*/ 327 h 376"/>
                <a:gd name="T56" fmla="*/ 0 w 474"/>
                <a:gd name="T57" fmla="*/ 313 h 376"/>
                <a:gd name="T58" fmla="*/ 9 w 474"/>
                <a:gd name="T59" fmla="*/ 293 h 376"/>
                <a:gd name="T60" fmla="*/ 39 w 474"/>
                <a:gd name="T61" fmla="*/ 275 h 376"/>
                <a:gd name="T62" fmla="*/ 31 w 474"/>
                <a:gd name="T63" fmla="*/ 233 h 376"/>
                <a:gd name="T64" fmla="*/ 56 w 474"/>
                <a:gd name="T65" fmla="*/ 222 h 376"/>
                <a:gd name="T66" fmla="*/ 54 w 474"/>
                <a:gd name="T67" fmla="*/ 178 h 376"/>
                <a:gd name="T68" fmla="*/ 60 w 474"/>
                <a:gd name="T69" fmla="*/ 172 h 376"/>
                <a:gd name="T70" fmla="*/ 63 w 474"/>
                <a:gd name="T71" fmla="*/ 132 h 376"/>
                <a:gd name="T72" fmla="*/ 75 w 474"/>
                <a:gd name="T73" fmla="*/ 130 h 376"/>
                <a:gd name="T74" fmla="*/ 103 w 474"/>
                <a:gd name="T75" fmla="*/ 97 h 376"/>
                <a:gd name="T76" fmla="*/ 109 w 474"/>
                <a:gd name="T77" fmla="*/ 50 h 376"/>
                <a:gd name="T78" fmla="*/ 154 w 474"/>
                <a:gd name="T79" fmla="*/ 67 h 376"/>
                <a:gd name="T80" fmla="*/ 201 w 474"/>
                <a:gd name="T81" fmla="*/ 67 h 376"/>
                <a:gd name="T82" fmla="*/ 226 w 474"/>
                <a:gd name="T83" fmla="*/ 61 h 376"/>
                <a:gd name="T84" fmla="*/ 233 w 474"/>
                <a:gd name="T85" fmla="*/ 68 h 376"/>
                <a:gd name="T86" fmla="*/ 245 w 474"/>
                <a:gd name="T87" fmla="*/ 77 h 376"/>
                <a:gd name="T88" fmla="*/ 254 w 474"/>
                <a:gd name="T89" fmla="*/ 72 h 376"/>
                <a:gd name="T90" fmla="*/ 260 w 474"/>
                <a:gd name="T91" fmla="*/ 81 h 376"/>
                <a:gd name="T92" fmla="*/ 280 w 474"/>
                <a:gd name="T93" fmla="*/ 70 h 376"/>
                <a:gd name="T94" fmla="*/ 299 w 474"/>
                <a:gd name="T95" fmla="*/ 65 h 376"/>
                <a:gd name="T96" fmla="*/ 350 w 474"/>
                <a:gd name="T97" fmla="*/ 42 h 376"/>
                <a:gd name="T98" fmla="*/ 365 w 474"/>
                <a:gd name="T99" fmla="*/ 40 h 376"/>
                <a:gd name="T100" fmla="*/ 375 w 474"/>
                <a:gd name="T101" fmla="*/ 52 h 376"/>
                <a:gd name="T102" fmla="*/ 387 w 474"/>
                <a:gd name="T103" fmla="*/ 51 h 376"/>
                <a:gd name="T104" fmla="*/ 376 w 474"/>
                <a:gd name="T105" fmla="*/ 40 h 376"/>
                <a:gd name="T106" fmla="*/ 419 w 474"/>
                <a:gd name="T107" fmla="*/ 11 h 376"/>
                <a:gd name="T108" fmla="*/ 449 w 474"/>
                <a:gd name="T109" fmla="*/ 7 h 376"/>
                <a:gd name="T110" fmla="*/ 447 w 474"/>
                <a:gd name="T111" fmla="*/ 32 h 376"/>
                <a:gd name="T112" fmla="*/ 462 w 474"/>
                <a:gd name="T113" fmla="*/ 48 h 376"/>
                <a:gd name="T114" fmla="*/ 471 w 474"/>
                <a:gd name="T115" fmla="*/ 7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4" h="376">
                  <a:moveTo>
                    <a:pt x="474" y="76"/>
                  </a:moveTo>
                  <a:lnTo>
                    <a:pt x="460" y="80"/>
                  </a:lnTo>
                  <a:lnTo>
                    <a:pt x="450" y="90"/>
                  </a:lnTo>
                  <a:lnTo>
                    <a:pt x="443" y="105"/>
                  </a:lnTo>
                  <a:lnTo>
                    <a:pt x="434" y="120"/>
                  </a:lnTo>
                  <a:lnTo>
                    <a:pt x="426" y="126"/>
                  </a:lnTo>
                  <a:lnTo>
                    <a:pt x="419" y="131"/>
                  </a:lnTo>
                  <a:lnTo>
                    <a:pt x="414" y="131"/>
                  </a:lnTo>
                  <a:lnTo>
                    <a:pt x="405" y="127"/>
                  </a:lnTo>
                  <a:lnTo>
                    <a:pt x="402" y="130"/>
                  </a:lnTo>
                  <a:lnTo>
                    <a:pt x="401" y="138"/>
                  </a:lnTo>
                  <a:lnTo>
                    <a:pt x="396" y="140"/>
                  </a:lnTo>
                  <a:lnTo>
                    <a:pt x="385" y="135"/>
                  </a:lnTo>
                  <a:lnTo>
                    <a:pt x="384" y="138"/>
                  </a:lnTo>
                  <a:lnTo>
                    <a:pt x="380" y="155"/>
                  </a:lnTo>
                  <a:lnTo>
                    <a:pt x="379" y="161"/>
                  </a:lnTo>
                  <a:lnTo>
                    <a:pt x="381" y="177"/>
                  </a:lnTo>
                  <a:lnTo>
                    <a:pt x="384" y="182"/>
                  </a:lnTo>
                  <a:lnTo>
                    <a:pt x="384" y="190"/>
                  </a:lnTo>
                  <a:lnTo>
                    <a:pt x="383" y="198"/>
                  </a:lnTo>
                  <a:lnTo>
                    <a:pt x="375" y="213"/>
                  </a:lnTo>
                  <a:lnTo>
                    <a:pt x="369" y="221"/>
                  </a:lnTo>
                  <a:lnTo>
                    <a:pt x="363" y="226"/>
                  </a:lnTo>
                  <a:lnTo>
                    <a:pt x="355" y="230"/>
                  </a:lnTo>
                  <a:lnTo>
                    <a:pt x="326" y="250"/>
                  </a:lnTo>
                  <a:lnTo>
                    <a:pt x="319" y="263"/>
                  </a:lnTo>
                  <a:lnTo>
                    <a:pt x="314" y="273"/>
                  </a:lnTo>
                  <a:lnTo>
                    <a:pt x="313" y="280"/>
                  </a:lnTo>
                  <a:lnTo>
                    <a:pt x="311" y="286"/>
                  </a:lnTo>
                  <a:lnTo>
                    <a:pt x="313" y="291"/>
                  </a:lnTo>
                  <a:lnTo>
                    <a:pt x="313" y="297"/>
                  </a:lnTo>
                  <a:lnTo>
                    <a:pt x="311" y="305"/>
                  </a:lnTo>
                  <a:lnTo>
                    <a:pt x="308" y="310"/>
                  </a:lnTo>
                  <a:lnTo>
                    <a:pt x="303" y="313"/>
                  </a:lnTo>
                  <a:lnTo>
                    <a:pt x="288" y="316"/>
                  </a:lnTo>
                  <a:lnTo>
                    <a:pt x="283" y="320"/>
                  </a:lnTo>
                  <a:lnTo>
                    <a:pt x="271" y="333"/>
                  </a:lnTo>
                  <a:lnTo>
                    <a:pt x="266" y="338"/>
                  </a:lnTo>
                  <a:lnTo>
                    <a:pt x="261" y="341"/>
                  </a:lnTo>
                  <a:lnTo>
                    <a:pt x="249" y="341"/>
                  </a:lnTo>
                  <a:lnTo>
                    <a:pt x="238" y="343"/>
                  </a:lnTo>
                  <a:lnTo>
                    <a:pt x="234" y="342"/>
                  </a:lnTo>
                  <a:lnTo>
                    <a:pt x="224" y="337"/>
                  </a:lnTo>
                  <a:lnTo>
                    <a:pt x="216" y="338"/>
                  </a:lnTo>
                  <a:lnTo>
                    <a:pt x="210" y="345"/>
                  </a:lnTo>
                  <a:lnTo>
                    <a:pt x="206" y="350"/>
                  </a:lnTo>
                  <a:lnTo>
                    <a:pt x="203" y="358"/>
                  </a:lnTo>
                  <a:lnTo>
                    <a:pt x="195" y="376"/>
                  </a:lnTo>
                  <a:lnTo>
                    <a:pt x="179" y="376"/>
                  </a:lnTo>
                  <a:lnTo>
                    <a:pt x="174" y="372"/>
                  </a:lnTo>
                  <a:lnTo>
                    <a:pt x="164" y="355"/>
                  </a:lnTo>
                  <a:lnTo>
                    <a:pt x="138" y="338"/>
                  </a:lnTo>
                  <a:lnTo>
                    <a:pt x="56" y="331"/>
                  </a:lnTo>
                  <a:lnTo>
                    <a:pt x="41" y="323"/>
                  </a:lnTo>
                  <a:lnTo>
                    <a:pt x="36" y="321"/>
                  </a:lnTo>
                  <a:lnTo>
                    <a:pt x="30" y="327"/>
                  </a:lnTo>
                  <a:lnTo>
                    <a:pt x="25" y="328"/>
                  </a:lnTo>
                  <a:lnTo>
                    <a:pt x="0" y="313"/>
                  </a:lnTo>
                  <a:lnTo>
                    <a:pt x="5" y="297"/>
                  </a:lnTo>
                  <a:lnTo>
                    <a:pt x="9" y="293"/>
                  </a:lnTo>
                  <a:lnTo>
                    <a:pt x="35" y="281"/>
                  </a:lnTo>
                  <a:lnTo>
                    <a:pt x="39" y="275"/>
                  </a:lnTo>
                  <a:lnTo>
                    <a:pt x="40" y="265"/>
                  </a:lnTo>
                  <a:lnTo>
                    <a:pt x="31" y="233"/>
                  </a:lnTo>
                  <a:lnTo>
                    <a:pt x="50" y="230"/>
                  </a:lnTo>
                  <a:lnTo>
                    <a:pt x="56" y="222"/>
                  </a:lnTo>
                  <a:lnTo>
                    <a:pt x="59" y="211"/>
                  </a:lnTo>
                  <a:lnTo>
                    <a:pt x="54" y="178"/>
                  </a:lnTo>
                  <a:lnTo>
                    <a:pt x="55" y="173"/>
                  </a:lnTo>
                  <a:lnTo>
                    <a:pt x="60" y="172"/>
                  </a:lnTo>
                  <a:lnTo>
                    <a:pt x="64" y="161"/>
                  </a:lnTo>
                  <a:lnTo>
                    <a:pt x="63" y="132"/>
                  </a:lnTo>
                  <a:lnTo>
                    <a:pt x="70" y="127"/>
                  </a:lnTo>
                  <a:lnTo>
                    <a:pt x="75" y="130"/>
                  </a:lnTo>
                  <a:lnTo>
                    <a:pt x="80" y="127"/>
                  </a:lnTo>
                  <a:lnTo>
                    <a:pt x="103" y="97"/>
                  </a:lnTo>
                  <a:lnTo>
                    <a:pt x="90" y="81"/>
                  </a:lnTo>
                  <a:lnTo>
                    <a:pt x="109" y="50"/>
                  </a:lnTo>
                  <a:lnTo>
                    <a:pt x="131" y="61"/>
                  </a:lnTo>
                  <a:lnTo>
                    <a:pt x="154" y="67"/>
                  </a:lnTo>
                  <a:lnTo>
                    <a:pt x="176" y="70"/>
                  </a:lnTo>
                  <a:lnTo>
                    <a:pt x="201" y="67"/>
                  </a:lnTo>
                  <a:lnTo>
                    <a:pt x="220" y="62"/>
                  </a:lnTo>
                  <a:lnTo>
                    <a:pt x="226" y="61"/>
                  </a:lnTo>
                  <a:lnTo>
                    <a:pt x="229" y="63"/>
                  </a:lnTo>
                  <a:lnTo>
                    <a:pt x="233" y="68"/>
                  </a:lnTo>
                  <a:lnTo>
                    <a:pt x="238" y="75"/>
                  </a:lnTo>
                  <a:lnTo>
                    <a:pt x="245" y="77"/>
                  </a:lnTo>
                  <a:lnTo>
                    <a:pt x="250" y="72"/>
                  </a:lnTo>
                  <a:lnTo>
                    <a:pt x="254" y="72"/>
                  </a:lnTo>
                  <a:lnTo>
                    <a:pt x="257" y="73"/>
                  </a:lnTo>
                  <a:lnTo>
                    <a:pt x="260" y="81"/>
                  </a:lnTo>
                  <a:lnTo>
                    <a:pt x="264" y="82"/>
                  </a:lnTo>
                  <a:lnTo>
                    <a:pt x="280" y="70"/>
                  </a:lnTo>
                  <a:lnTo>
                    <a:pt x="286" y="67"/>
                  </a:lnTo>
                  <a:lnTo>
                    <a:pt x="299" y="65"/>
                  </a:lnTo>
                  <a:lnTo>
                    <a:pt x="337" y="51"/>
                  </a:lnTo>
                  <a:lnTo>
                    <a:pt x="350" y="42"/>
                  </a:lnTo>
                  <a:lnTo>
                    <a:pt x="356" y="40"/>
                  </a:lnTo>
                  <a:lnTo>
                    <a:pt x="365" y="40"/>
                  </a:lnTo>
                  <a:lnTo>
                    <a:pt x="371" y="45"/>
                  </a:lnTo>
                  <a:lnTo>
                    <a:pt x="375" y="52"/>
                  </a:lnTo>
                  <a:lnTo>
                    <a:pt x="380" y="56"/>
                  </a:lnTo>
                  <a:lnTo>
                    <a:pt x="387" y="51"/>
                  </a:lnTo>
                  <a:lnTo>
                    <a:pt x="385" y="48"/>
                  </a:lnTo>
                  <a:lnTo>
                    <a:pt x="376" y="40"/>
                  </a:lnTo>
                  <a:lnTo>
                    <a:pt x="399" y="30"/>
                  </a:lnTo>
                  <a:lnTo>
                    <a:pt x="419" y="11"/>
                  </a:lnTo>
                  <a:lnTo>
                    <a:pt x="439" y="0"/>
                  </a:lnTo>
                  <a:lnTo>
                    <a:pt x="449" y="7"/>
                  </a:lnTo>
                  <a:lnTo>
                    <a:pt x="447" y="16"/>
                  </a:lnTo>
                  <a:lnTo>
                    <a:pt x="447" y="32"/>
                  </a:lnTo>
                  <a:lnTo>
                    <a:pt x="447" y="41"/>
                  </a:lnTo>
                  <a:lnTo>
                    <a:pt x="462" y="48"/>
                  </a:lnTo>
                  <a:lnTo>
                    <a:pt x="470" y="58"/>
                  </a:lnTo>
                  <a:lnTo>
                    <a:pt x="471" y="73"/>
                  </a:lnTo>
                  <a:lnTo>
                    <a:pt x="474" y="7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0" name="Huelva" descr="{&quot;Key&quot;:&quot;huelva&quot;,&quot;Name&quot;:&quot;Huelva&quot;,&quot;Value&quot;:1.0,&quot;Formula&quot;:&quot;&quot;,&quot;Text&quot;:&quot;1&quot;,&quot;HasValue&quot;:true}">
              <a:extLst>
                <a:ext uri="{FF2B5EF4-FFF2-40B4-BE49-F238E27FC236}">
                  <a16:creationId xmlns:a16="http://schemas.microsoft.com/office/drawing/2014/main" id="{F3F32B3C-43B7-3091-EADA-DAC27B1EE62E}"/>
                </a:ext>
              </a:extLst>
            </p:cNvPr>
            <p:cNvSpPr>
              <a:spLocks/>
            </p:cNvSpPr>
            <p:nvPr/>
          </p:nvSpPr>
          <p:spPr bwMode="auto">
            <a:xfrm>
              <a:off x="1836662" y="4769145"/>
              <a:ext cx="536957" cy="677217"/>
            </a:xfrm>
            <a:custGeom>
              <a:avLst/>
              <a:gdLst>
                <a:gd name="T0" fmla="*/ 774 w 780"/>
                <a:gd name="T1" fmla="*/ 210 h 980"/>
                <a:gd name="T2" fmla="*/ 767 w 780"/>
                <a:gd name="T3" fmla="*/ 292 h 980"/>
                <a:gd name="T4" fmla="*/ 730 w 780"/>
                <a:gd name="T5" fmla="*/ 327 h 980"/>
                <a:gd name="T6" fmla="*/ 715 w 780"/>
                <a:gd name="T7" fmla="*/ 336 h 980"/>
                <a:gd name="T8" fmla="*/ 701 w 780"/>
                <a:gd name="T9" fmla="*/ 312 h 980"/>
                <a:gd name="T10" fmla="*/ 570 w 780"/>
                <a:gd name="T11" fmla="*/ 373 h 980"/>
                <a:gd name="T12" fmla="*/ 567 w 780"/>
                <a:gd name="T13" fmla="*/ 412 h 980"/>
                <a:gd name="T14" fmla="*/ 640 w 780"/>
                <a:gd name="T15" fmla="*/ 465 h 980"/>
                <a:gd name="T16" fmla="*/ 672 w 780"/>
                <a:gd name="T17" fmla="*/ 553 h 980"/>
                <a:gd name="T18" fmla="*/ 646 w 780"/>
                <a:gd name="T19" fmla="*/ 568 h 980"/>
                <a:gd name="T20" fmla="*/ 637 w 780"/>
                <a:gd name="T21" fmla="*/ 610 h 980"/>
                <a:gd name="T22" fmla="*/ 660 w 780"/>
                <a:gd name="T23" fmla="*/ 655 h 980"/>
                <a:gd name="T24" fmla="*/ 652 w 780"/>
                <a:gd name="T25" fmla="*/ 745 h 980"/>
                <a:gd name="T26" fmla="*/ 637 w 780"/>
                <a:gd name="T27" fmla="*/ 795 h 980"/>
                <a:gd name="T28" fmla="*/ 638 w 780"/>
                <a:gd name="T29" fmla="*/ 892 h 980"/>
                <a:gd name="T30" fmla="*/ 656 w 780"/>
                <a:gd name="T31" fmla="*/ 971 h 980"/>
                <a:gd name="T32" fmla="*/ 600 w 780"/>
                <a:gd name="T33" fmla="*/ 912 h 980"/>
                <a:gd name="T34" fmla="*/ 421 w 780"/>
                <a:gd name="T35" fmla="*/ 767 h 980"/>
                <a:gd name="T36" fmla="*/ 353 w 780"/>
                <a:gd name="T37" fmla="*/ 730 h 980"/>
                <a:gd name="T38" fmla="*/ 350 w 780"/>
                <a:gd name="T39" fmla="*/ 682 h 980"/>
                <a:gd name="T40" fmla="*/ 332 w 780"/>
                <a:gd name="T41" fmla="*/ 683 h 980"/>
                <a:gd name="T42" fmla="*/ 332 w 780"/>
                <a:gd name="T43" fmla="*/ 718 h 980"/>
                <a:gd name="T44" fmla="*/ 238 w 780"/>
                <a:gd name="T45" fmla="*/ 690 h 980"/>
                <a:gd name="T46" fmla="*/ 112 w 780"/>
                <a:gd name="T47" fmla="*/ 706 h 980"/>
                <a:gd name="T48" fmla="*/ 74 w 780"/>
                <a:gd name="T49" fmla="*/ 717 h 980"/>
                <a:gd name="T50" fmla="*/ 57 w 780"/>
                <a:gd name="T51" fmla="*/ 655 h 980"/>
                <a:gd name="T52" fmla="*/ 39 w 780"/>
                <a:gd name="T53" fmla="*/ 547 h 980"/>
                <a:gd name="T54" fmla="*/ 27 w 780"/>
                <a:gd name="T55" fmla="*/ 497 h 980"/>
                <a:gd name="T56" fmla="*/ 6 w 780"/>
                <a:gd name="T57" fmla="*/ 468 h 980"/>
                <a:gd name="T58" fmla="*/ 9 w 780"/>
                <a:gd name="T59" fmla="*/ 441 h 980"/>
                <a:gd name="T60" fmla="*/ 29 w 780"/>
                <a:gd name="T61" fmla="*/ 407 h 980"/>
                <a:gd name="T62" fmla="*/ 47 w 780"/>
                <a:gd name="T63" fmla="*/ 336 h 980"/>
                <a:gd name="T64" fmla="*/ 130 w 780"/>
                <a:gd name="T65" fmla="*/ 227 h 980"/>
                <a:gd name="T66" fmla="*/ 144 w 780"/>
                <a:gd name="T67" fmla="*/ 168 h 980"/>
                <a:gd name="T68" fmla="*/ 170 w 780"/>
                <a:gd name="T69" fmla="*/ 151 h 980"/>
                <a:gd name="T70" fmla="*/ 199 w 780"/>
                <a:gd name="T71" fmla="*/ 151 h 980"/>
                <a:gd name="T72" fmla="*/ 221 w 780"/>
                <a:gd name="T73" fmla="*/ 123 h 980"/>
                <a:gd name="T74" fmla="*/ 281 w 780"/>
                <a:gd name="T75" fmla="*/ 131 h 980"/>
                <a:gd name="T76" fmla="*/ 306 w 780"/>
                <a:gd name="T77" fmla="*/ 62 h 980"/>
                <a:gd name="T78" fmla="*/ 321 w 780"/>
                <a:gd name="T79" fmla="*/ 7 h 980"/>
                <a:gd name="T80" fmla="*/ 409 w 780"/>
                <a:gd name="T81" fmla="*/ 35 h 980"/>
                <a:gd name="T82" fmla="*/ 397 w 780"/>
                <a:gd name="T83" fmla="*/ 63 h 980"/>
                <a:gd name="T84" fmla="*/ 419 w 780"/>
                <a:gd name="T85" fmla="*/ 76 h 980"/>
                <a:gd name="T86" fmla="*/ 491 w 780"/>
                <a:gd name="T87" fmla="*/ 81 h 980"/>
                <a:gd name="T88" fmla="*/ 525 w 780"/>
                <a:gd name="T89" fmla="*/ 107 h 980"/>
                <a:gd name="T90" fmla="*/ 531 w 780"/>
                <a:gd name="T91" fmla="*/ 130 h 980"/>
                <a:gd name="T92" fmla="*/ 582 w 780"/>
                <a:gd name="T93" fmla="*/ 128 h 980"/>
                <a:gd name="T94" fmla="*/ 607 w 780"/>
                <a:gd name="T95" fmla="*/ 106 h 980"/>
                <a:gd name="T96" fmla="*/ 646 w 780"/>
                <a:gd name="T97" fmla="*/ 132 h 980"/>
                <a:gd name="T98" fmla="*/ 747 w 780"/>
                <a:gd name="T99" fmla="*/ 19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0" h="980">
                  <a:moveTo>
                    <a:pt x="747" y="190"/>
                  </a:moveTo>
                  <a:lnTo>
                    <a:pt x="756" y="211"/>
                  </a:lnTo>
                  <a:lnTo>
                    <a:pt x="761" y="208"/>
                  </a:lnTo>
                  <a:lnTo>
                    <a:pt x="774" y="210"/>
                  </a:lnTo>
                  <a:lnTo>
                    <a:pt x="777" y="212"/>
                  </a:lnTo>
                  <a:lnTo>
                    <a:pt x="767" y="253"/>
                  </a:lnTo>
                  <a:lnTo>
                    <a:pt x="780" y="283"/>
                  </a:lnTo>
                  <a:lnTo>
                    <a:pt x="767" y="292"/>
                  </a:lnTo>
                  <a:lnTo>
                    <a:pt x="746" y="285"/>
                  </a:lnTo>
                  <a:lnTo>
                    <a:pt x="736" y="288"/>
                  </a:lnTo>
                  <a:lnTo>
                    <a:pt x="729" y="298"/>
                  </a:lnTo>
                  <a:lnTo>
                    <a:pt x="730" y="327"/>
                  </a:lnTo>
                  <a:lnTo>
                    <a:pt x="729" y="333"/>
                  </a:lnTo>
                  <a:lnTo>
                    <a:pt x="725" y="337"/>
                  </a:lnTo>
                  <a:lnTo>
                    <a:pt x="721" y="337"/>
                  </a:lnTo>
                  <a:lnTo>
                    <a:pt x="715" y="336"/>
                  </a:lnTo>
                  <a:lnTo>
                    <a:pt x="711" y="333"/>
                  </a:lnTo>
                  <a:lnTo>
                    <a:pt x="709" y="330"/>
                  </a:lnTo>
                  <a:lnTo>
                    <a:pt x="706" y="317"/>
                  </a:lnTo>
                  <a:lnTo>
                    <a:pt x="701" y="312"/>
                  </a:lnTo>
                  <a:lnTo>
                    <a:pt x="676" y="312"/>
                  </a:lnTo>
                  <a:lnTo>
                    <a:pt x="600" y="333"/>
                  </a:lnTo>
                  <a:lnTo>
                    <a:pt x="589" y="340"/>
                  </a:lnTo>
                  <a:lnTo>
                    <a:pt x="570" y="373"/>
                  </a:lnTo>
                  <a:lnTo>
                    <a:pt x="559" y="382"/>
                  </a:lnTo>
                  <a:lnTo>
                    <a:pt x="556" y="387"/>
                  </a:lnTo>
                  <a:lnTo>
                    <a:pt x="554" y="404"/>
                  </a:lnTo>
                  <a:lnTo>
                    <a:pt x="567" y="412"/>
                  </a:lnTo>
                  <a:lnTo>
                    <a:pt x="602" y="411"/>
                  </a:lnTo>
                  <a:lnTo>
                    <a:pt x="630" y="424"/>
                  </a:lnTo>
                  <a:lnTo>
                    <a:pt x="626" y="445"/>
                  </a:lnTo>
                  <a:lnTo>
                    <a:pt x="640" y="465"/>
                  </a:lnTo>
                  <a:lnTo>
                    <a:pt x="651" y="500"/>
                  </a:lnTo>
                  <a:lnTo>
                    <a:pt x="674" y="541"/>
                  </a:lnTo>
                  <a:lnTo>
                    <a:pt x="675" y="547"/>
                  </a:lnTo>
                  <a:lnTo>
                    <a:pt x="672" y="553"/>
                  </a:lnTo>
                  <a:lnTo>
                    <a:pt x="667" y="557"/>
                  </a:lnTo>
                  <a:lnTo>
                    <a:pt x="654" y="560"/>
                  </a:lnTo>
                  <a:lnTo>
                    <a:pt x="649" y="562"/>
                  </a:lnTo>
                  <a:lnTo>
                    <a:pt x="646" y="568"/>
                  </a:lnTo>
                  <a:lnTo>
                    <a:pt x="650" y="587"/>
                  </a:lnTo>
                  <a:lnTo>
                    <a:pt x="648" y="596"/>
                  </a:lnTo>
                  <a:lnTo>
                    <a:pt x="641" y="603"/>
                  </a:lnTo>
                  <a:lnTo>
                    <a:pt x="637" y="610"/>
                  </a:lnTo>
                  <a:lnTo>
                    <a:pt x="638" y="617"/>
                  </a:lnTo>
                  <a:lnTo>
                    <a:pt x="656" y="635"/>
                  </a:lnTo>
                  <a:lnTo>
                    <a:pt x="660" y="645"/>
                  </a:lnTo>
                  <a:lnTo>
                    <a:pt x="660" y="655"/>
                  </a:lnTo>
                  <a:lnTo>
                    <a:pt x="652" y="673"/>
                  </a:lnTo>
                  <a:lnTo>
                    <a:pt x="651" y="682"/>
                  </a:lnTo>
                  <a:lnTo>
                    <a:pt x="657" y="723"/>
                  </a:lnTo>
                  <a:lnTo>
                    <a:pt x="652" y="745"/>
                  </a:lnTo>
                  <a:lnTo>
                    <a:pt x="652" y="767"/>
                  </a:lnTo>
                  <a:lnTo>
                    <a:pt x="651" y="771"/>
                  </a:lnTo>
                  <a:lnTo>
                    <a:pt x="640" y="787"/>
                  </a:lnTo>
                  <a:lnTo>
                    <a:pt x="637" y="795"/>
                  </a:lnTo>
                  <a:lnTo>
                    <a:pt x="637" y="803"/>
                  </a:lnTo>
                  <a:lnTo>
                    <a:pt x="637" y="812"/>
                  </a:lnTo>
                  <a:lnTo>
                    <a:pt x="652" y="856"/>
                  </a:lnTo>
                  <a:lnTo>
                    <a:pt x="638" y="892"/>
                  </a:lnTo>
                  <a:lnTo>
                    <a:pt x="660" y="912"/>
                  </a:lnTo>
                  <a:lnTo>
                    <a:pt x="657" y="915"/>
                  </a:lnTo>
                  <a:lnTo>
                    <a:pt x="653" y="930"/>
                  </a:lnTo>
                  <a:lnTo>
                    <a:pt x="656" y="971"/>
                  </a:lnTo>
                  <a:lnTo>
                    <a:pt x="653" y="978"/>
                  </a:lnTo>
                  <a:lnTo>
                    <a:pt x="633" y="980"/>
                  </a:lnTo>
                  <a:lnTo>
                    <a:pt x="617" y="958"/>
                  </a:lnTo>
                  <a:lnTo>
                    <a:pt x="600" y="912"/>
                  </a:lnTo>
                  <a:lnTo>
                    <a:pt x="587" y="891"/>
                  </a:lnTo>
                  <a:lnTo>
                    <a:pt x="571" y="873"/>
                  </a:lnTo>
                  <a:lnTo>
                    <a:pt x="435" y="776"/>
                  </a:lnTo>
                  <a:lnTo>
                    <a:pt x="421" y="767"/>
                  </a:lnTo>
                  <a:lnTo>
                    <a:pt x="407" y="765"/>
                  </a:lnTo>
                  <a:lnTo>
                    <a:pt x="399" y="760"/>
                  </a:lnTo>
                  <a:lnTo>
                    <a:pt x="376" y="741"/>
                  </a:lnTo>
                  <a:lnTo>
                    <a:pt x="353" y="730"/>
                  </a:lnTo>
                  <a:lnTo>
                    <a:pt x="343" y="715"/>
                  </a:lnTo>
                  <a:lnTo>
                    <a:pt x="340" y="696"/>
                  </a:lnTo>
                  <a:lnTo>
                    <a:pt x="343" y="687"/>
                  </a:lnTo>
                  <a:lnTo>
                    <a:pt x="350" y="682"/>
                  </a:lnTo>
                  <a:lnTo>
                    <a:pt x="370" y="653"/>
                  </a:lnTo>
                  <a:lnTo>
                    <a:pt x="376" y="641"/>
                  </a:lnTo>
                  <a:lnTo>
                    <a:pt x="347" y="672"/>
                  </a:lnTo>
                  <a:lnTo>
                    <a:pt x="332" y="683"/>
                  </a:lnTo>
                  <a:lnTo>
                    <a:pt x="315" y="683"/>
                  </a:lnTo>
                  <a:lnTo>
                    <a:pt x="315" y="687"/>
                  </a:lnTo>
                  <a:lnTo>
                    <a:pt x="327" y="706"/>
                  </a:lnTo>
                  <a:lnTo>
                    <a:pt x="332" y="718"/>
                  </a:lnTo>
                  <a:lnTo>
                    <a:pt x="334" y="726"/>
                  </a:lnTo>
                  <a:lnTo>
                    <a:pt x="326" y="727"/>
                  </a:lnTo>
                  <a:lnTo>
                    <a:pt x="277" y="703"/>
                  </a:lnTo>
                  <a:lnTo>
                    <a:pt x="238" y="690"/>
                  </a:lnTo>
                  <a:lnTo>
                    <a:pt x="224" y="697"/>
                  </a:lnTo>
                  <a:lnTo>
                    <a:pt x="238" y="698"/>
                  </a:lnTo>
                  <a:lnTo>
                    <a:pt x="246" y="702"/>
                  </a:lnTo>
                  <a:lnTo>
                    <a:pt x="112" y="706"/>
                  </a:lnTo>
                  <a:lnTo>
                    <a:pt x="104" y="710"/>
                  </a:lnTo>
                  <a:lnTo>
                    <a:pt x="92" y="720"/>
                  </a:lnTo>
                  <a:lnTo>
                    <a:pt x="82" y="721"/>
                  </a:lnTo>
                  <a:lnTo>
                    <a:pt x="74" y="717"/>
                  </a:lnTo>
                  <a:lnTo>
                    <a:pt x="65" y="712"/>
                  </a:lnTo>
                  <a:lnTo>
                    <a:pt x="56" y="681"/>
                  </a:lnTo>
                  <a:lnTo>
                    <a:pt x="54" y="666"/>
                  </a:lnTo>
                  <a:lnTo>
                    <a:pt x="57" y="655"/>
                  </a:lnTo>
                  <a:lnTo>
                    <a:pt x="51" y="632"/>
                  </a:lnTo>
                  <a:lnTo>
                    <a:pt x="47" y="577"/>
                  </a:lnTo>
                  <a:lnTo>
                    <a:pt x="37" y="555"/>
                  </a:lnTo>
                  <a:lnTo>
                    <a:pt x="39" y="547"/>
                  </a:lnTo>
                  <a:lnTo>
                    <a:pt x="37" y="532"/>
                  </a:lnTo>
                  <a:lnTo>
                    <a:pt x="34" y="515"/>
                  </a:lnTo>
                  <a:lnTo>
                    <a:pt x="30" y="501"/>
                  </a:lnTo>
                  <a:lnTo>
                    <a:pt x="27" y="497"/>
                  </a:lnTo>
                  <a:lnTo>
                    <a:pt x="17" y="490"/>
                  </a:lnTo>
                  <a:lnTo>
                    <a:pt x="14" y="485"/>
                  </a:lnTo>
                  <a:lnTo>
                    <a:pt x="9" y="477"/>
                  </a:lnTo>
                  <a:lnTo>
                    <a:pt x="6" y="468"/>
                  </a:lnTo>
                  <a:lnTo>
                    <a:pt x="4" y="458"/>
                  </a:lnTo>
                  <a:lnTo>
                    <a:pt x="1" y="458"/>
                  </a:lnTo>
                  <a:lnTo>
                    <a:pt x="0" y="451"/>
                  </a:lnTo>
                  <a:lnTo>
                    <a:pt x="9" y="441"/>
                  </a:lnTo>
                  <a:lnTo>
                    <a:pt x="10" y="431"/>
                  </a:lnTo>
                  <a:lnTo>
                    <a:pt x="9" y="426"/>
                  </a:lnTo>
                  <a:lnTo>
                    <a:pt x="14" y="423"/>
                  </a:lnTo>
                  <a:lnTo>
                    <a:pt x="29" y="407"/>
                  </a:lnTo>
                  <a:lnTo>
                    <a:pt x="32" y="402"/>
                  </a:lnTo>
                  <a:lnTo>
                    <a:pt x="36" y="391"/>
                  </a:lnTo>
                  <a:lnTo>
                    <a:pt x="40" y="357"/>
                  </a:lnTo>
                  <a:lnTo>
                    <a:pt x="47" y="336"/>
                  </a:lnTo>
                  <a:lnTo>
                    <a:pt x="57" y="322"/>
                  </a:lnTo>
                  <a:lnTo>
                    <a:pt x="109" y="278"/>
                  </a:lnTo>
                  <a:lnTo>
                    <a:pt x="124" y="252"/>
                  </a:lnTo>
                  <a:lnTo>
                    <a:pt x="130" y="227"/>
                  </a:lnTo>
                  <a:lnTo>
                    <a:pt x="142" y="195"/>
                  </a:lnTo>
                  <a:lnTo>
                    <a:pt x="145" y="182"/>
                  </a:lnTo>
                  <a:lnTo>
                    <a:pt x="145" y="175"/>
                  </a:lnTo>
                  <a:lnTo>
                    <a:pt x="144" y="168"/>
                  </a:lnTo>
                  <a:lnTo>
                    <a:pt x="142" y="163"/>
                  </a:lnTo>
                  <a:lnTo>
                    <a:pt x="146" y="158"/>
                  </a:lnTo>
                  <a:lnTo>
                    <a:pt x="165" y="155"/>
                  </a:lnTo>
                  <a:lnTo>
                    <a:pt x="170" y="151"/>
                  </a:lnTo>
                  <a:lnTo>
                    <a:pt x="177" y="151"/>
                  </a:lnTo>
                  <a:lnTo>
                    <a:pt x="185" y="153"/>
                  </a:lnTo>
                  <a:lnTo>
                    <a:pt x="191" y="155"/>
                  </a:lnTo>
                  <a:lnTo>
                    <a:pt x="199" y="151"/>
                  </a:lnTo>
                  <a:lnTo>
                    <a:pt x="205" y="148"/>
                  </a:lnTo>
                  <a:lnTo>
                    <a:pt x="210" y="146"/>
                  </a:lnTo>
                  <a:lnTo>
                    <a:pt x="215" y="138"/>
                  </a:lnTo>
                  <a:lnTo>
                    <a:pt x="221" y="123"/>
                  </a:lnTo>
                  <a:lnTo>
                    <a:pt x="226" y="118"/>
                  </a:lnTo>
                  <a:lnTo>
                    <a:pt x="235" y="120"/>
                  </a:lnTo>
                  <a:lnTo>
                    <a:pt x="266" y="132"/>
                  </a:lnTo>
                  <a:lnTo>
                    <a:pt x="281" y="131"/>
                  </a:lnTo>
                  <a:lnTo>
                    <a:pt x="285" y="113"/>
                  </a:lnTo>
                  <a:lnTo>
                    <a:pt x="291" y="105"/>
                  </a:lnTo>
                  <a:lnTo>
                    <a:pt x="295" y="83"/>
                  </a:lnTo>
                  <a:lnTo>
                    <a:pt x="306" y="62"/>
                  </a:lnTo>
                  <a:lnTo>
                    <a:pt x="314" y="38"/>
                  </a:lnTo>
                  <a:lnTo>
                    <a:pt x="317" y="28"/>
                  </a:lnTo>
                  <a:lnTo>
                    <a:pt x="324" y="8"/>
                  </a:lnTo>
                  <a:lnTo>
                    <a:pt x="321" y="7"/>
                  </a:lnTo>
                  <a:lnTo>
                    <a:pt x="331" y="0"/>
                  </a:lnTo>
                  <a:lnTo>
                    <a:pt x="406" y="25"/>
                  </a:lnTo>
                  <a:lnTo>
                    <a:pt x="409" y="30"/>
                  </a:lnTo>
                  <a:lnTo>
                    <a:pt x="409" y="35"/>
                  </a:lnTo>
                  <a:lnTo>
                    <a:pt x="407" y="40"/>
                  </a:lnTo>
                  <a:lnTo>
                    <a:pt x="402" y="48"/>
                  </a:lnTo>
                  <a:lnTo>
                    <a:pt x="399" y="58"/>
                  </a:lnTo>
                  <a:lnTo>
                    <a:pt x="397" y="63"/>
                  </a:lnTo>
                  <a:lnTo>
                    <a:pt x="399" y="67"/>
                  </a:lnTo>
                  <a:lnTo>
                    <a:pt x="404" y="70"/>
                  </a:lnTo>
                  <a:lnTo>
                    <a:pt x="411" y="72"/>
                  </a:lnTo>
                  <a:lnTo>
                    <a:pt x="419" y="76"/>
                  </a:lnTo>
                  <a:lnTo>
                    <a:pt x="434" y="81"/>
                  </a:lnTo>
                  <a:lnTo>
                    <a:pt x="460" y="81"/>
                  </a:lnTo>
                  <a:lnTo>
                    <a:pt x="472" y="78"/>
                  </a:lnTo>
                  <a:lnTo>
                    <a:pt x="491" y="81"/>
                  </a:lnTo>
                  <a:lnTo>
                    <a:pt x="499" y="82"/>
                  </a:lnTo>
                  <a:lnTo>
                    <a:pt x="506" y="86"/>
                  </a:lnTo>
                  <a:lnTo>
                    <a:pt x="514" y="92"/>
                  </a:lnTo>
                  <a:lnTo>
                    <a:pt x="525" y="107"/>
                  </a:lnTo>
                  <a:lnTo>
                    <a:pt x="527" y="117"/>
                  </a:lnTo>
                  <a:lnTo>
                    <a:pt x="527" y="122"/>
                  </a:lnTo>
                  <a:lnTo>
                    <a:pt x="529" y="127"/>
                  </a:lnTo>
                  <a:lnTo>
                    <a:pt x="531" y="130"/>
                  </a:lnTo>
                  <a:lnTo>
                    <a:pt x="557" y="132"/>
                  </a:lnTo>
                  <a:lnTo>
                    <a:pt x="571" y="136"/>
                  </a:lnTo>
                  <a:lnTo>
                    <a:pt x="580" y="135"/>
                  </a:lnTo>
                  <a:lnTo>
                    <a:pt x="582" y="128"/>
                  </a:lnTo>
                  <a:lnTo>
                    <a:pt x="594" y="118"/>
                  </a:lnTo>
                  <a:lnTo>
                    <a:pt x="599" y="111"/>
                  </a:lnTo>
                  <a:lnTo>
                    <a:pt x="602" y="107"/>
                  </a:lnTo>
                  <a:lnTo>
                    <a:pt x="607" y="106"/>
                  </a:lnTo>
                  <a:lnTo>
                    <a:pt x="614" y="107"/>
                  </a:lnTo>
                  <a:lnTo>
                    <a:pt x="620" y="108"/>
                  </a:lnTo>
                  <a:lnTo>
                    <a:pt x="642" y="125"/>
                  </a:lnTo>
                  <a:lnTo>
                    <a:pt x="646" y="132"/>
                  </a:lnTo>
                  <a:lnTo>
                    <a:pt x="651" y="147"/>
                  </a:lnTo>
                  <a:lnTo>
                    <a:pt x="665" y="151"/>
                  </a:lnTo>
                  <a:lnTo>
                    <a:pt x="737" y="181"/>
                  </a:lnTo>
                  <a:lnTo>
                    <a:pt x="747" y="19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1" name="Huesca" descr="{&quot;Key&quot;:&quot;huesca&quot;,&quot;Name&quot;:&quot;Huesca&quot;,&quot;Value&quot;:1.0,&quot;Formula&quot;:&quot;&quot;,&quot;Text&quot;:&quot;1&quot;,&quot;HasValue&quot;:true}">
              <a:extLst>
                <a:ext uri="{FF2B5EF4-FFF2-40B4-BE49-F238E27FC236}">
                  <a16:creationId xmlns:a16="http://schemas.microsoft.com/office/drawing/2014/main" id="{3655CD87-B4A9-EE6A-2728-24FA4E565C3F}"/>
                </a:ext>
              </a:extLst>
            </p:cNvPr>
            <p:cNvSpPr>
              <a:spLocks/>
            </p:cNvSpPr>
            <p:nvPr/>
          </p:nvSpPr>
          <p:spPr bwMode="auto">
            <a:xfrm>
              <a:off x="4362766" y="2390386"/>
              <a:ext cx="647465" cy="810393"/>
            </a:xfrm>
            <a:custGeom>
              <a:avLst/>
              <a:gdLst>
                <a:gd name="T0" fmla="*/ 909 w 939"/>
                <a:gd name="T1" fmla="*/ 221 h 1173"/>
                <a:gd name="T2" fmla="*/ 939 w 939"/>
                <a:gd name="T3" fmla="*/ 240 h 1173"/>
                <a:gd name="T4" fmla="*/ 924 w 939"/>
                <a:gd name="T5" fmla="*/ 288 h 1173"/>
                <a:gd name="T6" fmla="*/ 913 w 939"/>
                <a:gd name="T7" fmla="*/ 319 h 1173"/>
                <a:gd name="T8" fmla="*/ 905 w 939"/>
                <a:gd name="T9" fmla="*/ 340 h 1173"/>
                <a:gd name="T10" fmla="*/ 919 w 939"/>
                <a:gd name="T11" fmla="*/ 371 h 1173"/>
                <a:gd name="T12" fmla="*/ 928 w 939"/>
                <a:gd name="T13" fmla="*/ 453 h 1173"/>
                <a:gd name="T14" fmla="*/ 924 w 939"/>
                <a:gd name="T15" fmla="*/ 494 h 1173"/>
                <a:gd name="T16" fmla="*/ 905 w 939"/>
                <a:gd name="T17" fmla="*/ 550 h 1173"/>
                <a:gd name="T18" fmla="*/ 900 w 939"/>
                <a:gd name="T19" fmla="*/ 609 h 1173"/>
                <a:gd name="T20" fmla="*/ 875 w 939"/>
                <a:gd name="T21" fmla="*/ 671 h 1173"/>
                <a:gd name="T22" fmla="*/ 855 w 939"/>
                <a:gd name="T23" fmla="*/ 706 h 1173"/>
                <a:gd name="T24" fmla="*/ 832 w 939"/>
                <a:gd name="T25" fmla="*/ 728 h 1173"/>
                <a:gd name="T26" fmla="*/ 843 w 939"/>
                <a:gd name="T27" fmla="*/ 760 h 1173"/>
                <a:gd name="T28" fmla="*/ 816 w 939"/>
                <a:gd name="T29" fmla="*/ 815 h 1173"/>
                <a:gd name="T30" fmla="*/ 788 w 939"/>
                <a:gd name="T31" fmla="*/ 834 h 1173"/>
                <a:gd name="T32" fmla="*/ 745 w 939"/>
                <a:gd name="T33" fmla="*/ 871 h 1173"/>
                <a:gd name="T34" fmla="*/ 723 w 939"/>
                <a:gd name="T35" fmla="*/ 895 h 1173"/>
                <a:gd name="T36" fmla="*/ 703 w 939"/>
                <a:gd name="T37" fmla="*/ 961 h 1173"/>
                <a:gd name="T38" fmla="*/ 732 w 939"/>
                <a:gd name="T39" fmla="*/ 993 h 1173"/>
                <a:gd name="T40" fmla="*/ 750 w 939"/>
                <a:gd name="T41" fmla="*/ 1011 h 1173"/>
                <a:gd name="T42" fmla="*/ 753 w 939"/>
                <a:gd name="T43" fmla="*/ 1038 h 1173"/>
                <a:gd name="T44" fmla="*/ 713 w 939"/>
                <a:gd name="T45" fmla="*/ 1074 h 1173"/>
                <a:gd name="T46" fmla="*/ 700 w 939"/>
                <a:gd name="T47" fmla="*/ 1133 h 1173"/>
                <a:gd name="T48" fmla="*/ 584 w 939"/>
                <a:gd name="T49" fmla="*/ 1146 h 1173"/>
                <a:gd name="T50" fmla="*/ 504 w 939"/>
                <a:gd name="T51" fmla="*/ 1149 h 1173"/>
                <a:gd name="T52" fmla="*/ 428 w 939"/>
                <a:gd name="T53" fmla="*/ 1041 h 1173"/>
                <a:gd name="T54" fmla="*/ 397 w 939"/>
                <a:gd name="T55" fmla="*/ 993 h 1173"/>
                <a:gd name="T56" fmla="*/ 322 w 939"/>
                <a:gd name="T57" fmla="*/ 965 h 1173"/>
                <a:gd name="T58" fmla="*/ 237 w 939"/>
                <a:gd name="T59" fmla="*/ 881 h 1173"/>
                <a:gd name="T60" fmla="*/ 175 w 939"/>
                <a:gd name="T61" fmla="*/ 774 h 1173"/>
                <a:gd name="T62" fmla="*/ 33 w 939"/>
                <a:gd name="T63" fmla="*/ 683 h 1173"/>
                <a:gd name="T64" fmla="*/ 54 w 939"/>
                <a:gd name="T65" fmla="*/ 629 h 1173"/>
                <a:gd name="T66" fmla="*/ 79 w 939"/>
                <a:gd name="T67" fmla="*/ 649 h 1173"/>
                <a:gd name="T68" fmla="*/ 93 w 939"/>
                <a:gd name="T69" fmla="*/ 498 h 1173"/>
                <a:gd name="T70" fmla="*/ 102 w 939"/>
                <a:gd name="T71" fmla="*/ 436 h 1173"/>
                <a:gd name="T72" fmla="*/ 79 w 939"/>
                <a:gd name="T73" fmla="*/ 400 h 1173"/>
                <a:gd name="T74" fmla="*/ 62 w 939"/>
                <a:gd name="T75" fmla="*/ 485 h 1173"/>
                <a:gd name="T76" fmla="*/ 35 w 939"/>
                <a:gd name="T77" fmla="*/ 480 h 1173"/>
                <a:gd name="T78" fmla="*/ 10 w 939"/>
                <a:gd name="T79" fmla="*/ 504 h 1173"/>
                <a:gd name="T80" fmla="*/ 49 w 939"/>
                <a:gd name="T81" fmla="*/ 406 h 1173"/>
                <a:gd name="T82" fmla="*/ 19 w 939"/>
                <a:gd name="T83" fmla="*/ 348 h 1173"/>
                <a:gd name="T84" fmla="*/ 2 w 939"/>
                <a:gd name="T85" fmla="*/ 199 h 1173"/>
                <a:gd name="T86" fmla="*/ 23 w 939"/>
                <a:gd name="T87" fmla="*/ 174 h 1173"/>
                <a:gd name="T88" fmla="*/ 19 w 939"/>
                <a:gd name="T89" fmla="*/ 121 h 1173"/>
                <a:gd name="T90" fmla="*/ 40 w 939"/>
                <a:gd name="T91" fmla="*/ 65 h 1173"/>
                <a:gd name="T92" fmla="*/ 60 w 939"/>
                <a:gd name="T93" fmla="*/ 23 h 1173"/>
                <a:gd name="T94" fmla="*/ 102 w 939"/>
                <a:gd name="T95" fmla="*/ 6 h 1173"/>
                <a:gd name="T96" fmla="*/ 113 w 939"/>
                <a:gd name="T97" fmla="*/ 33 h 1173"/>
                <a:gd name="T98" fmla="*/ 174 w 939"/>
                <a:gd name="T99" fmla="*/ 81 h 1173"/>
                <a:gd name="T100" fmla="*/ 189 w 939"/>
                <a:gd name="T101" fmla="*/ 93 h 1173"/>
                <a:gd name="T102" fmla="*/ 210 w 939"/>
                <a:gd name="T103" fmla="*/ 104 h 1173"/>
                <a:gd name="T104" fmla="*/ 278 w 939"/>
                <a:gd name="T105" fmla="*/ 98 h 1173"/>
                <a:gd name="T106" fmla="*/ 330 w 939"/>
                <a:gd name="T107" fmla="*/ 65 h 1173"/>
                <a:gd name="T108" fmla="*/ 397 w 939"/>
                <a:gd name="T109" fmla="*/ 103 h 1173"/>
                <a:gd name="T110" fmla="*/ 432 w 939"/>
                <a:gd name="T111" fmla="*/ 131 h 1173"/>
                <a:gd name="T112" fmla="*/ 459 w 939"/>
                <a:gd name="T113" fmla="*/ 158 h 1173"/>
                <a:gd name="T114" fmla="*/ 553 w 939"/>
                <a:gd name="T115" fmla="*/ 159 h 1173"/>
                <a:gd name="T116" fmla="*/ 644 w 939"/>
                <a:gd name="T117" fmla="*/ 158 h 1173"/>
                <a:gd name="T118" fmla="*/ 699 w 939"/>
                <a:gd name="T119" fmla="*/ 156 h 1173"/>
                <a:gd name="T120" fmla="*/ 728 w 939"/>
                <a:gd name="T121" fmla="*/ 176 h 1173"/>
                <a:gd name="T122" fmla="*/ 849 w 939"/>
                <a:gd name="T123" fmla="*/ 175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9" h="1173">
                  <a:moveTo>
                    <a:pt x="880" y="169"/>
                  </a:moveTo>
                  <a:lnTo>
                    <a:pt x="887" y="174"/>
                  </a:lnTo>
                  <a:lnTo>
                    <a:pt x="898" y="194"/>
                  </a:lnTo>
                  <a:lnTo>
                    <a:pt x="905" y="215"/>
                  </a:lnTo>
                  <a:lnTo>
                    <a:pt x="909" y="221"/>
                  </a:lnTo>
                  <a:lnTo>
                    <a:pt x="914" y="225"/>
                  </a:lnTo>
                  <a:lnTo>
                    <a:pt x="919" y="228"/>
                  </a:lnTo>
                  <a:lnTo>
                    <a:pt x="930" y="230"/>
                  </a:lnTo>
                  <a:lnTo>
                    <a:pt x="936" y="234"/>
                  </a:lnTo>
                  <a:lnTo>
                    <a:pt x="939" y="240"/>
                  </a:lnTo>
                  <a:lnTo>
                    <a:pt x="936" y="245"/>
                  </a:lnTo>
                  <a:lnTo>
                    <a:pt x="934" y="264"/>
                  </a:lnTo>
                  <a:lnTo>
                    <a:pt x="931" y="270"/>
                  </a:lnTo>
                  <a:lnTo>
                    <a:pt x="926" y="281"/>
                  </a:lnTo>
                  <a:lnTo>
                    <a:pt x="924" y="288"/>
                  </a:lnTo>
                  <a:lnTo>
                    <a:pt x="921" y="290"/>
                  </a:lnTo>
                  <a:lnTo>
                    <a:pt x="918" y="301"/>
                  </a:lnTo>
                  <a:lnTo>
                    <a:pt x="919" y="310"/>
                  </a:lnTo>
                  <a:lnTo>
                    <a:pt x="916" y="316"/>
                  </a:lnTo>
                  <a:lnTo>
                    <a:pt x="913" y="319"/>
                  </a:lnTo>
                  <a:lnTo>
                    <a:pt x="906" y="319"/>
                  </a:lnTo>
                  <a:lnTo>
                    <a:pt x="903" y="321"/>
                  </a:lnTo>
                  <a:lnTo>
                    <a:pt x="901" y="328"/>
                  </a:lnTo>
                  <a:lnTo>
                    <a:pt x="903" y="334"/>
                  </a:lnTo>
                  <a:lnTo>
                    <a:pt x="905" y="340"/>
                  </a:lnTo>
                  <a:lnTo>
                    <a:pt x="907" y="345"/>
                  </a:lnTo>
                  <a:lnTo>
                    <a:pt x="907" y="354"/>
                  </a:lnTo>
                  <a:lnTo>
                    <a:pt x="909" y="359"/>
                  </a:lnTo>
                  <a:lnTo>
                    <a:pt x="915" y="366"/>
                  </a:lnTo>
                  <a:lnTo>
                    <a:pt x="919" y="371"/>
                  </a:lnTo>
                  <a:lnTo>
                    <a:pt x="922" y="380"/>
                  </a:lnTo>
                  <a:lnTo>
                    <a:pt x="927" y="399"/>
                  </a:lnTo>
                  <a:lnTo>
                    <a:pt x="929" y="430"/>
                  </a:lnTo>
                  <a:lnTo>
                    <a:pt x="929" y="445"/>
                  </a:lnTo>
                  <a:lnTo>
                    <a:pt x="928" y="453"/>
                  </a:lnTo>
                  <a:lnTo>
                    <a:pt x="925" y="461"/>
                  </a:lnTo>
                  <a:lnTo>
                    <a:pt x="925" y="465"/>
                  </a:lnTo>
                  <a:lnTo>
                    <a:pt x="925" y="475"/>
                  </a:lnTo>
                  <a:lnTo>
                    <a:pt x="924" y="489"/>
                  </a:lnTo>
                  <a:lnTo>
                    <a:pt x="924" y="494"/>
                  </a:lnTo>
                  <a:lnTo>
                    <a:pt x="919" y="508"/>
                  </a:lnTo>
                  <a:lnTo>
                    <a:pt x="913" y="518"/>
                  </a:lnTo>
                  <a:lnTo>
                    <a:pt x="911" y="521"/>
                  </a:lnTo>
                  <a:lnTo>
                    <a:pt x="907" y="545"/>
                  </a:lnTo>
                  <a:lnTo>
                    <a:pt x="905" y="550"/>
                  </a:lnTo>
                  <a:lnTo>
                    <a:pt x="903" y="565"/>
                  </a:lnTo>
                  <a:lnTo>
                    <a:pt x="905" y="578"/>
                  </a:lnTo>
                  <a:lnTo>
                    <a:pt x="904" y="585"/>
                  </a:lnTo>
                  <a:lnTo>
                    <a:pt x="901" y="601"/>
                  </a:lnTo>
                  <a:lnTo>
                    <a:pt x="900" y="609"/>
                  </a:lnTo>
                  <a:lnTo>
                    <a:pt x="896" y="616"/>
                  </a:lnTo>
                  <a:lnTo>
                    <a:pt x="891" y="620"/>
                  </a:lnTo>
                  <a:lnTo>
                    <a:pt x="891" y="624"/>
                  </a:lnTo>
                  <a:lnTo>
                    <a:pt x="883" y="654"/>
                  </a:lnTo>
                  <a:lnTo>
                    <a:pt x="875" y="671"/>
                  </a:lnTo>
                  <a:lnTo>
                    <a:pt x="876" y="681"/>
                  </a:lnTo>
                  <a:lnTo>
                    <a:pt x="874" y="690"/>
                  </a:lnTo>
                  <a:lnTo>
                    <a:pt x="869" y="696"/>
                  </a:lnTo>
                  <a:lnTo>
                    <a:pt x="863" y="699"/>
                  </a:lnTo>
                  <a:lnTo>
                    <a:pt x="855" y="706"/>
                  </a:lnTo>
                  <a:lnTo>
                    <a:pt x="851" y="714"/>
                  </a:lnTo>
                  <a:lnTo>
                    <a:pt x="845" y="719"/>
                  </a:lnTo>
                  <a:lnTo>
                    <a:pt x="841" y="720"/>
                  </a:lnTo>
                  <a:lnTo>
                    <a:pt x="836" y="724"/>
                  </a:lnTo>
                  <a:lnTo>
                    <a:pt x="832" y="728"/>
                  </a:lnTo>
                  <a:lnTo>
                    <a:pt x="827" y="736"/>
                  </a:lnTo>
                  <a:lnTo>
                    <a:pt x="827" y="741"/>
                  </a:lnTo>
                  <a:lnTo>
                    <a:pt x="834" y="749"/>
                  </a:lnTo>
                  <a:lnTo>
                    <a:pt x="839" y="751"/>
                  </a:lnTo>
                  <a:lnTo>
                    <a:pt x="843" y="760"/>
                  </a:lnTo>
                  <a:lnTo>
                    <a:pt x="844" y="785"/>
                  </a:lnTo>
                  <a:lnTo>
                    <a:pt x="841" y="790"/>
                  </a:lnTo>
                  <a:lnTo>
                    <a:pt x="834" y="799"/>
                  </a:lnTo>
                  <a:lnTo>
                    <a:pt x="821" y="806"/>
                  </a:lnTo>
                  <a:lnTo>
                    <a:pt x="816" y="815"/>
                  </a:lnTo>
                  <a:lnTo>
                    <a:pt x="813" y="820"/>
                  </a:lnTo>
                  <a:lnTo>
                    <a:pt x="808" y="824"/>
                  </a:lnTo>
                  <a:lnTo>
                    <a:pt x="798" y="826"/>
                  </a:lnTo>
                  <a:lnTo>
                    <a:pt x="793" y="828"/>
                  </a:lnTo>
                  <a:lnTo>
                    <a:pt x="788" y="834"/>
                  </a:lnTo>
                  <a:lnTo>
                    <a:pt x="780" y="846"/>
                  </a:lnTo>
                  <a:lnTo>
                    <a:pt x="774" y="858"/>
                  </a:lnTo>
                  <a:lnTo>
                    <a:pt x="770" y="864"/>
                  </a:lnTo>
                  <a:lnTo>
                    <a:pt x="764" y="868"/>
                  </a:lnTo>
                  <a:lnTo>
                    <a:pt x="745" y="871"/>
                  </a:lnTo>
                  <a:lnTo>
                    <a:pt x="738" y="875"/>
                  </a:lnTo>
                  <a:lnTo>
                    <a:pt x="732" y="883"/>
                  </a:lnTo>
                  <a:lnTo>
                    <a:pt x="730" y="888"/>
                  </a:lnTo>
                  <a:lnTo>
                    <a:pt x="727" y="890"/>
                  </a:lnTo>
                  <a:lnTo>
                    <a:pt x="723" y="895"/>
                  </a:lnTo>
                  <a:lnTo>
                    <a:pt x="715" y="908"/>
                  </a:lnTo>
                  <a:lnTo>
                    <a:pt x="703" y="919"/>
                  </a:lnTo>
                  <a:lnTo>
                    <a:pt x="694" y="931"/>
                  </a:lnTo>
                  <a:lnTo>
                    <a:pt x="695" y="943"/>
                  </a:lnTo>
                  <a:lnTo>
                    <a:pt x="703" y="961"/>
                  </a:lnTo>
                  <a:lnTo>
                    <a:pt x="705" y="978"/>
                  </a:lnTo>
                  <a:lnTo>
                    <a:pt x="708" y="984"/>
                  </a:lnTo>
                  <a:lnTo>
                    <a:pt x="710" y="988"/>
                  </a:lnTo>
                  <a:lnTo>
                    <a:pt x="715" y="990"/>
                  </a:lnTo>
                  <a:lnTo>
                    <a:pt x="732" y="993"/>
                  </a:lnTo>
                  <a:lnTo>
                    <a:pt x="738" y="991"/>
                  </a:lnTo>
                  <a:lnTo>
                    <a:pt x="743" y="993"/>
                  </a:lnTo>
                  <a:lnTo>
                    <a:pt x="748" y="994"/>
                  </a:lnTo>
                  <a:lnTo>
                    <a:pt x="750" y="1000"/>
                  </a:lnTo>
                  <a:lnTo>
                    <a:pt x="750" y="1011"/>
                  </a:lnTo>
                  <a:lnTo>
                    <a:pt x="753" y="1018"/>
                  </a:lnTo>
                  <a:lnTo>
                    <a:pt x="755" y="1023"/>
                  </a:lnTo>
                  <a:lnTo>
                    <a:pt x="757" y="1029"/>
                  </a:lnTo>
                  <a:lnTo>
                    <a:pt x="755" y="1034"/>
                  </a:lnTo>
                  <a:lnTo>
                    <a:pt x="753" y="1038"/>
                  </a:lnTo>
                  <a:lnTo>
                    <a:pt x="742" y="1051"/>
                  </a:lnTo>
                  <a:lnTo>
                    <a:pt x="739" y="1055"/>
                  </a:lnTo>
                  <a:lnTo>
                    <a:pt x="734" y="1065"/>
                  </a:lnTo>
                  <a:lnTo>
                    <a:pt x="729" y="1069"/>
                  </a:lnTo>
                  <a:lnTo>
                    <a:pt x="713" y="1074"/>
                  </a:lnTo>
                  <a:lnTo>
                    <a:pt x="707" y="1079"/>
                  </a:lnTo>
                  <a:lnTo>
                    <a:pt x="705" y="1084"/>
                  </a:lnTo>
                  <a:lnTo>
                    <a:pt x="707" y="1098"/>
                  </a:lnTo>
                  <a:lnTo>
                    <a:pt x="705" y="1113"/>
                  </a:lnTo>
                  <a:lnTo>
                    <a:pt x="700" y="1133"/>
                  </a:lnTo>
                  <a:lnTo>
                    <a:pt x="645" y="1116"/>
                  </a:lnTo>
                  <a:lnTo>
                    <a:pt x="634" y="1134"/>
                  </a:lnTo>
                  <a:lnTo>
                    <a:pt x="614" y="1141"/>
                  </a:lnTo>
                  <a:lnTo>
                    <a:pt x="603" y="1133"/>
                  </a:lnTo>
                  <a:lnTo>
                    <a:pt x="584" y="1146"/>
                  </a:lnTo>
                  <a:lnTo>
                    <a:pt x="572" y="1173"/>
                  </a:lnTo>
                  <a:lnTo>
                    <a:pt x="523" y="1166"/>
                  </a:lnTo>
                  <a:lnTo>
                    <a:pt x="519" y="1164"/>
                  </a:lnTo>
                  <a:lnTo>
                    <a:pt x="513" y="1155"/>
                  </a:lnTo>
                  <a:lnTo>
                    <a:pt x="504" y="1149"/>
                  </a:lnTo>
                  <a:lnTo>
                    <a:pt x="494" y="1150"/>
                  </a:lnTo>
                  <a:lnTo>
                    <a:pt x="474" y="1156"/>
                  </a:lnTo>
                  <a:lnTo>
                    <a:pt x="455" y="1081"/>
                  </a:lnTo>
                  <a:lnTo>
                    <a:pt x="448" y="1065"/>
                  </a:lnTo>
                  <a:lnTo>
                    <a:pt x="428" y="1041"/>
                  </a:lnTo>
                  <a:lnTo>
                    <a:pt x="420" y="1011"/>
                  </a:lnTo>
                  <a:lnTo>
                    <a:pt x="415" y="1003"/>
                  </a:lnTo>
                  <a:lnTo>
                    <a:pt x="409" y="995"/>
                  </a:lnTo>
                  <a:lnTo>
                    <a:pt x="403" y="993"/>
                  </a:lnTo>
                  <a:lnTo>
                    <a:pt x="397" y="993"/>
                  </a:lnTo>
                  <a:lnTo>
                    <a:pt x="380" y="1006"/>
                  </a:lnTo>
                  <a:lnTo>
                    <a:pt x="377" y="1006"/>
                  </a:lnTo>
                  <a:lnTo>
                    <a:pt x="369" y="1005"/>
                  </a:lnTo>
                  <a:lnTo>
                    <a:pt x="338" y="971"/>
                  </a:lnTo>
                  <a:lnTo>
                    <a:pt x="322" y="965"/>
                  </a:lnTo>
                  <a:lnTo>
                    <a:pt x="318" y="961"/>
                  </a:lnTo>
                  <a:lnTo>
                    <a:pt x="305" y="930"/>
                  </a:lnTo>
                  <a:lnTo>
                    <a:pt x="302" y="926"/>
                  </a:lnTo>
                  <a:lnTo>
                    <a:pt x="242" y="888"/>
                  </a:lnTo>
                  <a:lnTo>
                    <a:pt x="237" y="881"/>
                  </a:lnTo>
                  <a:lnTo>
                    <a:pt x="234" y="874"/>
                  </a:lnTo>
                  <a:lnTo>
                    <a:pt x="222" y="810"/>
                  </a:lnTo>
                  <a:lnTo>
                    <a:pt x="214" y="799"/>
                  </a:lnTo>
                  <a:lnTo>
                    <a:pt x="205" y="790"/>
                  </a:lnTo>
                  <a:lnTo>
                    <a:pt x="175" y="774"/>
                  </a:lnTo>
                  <a:lnTo>
                    <a:pt x="150" y="731"/>
                  </a:lnTo>
                  <a:lnTo>
                    <a:pt x="142" y="724"/>
                  </a:lnTo>
                  <a:lnTo>
                    <a:pt x="82" y="723"/>
                  </a:lnTo>
                  <a:lnTo>
                    <a:pt x="39" y="694"/>
                  </a:lnTo>
                  <a:lnTo>
                    <a:pt x="33" y="683"/>
                  </a:lnTo>
                  <a:lnTo>
                    <a:pt x="33" y="671"/>
                  </a:lnTo>
                  <a:lnTo>
                    <a:pt x="38" y="646"/>
                  </a:lnTo>
                  <a:lnTo>
                    <a:pt x="43" y="636"/>
                  </a:lnTo>
                  <a:lnTo>
                    <a:pt x="49" y="630"/>
                  </a:lnTo>
                  <a:lnTo>
                    <a:pt x="54" y="629"/>
                  </a:lnTo>
                  <a:lnTo>
                    <a:pt x="58" y="630"/>
                  </a:lnTo>
                  <a:lnTo>
                    <a:pt x="63" y="631"/>
                  </a:lnTo>
                  <a:lnTo>
                    <a:pt x="67" y="634"/>
                  </a:lnTo>
                  <a:lnTo>
                    <a:pt x="75" y="648"/>
                  </a:lnTo>
                  <a:lnTo>
                    <a:pt x="79" y="649"/>
                  </a:lnTo>
                  <a:lnTo>
                    <a:pt x="87" y="645"/>
                  </a:lnTo>
                  <a:lnTo>
                    <a:pt x="93" y="638"/>
                  </a:lnTo>
                  <a:lnTo>
                    <a:pt x="98" y="626"/>
                  </a:lnTo>
                  <a:lnTo>
                    <a:pt x="99" y="615"/>
                  </a:lnTo>
                  <a:lnTo>
                    <a:pt x="93" y="498"/>
                  </a:lnTo>
                  <a:lnTo>
                    <a:pt x="97" y="486"/>
                  </a:lnTo>
                  <a:lnTo>
                    <a:pt x="105" y="474"/>
                  </a:lnTo>
                  <a:lnTo>
                    <a:pt x="107" y="468"/>
                  </a:lnTo>
                  <a:lnTo>
                    <a:pt x="107" y="460"/>
                  </a:lnTo>
                  <a:lnTo>
                    <a:pt x="102" y="436"/>
                  </a:lnTo>
                  <a:lnTo>
                    <a:pt x="102" y="410"/>
                  </a:lnTo>
                  <a:lnTo>
                    <a:pt x="99" y="403"/>
                  </a:lnTo>
                  <a:lnTo>
                    <a:pt x="94" y="398"/>
                  </a:lnTo>
                  <a:lnTo>
                    <a:pt x="80" y="398"/>
                  </a:lnTo>
                  <a:lnTo>
                    <a:pt x="79" y="400"/>
                  </a:lnTo>
                  <a:lnTo>
                    <a:pt x="79" y="405"/>
                  </a:lnTo>
                  <a:lnTo>
                    <a:pt x="84" y="426"/>
                  </a:lnTo>
                  <a:lnTo>
                    <a:pt x="84" y="433"/>
                  </a:lnTo>
                  <a:lnTo>
                    <a:pt x="67" y="479"/>
                  </a:lnTo>
                  <a:lnTo>
                    <a:pt x="62" y="485"/>
                  </a:lnTo>
                  <a:lnTo>
                    <a:pt x="57" y="486"/>
                  </a:lnTo>
                  <a:lnTo>
                    <a:pt x="53" y="485"/>
                  </a:lnTo>
                  <a:lnTo>
                    <a:pt x="45" y="480"/>
                  </a:lnTo>
                  <a:lnTo>
                    <a:pt x="40" y="479"/>
                  </a:lnTo>
                  <a:lnTo>
                    <a:pt x="35" y="480"/>
                  </a:lnTo>
                  <a:lnTo>
                    <a:pt x="29" y="483"/>
                  </a:lnTo>
                  <a:lnTo>
                    <a:pt x="25" y="486"/>
                  </a:lnTo>
                  <a:lnTo>
                    <a:pt x="22" y="500"/>
                  </a:lnTo>
                  <a:lnTo>
                    <a:pt x="18" y="504"/>
                  </a:lnTo>
                  <a:lnTo>
                    <a:pt x="10" y="504"/>
                  </a:lnTo>
                  <a:lnTo>
                    <a:pt x="4" y="501"/>
                  </a:lnTo>
                  <a:lnTo>
                    <a:pt x="0" y="495"/>
                  </a:lnTo>
                  <a:lnTo>
                    <a:pt x="2" y="488"/>
                  </a:lnTo>
                  <a:lnTo>
                    <a:pt x="48" y="415"/>
                  </a:lnTo>
                  <a:lnTo>
                    <a:pt x="49" y="406"/>
                  </a:lnTo>
                  <a:lnTo>
                    <a:pt x="49" y="400"/>
                  </a:lnTo>
                  <a:lnTo>
                    <a:pt x="45" y="386"/>
                  </a:lnTo>
                  <a:lnTo>
                    <a:pt x="14" y="366"/>
                  </a:lnTo>
                  <a:lnTo>
                    <a:pt x="13" y="361"/>
                  </a:lnTo>
                  <a:lnTo>
                    <a:pt x="19" y="348"/>
                  </a:lnTo>
                  <a:lnTo>
                    <a:pt x="19" y="338"/>
                  </a:lnTo>
                  <a:lnTo>
                    <a:pt x="15" y="320"/>
                  </a:lnTo>
                  <a:lnTo>
                    <a:pt x="10" y="231"/>
                  </a:lnTo>
                  <a:lnTo>
                    <a:pt x="0" y="206"/>
                  </a:lnTo>
                  <a:lnTo>
                    <a:pt x="2" y="199"/>
                  </a:lnTo>
                  <a:lnTo>
                    <a:pt x="4" y="196"/>
                  </a:lnTo>
                  <a:lnTo>
                    <a:pt x="17" y="193"/>
                  </a:lnTo>
                  <a:lnTo>
                    <a:pt x="22" y="189"/>
                  </a:lnTo>
                  <a:lnTo>
                    <a:pt x="24" y="181"/>
                  </a:lnTo>
                  <a:lnTo>
                    <a:pt x="23" y="174"/>
                  </a:lnTo>
                  <a:lnTo>
                    <a:pt x="8" y="160"/>
                  </a:lnTo>
                  <a:lnTo>
                    <a:pt x="7" y="154"/>
                  </a:lnTo>
                  <a:lnTo>
                    <a:pt x="12" y="134"/>
                  </a:lnTo>
                  <a:lnTo>
                    <a:pt x="15" y="124"/>
                  </a:lnTo>
                  <a:lnTo>
                    <a:pt x="19" y="121"/>
                  </a:lnTo>
                  <a:lnTo>
                    <a:pt x="25" y="118"/>
                  </a:lnTo>
                  <a:lnTo>
                    <a:pt x="32" y="113"/>
                  </a:lnTo>
                  <a:lnTo>
                    <a:pt x="38" y="100"/>
                  </a:lnTo>
                  <a:lnTo>
                    <a:pt x="40" y="78"/>
                  </a:lnTo>
                  <a:lnTo>
                    <a:pt x="40" y="65"/>
                  </a:lnTo>
                  <a:lnTo>
                    <a:pt x="42" y="59"/>
                  </a:lnTo>
                  <a:lnTo>
                    <a:pt x="43" y="53"/>
                  </a:lnTo>
                  <a:lnTo>
                    <a:pt x="58" y="33"/>
                  </a:lnTo>
                  <a:lnTo>
                    <a:pt x="60" y="28"/>
                  </a:lnTo>
                  <a:lnTo>
                    <a:pt x="60" y="23"/>
                  </a:lnTo>
                  <a:lnTo>
                    <a:pt x="62" y="18"/>
                  </a:lnTo>
                  <a:lnTo>
                    <a:pt x="65" y="11"/>
                  </a:lnTo>
                  <a:lnTo>
                    <a:pt x="85" y="0"/>
                  </a:lnTo>
                  <a:lnTo>
                    <a:pt x="99" y="0"/>
                  </a:lnTo>
                  <a:lnTo>
                    <a:pt x="102" y="6"/>
                  </a:lnTo>
                  <a:lnTo>
                    <a:pt x="102" y="11"/>
                  </a:lnTo>
                  <a:lnTo>
                    <a:pt x="99" y="19"/>
                  </a:lnTo>
                  <a:lnTo>
                    <a:pt x="102" y="26"/>
                  </a:lnTo>
                  <a:lnTo>
                    <a:pt x="108" y="31"/>
                  </a:lnTo>
                  <a:lnTo>
                    <a:pt x="113" y="33"/>
                  </a:lnTo>
                  <a:lnTo>
                    <a:pt x="119" y="31"/>
                  </a:lnTo>
                  <a:lnTo>
                    <a:pt x="124" y="33"/>
                  </a:lnTo>
                  <a:lnTo>
                    <a:pt x="143" y="44"/>
                  </a:lnTo>
                  <a:lnTo>
                    <a:pt x="153" y="53"/>
                  </a:lnTo>
                  <a:lnTo>
                    <a:pt x="174" y="81"/>
                  </a:lnTo>
                  <a:lnTo>
                    <a:pt x="175" y="85"/>
                  </a:lnTo>
                  <a:lnTo>
                    <a:pt x="174" y="90"/>
                  </a:lnTo>
                  <a:lnTo>
                    <a:pt x="178" y="93"/>
                  </a:lnTo>
                  <a:lnTo>
                    <a:pt x="187" y="93"/>
                  </a:lnTo>
                  <a:lnTo>
                    <a:pt x="189" y="93"/>
                  </a:lnTo>
                  <a:lnTo>
                    <a:pt x="193" y="98"/>
                  </a:lnTo>
                  <a:lnTo>
                    <a:pt x="192" y="108"/>
                  </a:lnTo>
                  <a:lnTo>
                    <a:pt x="197" y="110"/>
                  </a:lnTo>
                  <a:lnTo>
                    <a:pt x="202" y="110"/>
                  </a:lnTo>
                  <a:lnTo>
                    <a:pt x="210" y="104"/>
                  </a:lnTo>
                  <a:lnTo>
                    <a:pt x="215" y="101"/>
                  </a:lnTo>
                  <a:lnTo>
                    <a:pt x="217" y="84"/>
                  </a:lnTo>
                  <a:lnTo>
                    <a:pt x="230" y="84"/>
                  </a:lnTo>
                  <a:lnTo>
                    <a:pt x="260" y="99"/>
                  </a:lnTo>
                  <a:lnTo>
                    <a:pt x="278" y="98"/>
                  </a:lnTo>
                  <a:lnTo>
                    <a:pt x="290" y="89"/>
                  </a:lnTo>
                  <a:lnTo>
                    <a:pt x="318" y="68"/>
                  </a:lnTo>
                  <a:lnTo>
                    <a:pt x="323" y="73"/>
                  </a:lnTo>
                  <a:lnTo>
                    <a:pt x="327" y="71"/>
                  </a:lnTo>
                  <a:lnTo>
                    <a:pt x="330" y="65"/>
                  </a:lnTo>
                  <a:lnTo>
                    <a:pt x="333" y="58"/>
                  </a:lnTo>
                  <a:lnTo>
                    <a:pt x="342" y="66"/>
                  </a:lnTo>
                  <a:lnTo>
                    <a:pt x="375" y="86"/>
                  </a:lnTo>
                  <a:lnTo>
                    <a:pt x="382" y="100"/>
                  </a:lnTo>
                  <a:lnTo>
                    <a:pt x="397" y="103"/>
                  </a:lnTo>
                  <a:lnTo>
                    <a:pt x="413" y="98"/>
                  </a:lnTo>
                  <a:lnTo>
                    <a:pt x="423" y="94"/>
                  </a:lnTo>
                  <a:lnTo>
                    <a:pt x="422" y="106"/>
                  </a:lnTo>
                  <a:lnTo>
                    <a:pt x="425" y="120"/>
                  </a:lnTo>
                  <a:lnTo>
                    <a:pt x="432" y="131"/>
                  </a:lnTo>
                  <a:lnTo>
                    <a:pt x="440" y="139"/>
                  </a:lnTo>
                  <a:lnTo>
                    <a:pt x="444" y="143"/>
                  </a:lnTo>
                  <a:lnTo>
                    <a:pt x="447" y="153"/>
                  </a:lnTo>
                  <a:lnTo>
                    <a:pt x="453" y="155"/>
                  </a:lnTo>
                  <a:lnTo>
                    <a:pt x="459" y="158"/>
                  </a:lnTo>
                  <a:lnTo>
                    <a:pt x="463" y="161"/>
                  </a:lnTo>
                  <a:lnTo>
                    <a:pt x="469" y="168"/>
                  </a:lnTo>
                  <a:lnTo>
                    <a:pt x="490" y="176"/>
                  </a:lnTo>
                  <a:lnTo>
                    <a:pt x="510" y="175"/>
                  </a:lnTo>
                  <a:lnTo>
                    <a:pt x="553" y="159"/>
                  </a:lnTo>
                  <a:lnTo>
                    <a:pt x="587" y="154"/>
                  </a:lnTo>
                  <a:lnTo>
                    <a:pt x="597" y="146"/>
                  </a:lnTo>
                  <a:lnTo>
                    <a:pt x="607" y="145"/>
                  </a:lnTo>
                  <a:lnTo>
                    <a:pt x="635" y="154"/>
                  </a:lnTo>
                  <a:lnTo>
                    <a:pt x="644" y="158"/>
                  </a:lnTo>
                  <a:lnTo>
                    <a:pt x="657" y="179"/>
                  </a:lnTo>
                  <a:lnTo>
                    <a:pt x="665" y="189"/>
                  </a:lnTo>
                  <a:lnTo>
                    <a:pt x="673" y="188"/>
                  </a:lnTo>
                  <a:lnTo>
                    <a:pt x="689" y="166"/>
                  </a:lnTo>
                  <a:lnTo>
                    <a:pt x="699" y="156"/>
                  </a:lnTo>
                  <a:lnTo>
                    <a:pt x="709" y="153"/>
                  </a:lnTo>
                  <a:lnTo>
                    <a:pt x="724" y="165"/>
                  </a:lnTo>
                  <a:lnTo>
                    <a:pt x="725" y="168"/>
                  </a:lnTo>
                  <a:lnTo>
                    <a:pt x="725" y="174"/>
                  </a:lnTo>
                  <a:lnTo>
                    <a:pt x="728" y="176"/>
                  </a:lnTo>
                  <a:lnTo>
                    <a:pt x="739" y="179"/>
                  </a:lnTo>
                  <a:lnTo>
                    <a:pt x="750" y="179"/>
                  </a:lnTo>
                  <a:lnTo>
                    <a:pt x="772" y="173"/>
                  </a:lnTo>
                  <a:lnTo>
                    <a:pt x="780" y="176"/>
                  </a:lnTo>
                  <a:lnTo>
                    <a:pt x="849" y="175"/>
                  </a:lnTo>
                  <a:lnTo>
                    <a:pt x="869" y="178"/>
                  </a:lnTo>
                  <a:lnTo>
                    <a:pt x="877" y="175"/>
                  </a:lnTo>
                  <a:lnTo>
                    <a:pt x="880" y="169"/>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2" name="Jaén" descr="{&quot;Key&quot;:&quot;jaén&quot;,&quot;Name&quot;:&quot;Jaén&quot;,&quot;Value&quot;:1.0,&quot;Formula&quot;:&quot;&quot;,&quot;Text&quot;:&quot;1&quot;,&quot;HasValue&quot;:true}">
              <a:extLst>
                <a:ext uri="{FF2B5EF4-FFF2-40B4-BE49-F238E27FC236}">
                  <a16:creationId xmlns:a16="http://schemas.microsoft.com/office/drawing/2014/main" id="{FD1005F9-20D5-EAC7-C408-6C57D48483AA}"/>
                </a:ext>
              </a:extLst>
            </p:cNvPr>
            <p:cNvSpPr>
              <a:spLocks/>
            </p:cNvSpPr>
            <p:nvPr/>
          </p:nvSpPr>
          <p:spPr bwMode="auto">
            <a:xfrm>
              <a:off x="3077755" y="4610467"/>
              <a:ext cx="708386" cy="559624"/>
            </a:xfrm>
            <a:custGeom>
              <a:avLst/>
              <a:gdLst>
                <a:gd name="T0" fmla="*/ 894 w 1027"/>
                <a:gd name="T1" fmla="*/ 403 h 812"/>
                <a:gd name="T2" fmla="*/ 830 w 1027"/>
                <a:gd name="T3" fmla="*/ 438 h 812"/>
                <a:gd name="T4" fmla="*/ 725 w 1027"/>
                <a:gd name="T5" fmla="*/ 635 h 812"/>
                <a:gd name="T6" fmla="*/ 672 w 1027"/>
                <a:gd name="T7" fmla="*/ 652 h 812"/>
                <a:gd name="T8" fmla="*/ 572 w 1027"/>
                <a:gd name="T9" fmla="*/ 635 h 812"/>
                <a:gd name="T10" fmla="*/ 490 w 1027"/>
                <a:gd name="T11" fmla="*/ 682 h 812"/>
                <a:gd name="T12" fmla="*/ 430 w 1027"/>
                <a:gd name="T13" fmla="*/ 648 h 812"/>
                <a:gd name="T14" fmla="*/ 245 w 1027"/>
                <a:gd name="T15" fmla="*/ 807 h 812"/>
                <a:gd name="T16" fmla="*/ 109 w 1027"/>
                <a:gd name="T17" fmla="*/ 737 h 812"/>
                <a:gd name="T18" fmla="*/ 56 w 1027"/>
                <a:gd name="T19" fmla="*/ 648 h 812"/>
                <a:gd name="T20" fmla="*/ 59 w 1027"/>
                <a:gd name="T21" fmla="*/ 610 h 812"/>
                <a:gd name="T22" fmla="*/ 35 w 1027"/>
                <a:gd name="T23" fmla="*/ 576 h 812"/>
                <a:gd name="T24" fmla="*/ 9 w 1027"/>
                <a:gd name="T25" fmla="*/ 518 h 812"/>
                <a:gd name="T26" fmla="*/ 0 w 1027"/>
                <a:gd name="T27" fmla="*/ 373 h 812"/>
                <a:gd name="T28" fmla="*/ 19 w 1027"/>
                <a:gd name="T29" fmla="*/ 333 h 812"/>
                <a:gd name="T30" fmla="*/ 47 w 1027"/>
                <a:gd name="T31" fmla="*/ 224 h 812"/>
                <a:gd name="T32" fmla="*/ 24 w 1027"/>
                <a:gd name="T33" fmla="*/ 138 h 812"/>
                <a:gd name="T34" fmla="*/ 6 w 1027"/>
                <a:gd name="T35" fmla="*/ 98 h 812"/>
                <a:gd name="T36" fmla="*/ 37 w 1027"/>
                <a:gd name="T37" fmla="*/ 93 h 812"/>
                <a:gd name="T38" fmla="*/ 246 w 1027"/>
                <a:gd name="T39" fmla="*/ 99 h 812"/>
                <a:gd name="T40" fmla="*/ 271 w 1027"/>
                <a:gd name="T41" fmla="*/ 76 h 812"/>
                <a:gd name="T42" fmla="*/ 301 w 1027"/>
                <a:gd name="T43" fmla="*/ 81 h 812"/>
                <a:gd name="T44" fmla="*/ 339 w 1027"/>
                <a:gd name="T45" fmla="*/ 86 h 812"/>
                <a:gd name="T46" fmla="*/ 385 w 1027"/>
                <a:gd name="T47" fmla="*/ 88 h 812"/>
                <a:gd name="T48" fmla="*/ 397 w 1027"/>
                <a:gd name="T49" fmla="*/ 60 h 812"/>
                <a:gd name="T50" fmla="*/ 415 w 1027"/>
                <a:gd name="T51" fmla="*/ 67 h 812"/>
                <a:gd name="T52" fmla="*/ 442 w 1027"/>
                <a:gd name="T53" fmla="*/ 90 h 812"/>
                <a:gd name="T54" fmla="*/ 479 w 1027"/>
                <a:gd name="T55" fmla="*/ 83 h 812"/>
                <a:gd name="T56" fmla="*/ 505 w 1027"/>
                <a:gd name="T57" fmla="*/ 52 h 812"/>
                <a:gd name="T58" fmla="*/ 532 w 1027"/>
                <a:gd name="T59" fmla="*/ 36 h 812"/>
                <a:gd name="T60" fmla="*/ 567 w 1027"/>
                <a:gd name="T61" fmla="*/ 47 h 812"/>
                <a:gd name="T62" fmla="*/ 644 w 1027"/>
                <a:gd name="T63" fmla="*/ 56 h 812"/>
                <a:gd name="T64" fmla="*/ 677 w 1027"/>
                <a:gd name="T65" fmla="*/ 36 h 812"/>
                <a:gd name="T66" fmla="*/ 706 w 1027"/>
                <a:gd name="T67" fmla="*/ 70 h 812"/>
                <a:gd name="T68" fmla="*/ 719 w 1027"/>
                <a:gd name="T69" fmla="*/ 53 h 812"/>
                <a:gd name="T70" fmla="*/ 754 w 1027"/>
                <a:gd name="T71" fmla="*/ 40 h 812"/>
                <a:gd name="T72" fmla="*/ 787 w 1027"/>
                <a:gd name="T73" fmla="*/ 46 h 812"/>
                <a:gd name="T74" fmla="*/ 839 w 1027"/>
                <a:gd name="T75" fmla="*/ 8 h 812"/>
                <a:gd name="T76" fmla="*/ 891 w 1027"/>
                <a:gd name="T77" fmla="*/ 23 h 812"/>
                <a:gd name="T78" fmla="*/ 934 w 1027"/>
                <a:gd name="T79" fmla="*/ 16 h 812"/>
                <a:gd name="T80" fmla="*/ 947 w 1027"/>
                <a:gd name="T81" fmla="*/ 35 h 812"/>
                <a:gd name="T82" fmla="*/ 949 w 1027"/>
                <a:gd name="T83" fmla="*/ 75 h 812"/>
                <a:gd name="T84" fmla="*/ 995 w 1027"/>
                <a:gd name="T85" fmla="*/ 110 h 812"/>
                <a:gd name="T86" fmla="*/ 1000 w 1027"/>
                <a:gd name="T87" fmla="*/ 146 h 812"/>
                <a:gd name="T88" fmla="*/ 1026 w 1027"/>
                <a:gd name="T89" fmla="*/ 185 h 812"/>
                <a:gd name="T90" fmla="*/ 1017 w 1027"/>
                <a:gd name="T91" fmla="*/ 220 h 812"/>
                <a:gd name="T92" fmla="*/ 1019 w 1027"/>
                <a:gd name="T93" fmla="*/ 243 h 812"/>
                <a:gd name="T94" fmla="*/ 969 w 1027"/>
                <a:gd name="T95" fmla="*/ 311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7" h="812">
                  <a:moveTo>
                    <a:pt x="962" y="320"/>
                  </a:moveTo>
                  <a:lnTo>
                    <a:pt x="932" y="333"/>
                  </a:lnTo>
                  <a:lnTo>
                    <a:pt x="934" y="372"/>
                  </a:lnTo>
                  <a:lnTo>
                    <a:pt x="894" y="403"/>
                  </a:lnTo>
                  <a:lnTo>
                    <a:pt x="885" y="397"/>
                  </a:lnTo>
                  <a:lnTo>
                    <a:pt x="882" y="396"/>
                  </a:lnTo>
                  <a:lnTo>
                    <a:pt x="877" y="396"/>
                  </a:lnTo>
                  <a:lnTo>
                    <a:pt x="830" y="438"/>
                  </a:lnTo>
                  <a:lnTo>
                    <a:pt x="772" y="535"/>
                  </a:lnTo>
                  <a:lnTo>
                    <a:pt x="766" y="553"/>
                  </a:lnTo>
                  <a:lnTo>
                    <a:pt x="766" y="611"/>
                  </a:lnTo>
                  <a:lnTo>
                    <a:pt x="725" y="635"/>
                  </a:lnTo>
                  <a:lnTo>
                    <a:pt x="721" y="656"/>
                  </a:lnTo>
                  <a:lnTo>
                    <a:pt x="694" y="648"/>
                  </a:lnTo>
                  <a:lnTo>
                    <a:pt x="682" y="648"/>
                  </a:lnTo>
                  <a:lnTo>
                    <a:pt x="672" y="652"/>
                  </a:lnTo>
                  <a:lnTo>
                    <a:pt x="661" y="660"/>
                  </a:lnTo>
                  <a:lnTo>
                    <a:pt x="607" y="632"/>
                  </a:lnTo>
                  <a:lnTo>
                    <a:pt x="587" y="630"/>
                  </a:lnTo>
                  <a:lnTo>
                    <a:pt x="572" y="635"/>
                  </a:lnTo>
                  <a:lnTo>
                    <a:pt x="559" y="646"/>
                  </a:lnTo>
                  <a:lnTo>
                    <a:pt x="546" y="666"/>
                  </a:lnTo>
                  <a:lnTo>
                    <a:pt x="536" y="673"/>
                  </a:lnTo>
                  <a:lnTo>
                    <a:pt x="490" y="682"/>
                  </a:lnTo>
                  <a:lnTo>
                    <a:pt x="476" y="680"/>
                  </a:lnTo>
                  <a:lnTo>
                    <a:pt x="452" y="653"/>
                  </a:lnTo>
                  <a:lnTo>
                    <a:pt x="439" y="646"/>
                  </a:lnTo>
                  <a:lnTo>
                    <a:pt x="430" y="648"/>
                  </a:lnTo>
                  <a:lnTo>
                    <a:pt x="364" y="707"/>
                  </a:lnTo>
                  <a:lnTo>
                    <a:pt x="332" y="715"/>
                  </a:lnTo>
                  <a:lnTo>
                    <a:pt x="272" y="751"/>
                  </a:lnTo>
                  <a:lnTo>
                    <a:pt x="245" y="807"/>
                  </a:lnTo>
                  <a:lnTo>
                    <a:pt x="185" y="812"/>
                  </a:lnTo>
                  <a:lnTo>
                    <a:pt x="156" y="796"/>
                  </a:lnTo>
                  <a:lnTo>
                    <a:pt x="136" y="758"/>
                  </a:lnTo>
                  <a:lnTo>
                    <a:pt x="109" y="737"/>
                  </a:lnTo>
                  <a:lnTo>
                    <a:pt x="105" y="728"/>
                  </a:lnTo>
                  <a:lnTo>
                    <a:pt x="96" y="701"/>
                  </a:lnTo>
                  <a:lnTo>
                    <a:pt x="71" y="673"/>
                  </a:lnTo>
                  <a:lnTo>
                    <a:pt x="56" y="648"/>
                  </a:lnTo>
                  <a:lnTo>
                    <a:pt x="44" y="643"/>
                  </a:lnTo>
                  <a:lnTo>
                    <a:pt x="39" y="640"/>
                  </a:lnTo>
                  <a:lnTo>
                    <a:pt x="41" y="628"/>
                  </a:lnTo>
                  <a:lnTo>
                    <a:pt x="59" y="610"/>
                  </a:lnTo>
                  <a:lnTo>
                    <a:pt x="62" y="602"/>
                  </a:lnTo>
                  <a:lnTo>
                    <a:pt x="61" y="590"/>
                  </a:lnTo>
                  <a:lnTo>
                    <a:pt x="54" y="583"/>
                  </a:lnTo>
                  <a:lnTo>
                    <a:pt x="35" y="576"/>
                  </a:lnTo>
                  <a:lnTo>
                    <a:pt x="31" y="565"/>
                  </a:lnTo>
                  <a:lnTo>
                    <a:pt x="29" y="535"/>
                  </a:lnTo>
                  <a:lnTo>
                    <a:pt x="22" y="526"/>
                  </a:lnTo>
                  <a:lnTo>
                    <a:pt x="9" y="518"/>
                  </a:lnTo>
                  <a:lnTo>
                    <a:pt x="2" y="511"/>
                  </a:lnTo>
                  <a:lnTo>
                    <a:pt x="0" y="503"/>
                  </a:lnTo>
                  <a:lnTo>
                    <a:pt x="12" y="402"/>
                  </a:lnTo>
                  <a:lnTo>
                    <a:pt x="0" y="373"/>
                  </a:lnTo>
                  <a:lnTo>
                    <a:pt x="11" y="363"/>
                  </a:lnTo>
                  <a:lnTo>
                    <a:pt x="13" y="358"/>
                  </a:lnTo>
                  <a:lnTo>
                    <a:pt x="16" y="339"/>
                  </a:lnTo>
                  <a:lnTo>
                    <a:pt x="19" y="333"/>
                  </a:lnTo>
                  <a:lnTo>
                    <a:pt x="50" y="287"/>
                  </a:lnTo>
                  <a:lnTo>
                    <a:pt x="64" y="279"/>
                  </a:lnTo>
                  <a:lnTo>
                    <a:pt x="64" y="249"/>
                  </a:lnTo>
                  <a:lnTo>
                    <a:pt x="47" y="224"/>
                  </a:lnTo>
                  <a:lnTo>
                    <a:pt x="41" y="211"/>
                  </a:lnTo>
                  <a:lnTo>
                    <a:pt x="37" y="196"/>
                  </a:lnTo>
                  <a:lnTo>
                    <a:pt x="39" y="172"/>
                  </a:lnTo>
                  <a:lnTo>
                    <a:pt x="24" y="138"/>
                  </a:lnTo>
                  <a:lnTo>
                    <a:pt x="22" y="137"/>
                  </a:lnTo>
                  <a:lnTo>
                    <a:pt x="5" y="128"/>
                  </a:lnTo>
                  <a:lnTo>
                    <a:pt x="5" y="102"/>
                  </a:lnTo>
                  <a:lnTo>
                    <a:pt x="6" y="98"/>
                  </a:lnTo>
                  <a:lnTo>
                    <a:pt x="10" y="93"/>
                  </a:lnTo>
                  <a:lnTo>
                    <a:pt x="15" y="92"/>
                  </a:lnTo>
                  <a:lnTo>
                    <a:pt x="26" y="92"/>
                  </a:lnTo>
                  <a:lnTo>
                    <a:pt x="37" y="93"/>
                  </a:lnTo>
                  <a:lnTo>
                    <a:pt x="59" y="101"/>
                  </a:lnTo>
                  <a:lnTo>
                    <a:pt x="216" y="107"/>
                  </a:lnTo>
                  <a:lnTo>
                    <a:pt x="235" y="104"/>
                  </a:lnTo>
                  <a:lnTo>
                    <a:pt x="246" y="99"/>
                  </a:lnTo>
                  <a:lnTo>
                    <a:pt x="251" y="88"/>
                  </a:lnTo>
                  <a:lnTo>
                    <a:pt x="255" y="83"/>
                  </a:lnTo>
                  <a:lnTo>
                    <a:pt x="264" y="78"/>
                  </a:lnTo>
                  <a:lnTo>
                    <a:pt x="271" y="76"/>
                  </a:lnTo>
                  <a:lnTo>
                    <a:pt x="280" y="75"/>
                  </a:lnTo>
                  <a:lnTo>
                    <a:pt x="286" y="76"/>
                  </a:lnTo>
                  <a:lnTo>
                    <a:pt x="291" y="78"/>
                  </a:lnTo>
                  <a:lnTo>
                    <a:pt x="301" y="81"/>
                  </a:lnTo>
                  <a:lnTo>
                    <a:pt x="309" y="78"/>
                  </a:lnTo>
                  <a:lnTo>
                    <a:pt x="314" y="78"/>
                  </a:lnTo>
                  <a:lnTo>
                    <a:pt x="327" y="85"/>
                  </a:lnTo>
                  <a:lnTo>
                    <a:pt x="339" y="86"/>
                  </a:lnTo>
                  <a:lnTo>
                    <a:pt x="367" y="93"/>
                  </a:lnTo>
                  <a:lnTo>
                    <a:pt x="375" y="93"/>
                  </a:lnTo>
                  <a:lnTo>
                    <a:pt x="381" y="91"/>
                  </a:lnTo>
                  <a:lnTo>
                    <a:pt x="385" y="88"/>
                  </a:lnTo>
                  <a:lnTo>
                    <a:pt x="387" y="85"/>
                  </a:lnTo>
                  <a:lnTo>
                    <a:pt x="390" y="68"/>
                  </a:lnTo>
                  <a:lnTo>
                    <a:pt x="391" y="63"/>
                  </a:lnTo>
                  <a:lnTo>
                    <a:pt x="397" y="60"/>
                  </a:lnTo>
                  <a:lnTo>
                    <a:pt x="405" y="58"/>
                  </a:lnTo>
                  <a:lnTo>
                    <a:pt x="410" y="60"/>
                  </a:lnTo>
                  <a:lnTo>
                    <a:pt x="414" y="63"/>
                  </a:lnTo>
                  <a:lnTo>
                    <a:pt x="415" y="67"/>
                  </a:lnTo>
                  <a:lnTo>
                    <a:pt x="417" y="77"/>
                  </a:lnTo>
                  <a:lnTo>
                    <a:pt x="420" y="82"/>
                  </a:lnTo>
                  <a:lnTo>
                    <a:pt x="424" y="85"/>
                  </a:lnTo>
                  <a:lnTo>
                    <a:pt x="442" y="90"/>
                  </a:lnTo>
                  <a:lnTo>
                    <a:pt x="451" y="91"/>
                  </a:lnTo>
                  <a:lnTo>
                    <a:pt x="457" y="91"/>
                  </a:lnTo>
                  <a:lnTo>
                    <a:pt x="465" y="90"/>
                  </a:lnTo>
                  <a:lnTo>
                    <a:pt x="479" y="83"/>
                  </a:lnTo>
                  <a:lnTo>
                    <a:pt x="492" y="76"/>
                  </a:lnTo>
                  <a:lnTo>
                    <a:pt x="500" y="67"/>
                  </a:lnTo>
                  <a:lnTo>
                    <a:pt x="502" y="62"/>
                  </a:lnTo>
                  <a:lnTo>
                    <a:pt x="505" y="52"/>
                  </a:lnTo>
                  <a:lnTo>
                    <a:pt x="506" y="47"/>
                  </a:lnTo>
                  <a:lnTo>
                    <a:pt x="511" y="42"/>
                  </a:lnTo>
                  <a:lnTo>
                    <a:pt x="520" y="37"/>
                  </a:lnTo>
                  <a:lnTo>
                    <a:pt x="532" y="36"/>
                  </a:lnTo>
                  <a:lnTo>
                    <a:pt x="541" y="36"/>
                  </a:lnTo>
                  <a:lnTo>
                    <a:pt x="547" y="38"/>
                  </a:lnTo>
                  <a:lnTo>
                    <a:pt x="557" y="43"/>
                  </a:lnTo>
                  <a:lnTo>
                    <a:pt x="567" y="47"/>
                  </a:lnTo>
                  <a:lnTo>
                    <a:pt x="579" y="50"/>
                  </a:lnTo>
                  <a:lnTo>
                    <a:pt x="616" y="51"/>
                  </a:lnTo>
                  <a:lnTo>
                    <a:pt x="635" y="57"/>
                  </a:lnTo>
                  <a:lnTo>
                    <a:pt x="644" y="56"/>
                  </a:lnTo>
                  <a:lnTo>
                    <a:pt x="649" y="53"/>
                  </a:lnTo>
                  <a:lnTo>
                    <a:pt x="657" y="46"/>
                  </a:lnTo>
                  <a:lnTo>
                    <a:pt x="672" y="36"/>
                  </a:lnTo>
                  <a:lnTo>
                    <a:pt x="677" y="36"/>
                  </a:lnTo>
                  <a:lnTo>
                    <a:pt x="682" y="38"/>
                  </a:lnTo>
                  <a:lnTo>
                    <a:pt x="686" y="42"/>
                  </a:lnTo>
                  <a:lnTo>
                    <a:pt x="699" y="61"/>
                  </a:lnTo>
                  <a:lnTo>
                    <a:pt x="706" y="70"/>
                  </a:lnTo>
                  <a:lnTo>
                    <a:pt x="711" y="73"/>
                  </a:lnTo>
                  <a:lnTo>
                    <a:pt x="714" y="71"/>
                  </a:lnTo>
                  <a:lnTo>
                    <a:pt x="715" y="57"/>
                  </a:lnTo>
                  <a:lnTo>
                    <a:pt x="719" y="53"/>
                  </a:lnTo>
                  <a:lnTo>
                    <a:pt x="730" y="46"/>
                  </a:lnTo>
                  <a:lnTo>
                    <a:pt x="739" y="41"/>
                  </a:lnTo>
                  <a:lnTo>
                    <a:pt x="746" y="41"/>
                  </a:lnTo>
                  <a:lnTo>
                    <a:pt x="754" y="40"/>
                  </a:lnTo>
                  <a:lnTo>
                    <a:pt x="765" y="43"/>
                  </a:lnTo>
                  <a:lnTo>
                    <a:pt x="776" y="51"/>
                  </a:lnTo>
                  <a:lnTo>
                    <a:pt x="779" y="51"/>
                  </a:lnTo>
                  <a:lnTo>
                    <a:pt x="787" y="46"/>
                  </a:lnTo>
                  <a:lnTo>
                    <a:pt x="789" y="42"/>
                  </a:lnTo>
                  <a:lnTo>
                    <a:pt x="797" y="35"/>
                  </a:lnTo>
                  <a:lnTo>
                    <a:pt x="827" y="18"/>
                  </a:lnTo>
                  <a:lnTo>
                    <a:pt x="839" y="8"/>
                  </a:lnTo>
                  <a:lnTo>
                    <a:pt x="840" y="6"/>
                  </a:lnTo>
                  <a:lnTo>
                    <a:pt x="846" y="0"/>
                  </a:lnTo>
                  <a:lnTo>
                    <a:pt x="867" y="13"/>
                  </a:lnTo>
                  <a:lnTo>
                    <a:pt x="891" y="23"/>
                  </a:lnTo>
                  <a:lnTo>
                    <a:pt x="902" y="18"/>
                  </a:lnTo>
                  <a:lnTo>
                    <a:pt x="910" y="17"/>
                  </a:lnTo>
                  <a:lnTo>
                    <a:pt x="919" y="16"/>
                  </a:lnTo>
                  <a:lnTo>
                    <a:pt x="934" y="16"/>
                  </a:lnTo>
                  <a:lnTo>
                    <a:pt x="942" y="20"/>
                  </a:lnTo>
                  <a:lnTo>
                    <a:pt x="949" y="23"/>
                  </a:lnTo>
                  <a:lnTo>
                    <a:pt x="949" y="26"/>
                  </a:lnTo>
                  <a:lnTo>
                    <a:pt x="947" y="35"/>
                  </a:lnTo>
                  <a:lnTo>
                    <a:pt x="950" y="50"/>
                  </a:lnTo>
                  <a:lnTo>
                    <a:pt x="950" y="60"/>
                  </a:lnTo>
                  <a:lnTo>
                    <a:pt x="947" y="70"/>
                  </a:lnTo>
                  <a:lnTo>
                    <a:pt x="949" y="75"/>
                  </a:lnTo>
                  <a:lnTo>
                    <a:pt x="957" y="83"/>
                  </a:lnTo>
                  <a:lnTo>
                    <a:pt x="995" y="95"/>
                  </a:lnTo>
                  <a:lnTo>
                    <a:pt x="996" y="99"/>
                  </a:lnTo>
                  <a:lnTo>
                    <a:pt x="995" y="110"/>
                  </a:lnTo>
                  <a:lnTo>
                    <a:pt x="996" y="120"/>
                  </a:lnTo>
                  <a:lnTo>
                    <a:pt x="999" y="124"/>
                  </a:lnTo>
                  <a:lnTo>
                    <a:pt x="1000" y="136"/>
                  </a:lnTo>
                  <a:lnTo>
                    <a:pt x="1000" y="146"/>
                  </a:lnTo>
                  <a:lnTo>
                    <a:pt x="1001" y="160"/>
                  </a:lnTo>
                  <a:lnTo>
                    <a:pt x="1005" y="166"/>
                  </a:lnTo>
                  <a:lnTo>
                    <a:pt x="1022" y="177"/>
                  </a:lnTo>
                  <a:lnTo>
                    <a:pt x="1026" y="185"/>
                  </a:lnTo>
                  <a:lnTo>
                    <a:pt x="1027" y="195"/>
                  </a:lnTo>
                  <a:lnTo>
                    <a:pt x="1026" y="203"/>
                  </a:lnTo>
                  <a:lnTo>
                    <a:pt x="1024" y="212"/>
                  </a:lnTo>
                  <a:lnTo>
                    <a:pt x="1017" y="220"/>
                  </a:lnTo>
                  <a:lnTo>
                    <a:pt x="1017" y="223"/>
                  </a:lnTo>
                  <a:lnTo>
                    <a:pt x="1020" y="232"/>
                  </a:lnTo>
                  <a:lnTo>
                    <a:pt x="1020" y="238"/>
                  </a:lnTo>
                  <a:lnTo>
                    <a:pt x="1019" y="243"/>
                  </a:lnTo>
                  <a:lnTo>
                    <a:pt x="985" y="288"/>
                  </a:lnTo>
                  <a:lnTo>
                    <a:pt x="980" y="297"/>
                  </a:lnTo>
                  <a:lnTo>
                    <a:pt x="976" y="302"/>
                  </a:lnTo>
                  <a:lnTo>
                    <a:pt x="969" y="311"/>
                  </a:lnTo>
                  <a:lnTo>
                    <a:pt x="962" y="32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3" name="La Coruña" descr="{&quot;Key&quot;:&quot;la coruña&quot;,&quot;Name&quot;:&quot;La Coruña&quot;,&quot;Value&quot;:1.0,&quot;Formula&quot;:&quot;&quot;,&quot;Text&quot;:&quot;1&quot;,&quot;HasValue&quot;:true}">
              <a:extLst>
                <a:ext uri="{FF2B5EF4-FFF2-40B4-BE49-F238E27FC236}">
                  <a16:creationId xmlns:a16="http://schemas.microsoft.com/office/drawing/2014/main" id="{085E57C9-34C2-38DD-120B-006BE35A2B77}"/>
                </a:ext>
              </a:extLst>
            </p:cNvPr>
            <p:cNvSpPr>
              <a:spLocks/>
            </p:cNvSpPr>
            <p:nvPr/>
          </p:nvSpPr>
          <p:spPr bwMode="auto">
            <a:xfrm>
              <a:off x="1162279" y="1928518"/>
              <a:ext cx="621963" cy="664466"/>
            </a:xfrm>
            <a:custGeom>
              <a:avLst/>
              <a:gdLst>
                <a:gd name="T0" fmla="*/ 869 w 901"/>
                <a:gd name="T1" fmla="*/ 150 h 960"/>
                <a:gd name="T2" fmla="*/ 857 w 901"/>
                <a:gd name="T3" fmla="*/ 201 h 960"/>
                <a:gd name="T4" fmla="*/ 808 w 901"/>
                <a:gd name="T5" fmla="*/ 300 h 960"/>
                <a:gd name="T6" fmla="*/ 750 w 901"/>
                <a:gd name="T7" fmla="*/ 388 h 960"/>
                <a:gd name="T8" fmla="*/ 757 w 901"/>
                <a:gd name="T9" fmla="*/ 542 h 960"/>
                <a:gd name="T10" fmla="*/ 765 w 901"/>
                <a:gd name="T11" fmla="*/ 653 h 960"/>
                <a:gd name="T12" fmla="*/ 698 w 901"/>
                <a:gd name="T13" fmla="*/ 729 h 960"/>
                <a:gd name="T14" fmla="*/ 594 w 901"/>
                <a:gd name="T15" fmla="*/ 734 h 960"/>
                <a:gd name="T16" fmla="*/ 545 w 901"/>
                <a:gd name="T17" fmla="*/ 729 h 960"/>
                <a:gd name="T18" fmla="*/ 528 w 901"/>
                <a:gd name="T19" fmla="*/ 733 h 960"/>
                <a:gd name="T20" fmla="*/ 499 w 901"/>
                <a:gd name="T21" fmla="*/ 764 h 960"/>
                <a:gd name="T22" fmla="*/ 397 w 901"/>
                <a:gd name="T23" fmla="*/ 798 h 960"/>
                <a:gd name="T24" fmla="*/ 319 w 901"/>
                <a:gd name="T25" fmla="*/ 827 h 960"/>
                <a:gd name="T26" fmla="*/ 282 w 901"/>
                <a:gd name="T27" fmla="*/ 877 h 960"/>
                <a:gd name="T28" fmla="*/ 242 w 901"/>
                <a:gd name="T29" fmla="*/ 871 h 960"/>
                <a:gd name="T30" fmla="*/ 215 w 901"/>
                <a:gd name="T31" fmla="*/ 888 h 960"/>
                <a:gd name="T32" fmla="*/ 173 w 901"/>
                <a:gd name="T33" fmla="*/ 945 h 960"/>
                <a:gd name="T34" fmla="*/ 144 w 901"/>
                <a:gd name="T35" fmla="*/ 925 h 960"/>
                <a:gd name="T36" fmla="*/ 140 w 901"/>
                <a:gd name="T37" fmla="*/ 853 h 960"/>
                <a:gd name="T38" fmla="*/ 165 w 901"/>
                <a:gd name="T39" fmla="*/ 804 h 960"/>
                <a:gd name="T40" fmla="*/ 223 w 901"/>
                <a:gd name="T41" fmla="*/ 757 h 960"/>
                <a:gd name="T42" fmla="*/ 189 w 901"/>
                <a:gd name="T43" fmla="*/ 761 h 960"/>
                <a:gd name="T44" fmla="*/ 117 w 901"/>
                <a:gd name="T45" fmla="*/ 791 h 960"/>
                <a:gd name="T46" fmla="*/ 94 w 901"/>
                <a:gd name="T47" fmla="*/ 747 h 960"/>
                <a:gd name="T48" fmla="*/ 84 w 901"/>
                <a:gd name="T49" fmla="*/ 713 h 960"/>
                <a:gd name="T50" fmla="*/ 88 w 901"/>
                <a:gd name="T51" fmla="*/ 680 h 960"/>
                <a:gd name="T52" fmla="*/ 60 w 901"/>
                <a:gd name="T53" fmla="*/ 647 h 960"/>
                <a:gd name="T54" fmla="*/ 45 w 901"/>
                <a:gd name="T55" fmla="*/ 662 h 960"/>
                <a:gd name="T56" fmla="*/ 17 w 901"/>
                <a:gd name="T57" fmla="*/ 681 h 960"/>
                <a:gd name="T58" fmla="*/ 4 w 901"/>
                <a:gd name="T59" fmla="*/ 652 h 960"/>
                <a:gd name="T60" fmla="*/ 12 w 901"/>
                <a:gd name="T61" fmla="*/ 582 h 960"/>
                <a:gd name="T62" fmla="*/ 33 w 901"/>
                <a:gd name="T63" fmla="*/ 532 h 960"/>
                <a:gd name="T64" fmla="*/ 72 w 901"/>
                <a:gd name="T65" fmla="*/ 518 h 960"/>
                <a:gd name="T66" fmla="*/ 103 w 901"/>
                <a:gd name="T67" fmla="*/ 492 h 960"/>
                <a:gd name="T68" fmla="*/ 47 w 901"/>
                <a:gd name="T69" fmla="*/ 501 h 960"/>
                <a:gd name="T70" fmla="*/ 126 w 901"/>
                <a:gd name="T71" fmla="*/ 460 h 960"/>
                <a:gd name="T72" fmla="*/ 161 w 901"/>
                <a:gd name="T73" fmla="*/ 425 h 960"/>
                <a:gd name="T74" fmla="*/ 191 w 901"/>
                <a:gd name="T75" fmla="*/ 416 h 960"/>
                <a:gd name="T76" fmla="*/ 178 w 901"/>
                <a:gd name="T77" fmla="*/ 387 h 960"/>
                <a:gd name="T78" fmla="*/ 257 w 901"/>
                <a:gd name="T79" fmla="*/ 346 h 960"/>
                <a:gd name="T80" fmla="*/ 332 w 901"/>
                <a:gd name="T81" fmla="*/ 382 h 960"/>
                <a:gd name="T82" fmla="*/ 441 w 901"/>
                <a:gd name="T83" fmla="*/ 348 h 960"/>
                <a:gd name="T84" fmla="*/ 471 w 901"/>
                <a:gd name="T85" fmla="*/ 320 h 960"/>
                <a:gd name="T86" fmla="*/ 529 w 901"/>
                <a:gd name="T87" fmla="*/ 325 h 960"/>
                <a:gd name="T88" fmla="*/ 572 w 901"/>
                <a:gd name="T89" fmla="*/ 318 h 960"/>
                <a:gd name="T90" fmla="*/ 604 w 901"/>
                <a:gd name="T91" fmla="*/ 355 h 960"/>
                <a:gd name="T92" fmla="*/ 619 w 901"/>
                <a:gd name="T93" fmla="*/ 288 h 960"/>
                <a:gd name="T94" fmla="*/ 548 w 901"/>
                <a:gd name="T95" fmla="*/ 262 h 960"/>
                <a:gd name="T96" fmla="*/ 623 w 901"/>
                <a:gd name="T97" fmla="*/ 231 h 960"/>
                <a:gd name="T98" fmla="*/ 574 w 901"/>
                <a:gd name="T99" fmla="*/ 231 h 960"/>
                <a:gd name="T100" fmla="*/ 541 w 901"/>
                <a:gd name="T101" fmla="*/ 207 h 960"/>
                <a:gd name="T102" fmla="*/ 543 w 901"/>
                <a:gd name="T103" fmla="*/ 173 h 960"/>
                <a:gd name="T104" fmla="*/ 671 w 901"/>
                <a:gd name="T105" fmla="*/ 113 h 960"/>
                <a:gd name="T106" fmla="*/ 676 w 901"/>
                <a:gd name="T107" fmla="*/ 88 h 960"/>
                <a:gd name="T108" fmla="*/ 727 w 901"/>
                <a:gd name="T109" fmla="*/ 57 h 960"/>
                <a:gd name="T110" fmla="*/ 793 w 901"/>
                <a:gd name="T111" fmla="*/ 47 h 960"/>
                <a:gd name="T112" fmla="*/ 783 w 901"/>
                <a:gd name="T113" fmla="*/ 77 h 960"/>
                <a:gd name="T114" fmla="*/ 767 w 901"/>
                <a:gd name="T115" fmla="*/ 95 h 960"/>
                <a:gd name="T116" fmla="*/ 817 w 901"/>
                <a:gd name="T117" fmla="*/ 73 h 960"/>
                <a:gd name="T118" fmla="*/ 876 w 901"/>
                <a:gd name="T119" fmla="*/ 25 h 960"/>
                <a:gd name="T120" fmla="*/ 901 w 901"/>
                <a:gd name="T121" fmla="*/ 1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1" h="960">
                  <a:moveTo>
                    <a:pt x="886" y="47"/>
                  </a:moveTo>
                  <a:lnTo>
                    <a:pt x="878" y="91"/>
                  </a:lnTo>
                  <a:lnTo>
                    <a:pt x="888" y="107"/>
                  </a:lnTo>
                  <a:lnTo>
                    <a:pt x="869" y="128"/>
                  </a:lnTo>
                  <a:lnTo>
                    <a:pt x="867" y="136"/>
                  </a:lnTo>
                  <a:lnTo>
                    <a:pt x="869" y="150"/>
                  </a:lnTo>
                  <a:lnTo>
                    <a:pt x="868" y="158"/>
                  </a:lnTo>
                  <a:lnTo>
                    <a:pt x="867" y="162"/>
                  </a:lnTo>
                  <a:lnTo>
                    <a:pt x="853" y="176"/>
                  </a:lnTo>
                  <a:lnTo>
                    <a:pt x="850" y="182"/>
                  </a:lnTo>
                  <a:lnTo>
                    <a:pt x="850" y="190"/>
                  </a:lnTo>
                  <a:lnTo>
                    <a:pt x="857" y="201"/>
                  </a:lnTo>
                  <a:lnTo>
                    <a:pt x="858" y="208"/>
                  </a:lnTo>
                  <a:lnTo>
                    <a:pt x="838" y="263"/>
                  </a:lnTo>
                  <a:lnTo>
                    <a:pt x="823" y="272"/>
                  </a:lnTo>
                  <a:lnTo>
                    <a:pt x="818" y="290"/>
                  </a:lnTo>
                  <a:lnTo>
                    <a:pt x="814" y="296"/>
                  </a:lnTo>
                  <a:lnTo>
                    <a:pt x="808" y="300"/>
                  </a:lnTo>
                  <a:lnTo>
                    <a:pt x="782" y="296"/>
                  </a:lnTo>
                  <a:lnTo>
                    <a:pt x="778" y="346"/>
                  </a:lnTo>
                  <a:lnTo>
                    <a:pt x="774" y="355"/>
                  </a:lnTo>
                  <a:lnTo>
                    <a:pt x="754" y="377"/>
                  </a:lnTo>
                  <a:lnTo>
                    <a:pt x="752" y="382"/>
                  </a:lnTo>
                  <a:lnTo>
                    <a:pt x="750" y="388"/>
                  </a:lnTo>
                  <a:lnTo>
                    <a:pt x="753" y="394"/>
                  </a:lnTo>
                  <a:lnTo>
                    <a:pt x="757" y="404"/>
                  </a:lnTo>
                  <a:lnTo>
                    <a:pt x="757" y="412"/>
                  </a:lnTo>
                  <a:lnTo>
                    <a:pt x="738" y="461"/>
                  </a:lnTo>
                  <a:lnTo>
                    <a:pt x="758" y="536"/>
                  </a:lnTo>
                  <a:lnTo>
                    <a:pt x="757" y="542"/>
                  </a:lnTo>
                  <a:lnTo>
                    <a:pt x="754" y="547"/>
                  </a:lnTo>
                  <a:lnTo>
                    <a:pt x="753" y="556"/>
                  </a:lnTo>
                  <a:lnTo>
                    <a:pt x="753" y="566"/>
                  </a:lnTo>
                  <a:lnTo>
                    <a:pt x="768" y="614"/>
                  </a:lnTo>
                  <a:lnTo>
                    <a:pt x="768" y="634"/>
                  </a:lnTo>
                  <a:lnTo>
                    <a:pt x="765" y="653"/>
                  </a:lnTo>
                  <a:lnTo>
                    <a:pt x="752" y="678"/>
                  </a:lnTo>
                  <a:lnTo>
                    <a:pt x="747" y="683"/>
                  </a:lnTo>
                  <a:lnTo>
                    <a:pt x="735" y="689"/>
                  </a:lnTo>
                  <a:lnTo>
                    <a:pt x="730" y="694"/>
                  </a:lnTo>
                  <a:lnTo>
                    <a:pt x="717" y="719"/>
                  </a:lnTo>
                  <a:lnTo>
                    <a:pt x="698" y="729"/>
                  </a:lnTo>
                  <a:lnTo>
                    <a:pt x="689" y="731"/>
                  </a:lnTo>
                  <a:lnTo>
                    <a:pt x="620" y="717"/>
                  </a:lnTo>
                  <a:lnTo>
                    <a:pt x="610" y="721"/>
                  </a:lnTo>
                  <a:lnTo>
                    <a:pt x="603" y="731"/>
                  </a:lnTo>
                  <a:lnTo>
                    <a:pt x="600" y="733"/>
                  </a:lnTo>
                  <a:lnTo>
                    <a:pt x="594" y="734"/>
                  </a:lnTo>
                  <a:lnTo>
                    <a:pt x="577" y="729"/>
                  </a:lnTo>
                  <a:lnTo>
                    <a:pt x="572" y="731"/>
                  </a:lnTo>
                  <a:lnTo>
                    <a:pt x="555" y="742"/>
                  </a:lnTo>
                  <a:lnTo>
                    <a:pt x="550" y="741"/>
                  </a:lnTo>
                  <a:lnTo>
                    <a:pt x="548" y="736"/>
                  </a:lnTo>
                  <a:lnTo>
                    <a:pt x="545" y="729"/>
                  </a:lnTo>
                  <a:lnTo>
                    <a:pt x="542" y="723"/>
                  </a:lnTo>
                  <a:lnTo>
                    <a:pt x="538" y="722"/>
                  </a:lnTo>
                  <a:lnTo>
                    <a:pt x="534" y="722"/>
                  </a:lnTo>
                  <a:lnTo>
                    <a:pt x="530" y="724"/>
                  </a:lnTo>
                  <a:lnTo>
                    <a:pt x="528" y="729"/>
                  </a:lnTo>
                  <a:lnTo>
                    <a:pt x="528" y="733"/>
                  </a:lnTo>
                  <a:lnTo>
                    <a:pt x="532" y="747"/>
                  </a:lnTo>
                  <a:lnTo>
                    <a:pt x="532" y="756"/>
                  </a:lnTo>
                  <a:lnTo>
                    <a:pt x="530" y="763"/>
                  </a:lnTo>
                  <a:lnTo>
                    <a:pt x="527" y="769"/>
                  </a:lnTo>
                  <a:lnTo>
                    <a:pt x="520" y="772"/>
                  </a:lnTo>
                  <a:lnTo>
                    <a:pt x="499" y="764"/>
                  </a:lnTo>
                  <a:lnTo>
                    <a:pt x="483" y="789"/>
                  </a:lnTo>
                  <a:lnTo>
                    <a:pt x="469" y="799"/>
                  </a:lnTo>
                  <a:lnTo>
                    <a:pt x="463" y="801"/>
                  </a:lnTo>
                  <a:lnTo>
                    <a:pt x="454" y="799"/>
                  </a:lnTo>
                  <a:lnTo>
                    <a:pt x="438" y="789"/>
                  </a:lnTo>
                  <a:lnTo>
                    <a:pt x="397" y="798"/>
                  </a:lnTo>
                  <a:lnTo>
                    <a:pt x="387" y="803"/>
                  </a:lnTo>
                  <a:lnTo>
                    <a:pt x="384" y="808"/>
                  </a:lnTo>
                  <a:lnTo>
                    <a:pt x="382" y="818"/>
                  </a:lnTo>
                  <a:lnTo>
                    <a:pt x="379" y="819"/>
                  </a:lnTo>
                  <a:lnTo>
                    <a:pt x="359" y="813"/>
                  </a:lnTo>
                  <a:lnTo>
                    <a:pt x="319" y="827"/>
                  </a:lnTo>
                  <a:lnTo>
                    <a:pt x="312" y="841"/>
                  </a:lnTo>
                  <a:lnTo>
                    <a:pt x="308" y="841"/>
                  </a:lnTo>
                  <a:lnTo>
                    <a:pt x="304" y="853"/>
                  </a:lnTo>
                  <a:lnTo>
                    <a:pt x="299" y="864"/>
                  </a:lnTo>
                  <a:lnTo>
                    <a:pt x="292" y="873"/>
                  </a:lnTo>
                  <a:lnTo>
                    <a:pt x="282" y="877"/>
                  </a:lnTo>
                  <a:lnTo>
                    <a:pt x="270" y="873"/>
                  </a:lnTo>
                  <a:lnTo>
                    <a:pt x="264" y="863"/>
                  </a:lnTo>
                  <a:lnTo>
                    <a:pt x="258" y="852"/>
                  </a:lnTo>
                  <a:lnTo>
                    <a:pt x="252" y="846"/>
                  </a:lnTo>
                  <a:lnTo>
                    <a:pt x="243" y="862"/>
                  </a:lnTo>
                  <a:lnTo>
                    <a:pt x="242" y="871"/>
                  </a:lnTo>
                  <a:lnTo>
                    <a:pt x="247" y="877"/>
                  </a:lnTo>
                  <a:lnTo>
                    <a:pt x="235" y="894"/>
                  </a:lnTo>
                  <a:lnTo>
                    <a:pt x="228" y="900"/>
                  </a:lnTo>
                  <a:lnTo>
                    <a:pt x="220" y="893"/>
                  </a:lnTo>
                  <a:lnTo>
                    <a:pt x="223" y="885"/>
                  </a:lnTo>
                  <a:lnTo>
                    <a:pt x="215" y="888"/>
                  </a:lnTo>
                  <a:lnTo>
                    <a:pt x="198" y="903"/>
                  </a:lnTo>
                  <a:lnTo>
                    <a:pt x="205" y="912"/>
                  </a:lnTo>
                  <a:lnTo>
                    <a:pt x="199" y="918"/>
                  </a:lnTo>
                  <a:lnTo>
                    <a:pt x="179" y="923"/>
                  </a:lnTo>
                  <a:lnTo>
                    <a:pt x="177" y="927"/>
                  </a:lnTo>
                  <a:lnTo>
                    <a:pt x="173" y="945"/>
                  </a:lnTo>
                  <a:lnTo>
                    <a:pt x="168" y="946"/>
                  </a:lnTo>
                  <a:lnTo>
                    <a:pt x="164" y="951"/>
                  </a:lnTo>
                  <a:lnTo>
                    <a:pt x="155" y="960"/>
                  </a:lnTo>
                  <a:lnTo>
                    <a:pt x="148" y="951"/>
                  </a:lnTo>
                  <a:lnTo>
                    <a:pt x="147" y="937"/>
                  </a:lnTo>
                  <a:lnTo>
                    <a:pt x="144" y="925"/>
                  </a:lnTo>
                  <a:lnTo>
                    <a:pt x="132" y="918"/>
                  </a:lnTo>
                  <a:lnTo>
                    <a:pt x="123" y="911"/>
                  </a:lnTo>
                  <a:lnTo>
                    <a:pt x="125" y="892"/>
                  </a:lnTo>
                  <a:lnTo>
                    <a:pt x="134" y="873"/>
                  </a:lnTo>
                  <a:lnTo>
                    <a:pt x="140" y="862"/>
                  </a:lnTo>
                  <a:lnTo>
                    <a:pt x="140" y="853"/>
                  </a:lnTo>
                  <a:lnTo>
                    <a:pt x="142" y="842"/>
                  </a:lnTo>
                  <a:lnTo>
                    <a:pt x="145" y="827"/>
                  </a:lnTo>
                  <a:lnTo>
                    <a:pt x="152" y="817"/>
                  </a:lnTo>
                  <a:lnTo>
                    <a:pt x="154" y="812"/>
                  </a:lnTo>
                  <a:lnTo>
                    <a:pt x="159" y="807"/>
                  </a:lnTo>
                  <a:lnTo>
                    <a:pt x="165" y="804"/>
                  </a:lnTo>
                  <a:lnTo>
                    <a:pt x="167" y="803"/>
                  </a:lnTo>
                  <a:lnTo>
                    <a:pt x="183" y="793"/>
                  </a:lnTo>
                  <a:lnTo>
                    <a:pt x="197" y="773"/>
                  </a:lnTo>
                  <a:lnTo>
                    <a:pt x="205" y="766"/>
                  </a:lnTo>
                  <a:lnTo>
                    <a:pt x="219" y="763"/>
                  </a:lnTo>
                  <a:lnTo>
                    <a:pt x="223" y="757"/>
                  </a:lnTo>
                  <a:lnTo>
                    <a:pt x="225" y="746"/>
                  </a:lnTo>
                  <a:lnTo>
                    <a:pt x="224" y="733"/>
                  </a:lnTo>
                  <a:lnTo>
                    <a:pt x="213" y="727"/>
                  </a:lnTo>
                  <a:lnTo>
                    <a:pt x="210" y="744"/>
                  </a:lnTo>
                  <a:lnTo>
                    <a:pt x="202" y="754"/>
                  </a:lnTo>
                  <a:lnTo>
                    <a:pt x="189" y="761"/>
                  </a:lnTo>
                  <a:lnTo>
                    <a:pt x="174" y="763"/>
                  </a:lnTo>
                  <a:lnTo>
                    <a:pt x="147" y="758"/>
                  </a:lnTo>
                  <a:lnTo>
                    <a:pt x="135" y="761"/>
                  </a:lnTo>
                  <a:lnTo>
                    <a:pt x="137" y="773"/>
                  </a:lnTo>
                  <a:lnTo>
                    <a:pt x="124" y="787"/>
                  </a:lnTo>
                  <a:lnTo>
                    <a:pt x="117" y="791"/>
                  </a:lnTo>
                  <a:lnTo>
                    <a:pt x="107" y="790"/>
                  </a:lnTo>
                  <a:lnTo>
                    <a:pt x="99" y="782"/>
                  </a:lnTo>
                  <a:lnTo>
                    <a:pt x="95" y="773"/>
                  </a:lnTo>
                  <a:lnTo>
                    <a:pt x="93" y="761"/>
                  </a:lnTo>
                  <a:lnTo>
                    <a:pt x="88" y="747"/>
                  </a:lnTo>
                  <a:lnTo>
                    <a:pt x="94" y="747"/>
                  </a:lnTo>
                  <a:lnTo>
                    <a:pt x="99" y="744"/>
                  </a:lnTo>
                  <a:lnTo>
                    <a:pt x="103" y="740"/>
                  </a:lnTo>
                  <a:lnTo>
                    <a:pt x="107" y="732"/>
                  </a:lnTo>
                  <a:lnTo>
                    <a:pt x="102" y="723"/>
                  </a:lnTo>
                  <a:lnTo>
                    <a:pt x="94" y="718"/>
                  </a:lnTo>
                  <a:lnTo>
                    <a:pt x="84" y="713"/>
                  </a:lnTo>
                  <a:lnTo>
                    <a:pt x="83" y="707"/>
                  </a:lnTo>
                  <a:lnTo>
                    <a:pt x="80" y="697"/>
                  </a:lnTo>
                  <a:lnTo>
                    <a:pt x="79" y="693"/>
                  </a:lnTo>
                  <a:lnTo>
                    <a:pt x="80" y="690"/>
                  </a:lnTo>
                  <a:lnTo>
                    <a:pt x="85" y="685"/>
                  </a:lnTo>
                  <a:lnTo>
                    <a:pt x="88" y="680"/>
                  </a:lnTo>
                  <a:lnTo>
                    <a:pt x="88" y="673"/>
                  </a:lnTo>
                  <a:lnTo>
                    <a:pt x="88" y="668"/>
                  </a:lnTo>
                  <a:lnTo>
                    <a:pt x="84" y="665"/>
                  </a:lnTo>
                  <a:lnTo>
                    <a:pt x="74" y="665"/>
                  </a:lnTo>
                  <a:lnTo>
                    <a:pt x="69" y="661"/>
                  </a:lnTo>
                  <a:lnTo>
                    <a:pt x="60" y="647"/>
                  </a:lnTo>
                  <a:lnTo>
                    <a:pt x="54" y="643"/>
                  </a:lnTo>
                  <a:lnTo>
                    <a:pt x="54" y="648"/>
                  </a:lnTo>
                  <a:lnTo>
                    <a:pt x="57" y="657"/>
                  </a:lnTo>
                  <a:lnTo>
                    <a:pt x="54" y="661"/>
                  </a:lnTo>
                  <a:lnTo>
                    <a:pt x="48" y="662"/>
                  </a:lnTo>
                  <a:lnTo>
                    <a:pt x="45" y="662"/>
                  </a:lnTo>
                  <a:lnTo>
                    <a:pt x="43" y="652"/>
                  </a:lnTo>
                  <a:lnTo>
                    <a:pt x="38" y="651"/>
                  </a:lnTo>
                  <a:lnTo>
                    <a:pt x="32" y="655"/>
                  </a:lnTo>
                  <a:lnTo>
                    <a:pt x="27" y="660"/>
                  </a:lnTo>
                  <a:lnTo>
                    <a:pt x="23" y="666"/>
                  </a:lnTo>
                  <a:lnTo>
                    <a:pt x="17" y="681"/>
                  </a:lnTo>
                  <a:lnTo>
                    <a:pt x="13" y="688"/>
                  </a:lnTo>
                  <a:lnTo>
                    <a:pt x="10" y="686"/>
                  </a:lnTo>
                  <a:lnTo>
                    <a:pt x="5" y="668"/>
                  </a:lnTo>
                  <a:lnTo>
                    <a:pt x="0" y="665"/>
                  </a:lnTo>
                  <a:lnTo>
                    <a:pt x="0" y="660"/>
                  </a:lnTo>
                  <a:lnTo>
                    <a:pt x="4" y="652"/>
                  </a:lnTo>
                  <a:lnTo>
                    <a:pt x="15" y="621"/>
                  </a:lnTo>
                  <a:lnTo>
                    <a:pt x="17" y="610"/>
                  </a:lnTo>
                  <a:lnTo>
                    <a:pt x="19" y="603"/>
                  </a:lnTo>
                  <a:lnTo>
                    <a:pt x="23" y="593"/>
                  </a:lnTo>
                  <a:lnTo>
                    <a:pt x="19" y="588"/>
                  </a:lnTo>
                  <a:lnTo>
                    <a:pt x="12" y="582"/>
                  </a:lnTo>
                  <a:lnTo>
                    <a:pt x="7" y="563"/>
                  </a:lnTo>
                  <a:lnTo>
                    <a:pt x="12" y="560"/>
                  </a:lnTo>
                  <a:lnTo>
                    <a:pt x="19" y="560"/>
                  </a:lnTo>
                  <a:lnTo>
                    <a:pt x="23" y="552"/>
                  </a:lnTo>
                  <a:lnTo>
                    <a:pt x="25" y="538"/>
                  </a:lnTo>
                  <a:lnTo>
                    <a:pt x="33" y="532"/>
                  </a:lnTo>
                  <a:lnTo>
                    <a:pt x="39" y="527"/>
                  </a:lnTo>
                  <a:lnTo>
                    <a:pt x="42" y="518"/>
                  </a:lnTo>
                  <a:lnTo>
                    <a:pt x="49" y="526"/>
                  </a:lnTo>
                  <a:lnTo>
                    <a:pt x="57" y="528"/>
                  </a:lnTo>
                  <a:lnTo>
                    <a:pt x="64" y="526"/>
                  </a:lnTo>
                  <a:lnTo>
                    <a:pt x="72" y="518"/>
                  </a:lnTo>
                  <a:lnTo>
                    <a:pt x="76" y="515"/>
                  </a:lnTo>
                  <a:lnTo>
                    <a:pt x="79" y="507"/>
                  </a:lnTo>
                  <a:lnTo>
                    <a:pt x="84" y="503"/>
                  </a:lnTo>
                  <a:lnTo>
                    <a:pt x="93" y="500"/>
                  </a:lnTo>
                  <a:lnTo>
                    <a:pt x="103" y="498"/>
                  </a:lnTo>
                  <a:lnTo>
                    <a:pt x="103" y="492"/>
                  </a:lnTo>
                  <a:lnTo>
                    <a:pt x="93" y="497"/>
                  </a:lnTo>
                  <a:lnTo>
                    <a:pt x="81" y="500"/>
                  </a:lnTo>
                  <a:lnTo>
                    <a:pt x="72" y="500"/>
                  </a:lnTo>
                  <a:lnTo>
                    <a:pt x="72" y="492"/>
                  </a:lnTo>
                  <a:lnTo>
                    <a:pt x="54" y="502"/>
                  </a:lnTo>
                  <a:lnTo>
                    <a:pt x="47" y="501"/>
                  </a:lnTo>
                  <a:lnTo>
                    <a:pt x="42" y="487"/>
                  </a:lnTo>
                  <a:lnTo>
                    <a:pt x="68" y="462"/>
                  </a:lnTo>
                  <a:lnTo>
                    <a:pt x="86" y="452"/>
                  </a:lnTo>
                  <a:lnTo>
                    <a:pt x="107" y="462"/>
                  </a:lnTo>
                  <a:lnTo>
                    <a:pt x="117" y="461"/>
                  </a:lnTo>
                  <a:lnTo>
                    <a:pt x="126" y="460"/>
                  </a:lnTo>
                  <a:lnTo>
                    <a:pt x="133" y="456"/>
                  </a:lnTo>
                  <a:lnTo>
                    <a:pt x="141" y="450"/>
                  </a:lnTo>
                  <a:lnTo>
                    <a:pt x="147" y="446"/>
                  </a:lnTo>
                  <a:lnTo>
                    <a:pt x="153" y="436"/>
                  </a:lnTo>
                  <a:lnTo>
                    <a:pt x="156" y="425"/>
                  </a:lnTo>
                  <a:lnTo>
                    <a:pt x="161" y="425"/>
                  </a:lnTo>
                  <a:lnTo>
                    <a:pt x="171" y="433"/>
                  </a:lnTo>
                  <a:lnTo>
                    <a:pt x="186" y="432"/>
                  </a:lnTo>
                  <a:lnTo>
                    <a:pt x="199" y="427"/>
                  </a:lnTo>
                  <a:lnTo>
                    <a:pt x="209" y="420"/>
                  </a:lnTo>
                  <a:lnTo>
                    <a:pt x="198" y="420"/>
                  </a:lnTo>
                  <a:lnTo>
                    <a:pt x="191" y="416"/>
                  </a:lnTo>
                  <a:lnTo>
                    <a:pt x="183" y="398"/>
                  </a:lnTo>
                  <a:lnTo>
                    <a:pt x="181" y="398"/>
                  </a:lnTo>
                  <a:lnTo>
                    <a:pt x="173" y="395"/>
                  </a:lnTo>
                  <a:lnTo>
                    <a:pt x="169" y="391"/>
                  </a:lnTo>
                  <a:lnTo>
                    <a:pt x="173" y="388"/>
                  </a:lnTo>
                  <a:lnTo>
                    <a:pt x="178" y="387"/>
                  </a:lnTo>
                  <a:lnTo>
                    <a:pt x="201" y="377"/>
                  </a:lnTo>
                  <a:lnTo>
                    <a:pt x="224" y="362"/>
                  </a:lnTo>
                  <a:lnTo>
                    <a:pt x="242" y="357"/>
                  </a:lnTo>
                  <a:lnTo>
                    <a:pt x="246" y="351"/>
                  </a:lnTo>
                  <a:lnTo>
                    <a:pt x="251" y="347"/>
                  </a:lnTo>
                  <a:lnTo>
                    <a:pt x="257" y="346"/>
                  </a:lnTo>
                  <a:lnTo>
                    <a:pt x="264" y="350"/>
                  </a:lnTo>
                  <a:lnTo>
                    <a:pt x="281" y="368"/>
                  </a:lnTo>
                  <a:lnTo>
                    <a:pt x="291" y="372"/>
                  </a:lnTo>
                  <a:lnTo>
                    <a:pt x="301" y="373"/>
                  </a:lnTo>
                  <a:lnTo>
                    <a:pt x="322" y="381"/>
                  </a:lnTo>
                  <a:lnTo>
                    <a:pt x="332" y="382"/>
                  </a:lnTo>
                  <a:lnTo>
                    <a:pt x="348" y="376"/>
                  </a:lnTo>
                  <a:lnTo>
                    <a:pt x="367" y="366"/>
                  </a:lnTo>
                  <a:lnTo>
                    <a:pt x="388" y="358"/>
                  </a:lnTo>
                  <a:lnTo>
                    <a:pt x="407" y="367"/>
                  </a:lnTo>
                  <a:lnTo>
                    <a:pt x="436" y="353"/>
                  </a:lnTo>
                  <a:lnTo>
                    <a:pt x="441" y="348"/>
                  </a:lnTo>
                  <a:lnTo>
                    <a:pt x="443" y="342"/>
                  </a:lnTo>
                  <a:lnTo>
                    <a:pt x="447" y="336"/>
                  </a:lnTo>
                  <a:lnTo>
                    <a:pt x="453" y="332"/>
                  </a:lnTo>
                  <a:lnTo>
                    <a:pt x="464" y="330"/>
                  </a:lnTo>
                  <a:lnTo>
                    <a:pt x="468" y="322"/>
                  </a:lnTo>
                  <a:lnTo>
                    <a:pt x="471" y="320"/>
                  </a:lnTo>
                  <a:lnTo>
                    <a:pt x="502" y="312"/>
                  </a:lnTo>
                  <a:lnTo>
                    <a:pt x="503" y="322"/>
                  </a:lnTo>
                  <a:lnTo>
                    <a:pt x="508" y="330"/>
                  </a:lnTo>
                  <a:lnTo>
                    <a:pt x="521" y="341"/>
                  </a:lnTo>
                  <a:lnTo>
                    <a:pt x="528" y="332"/>
                  </a:lnTo>
                  <a:lnTo>
                    <a:pt x="529" y="325"/>
                  </a:lnTo>
                  <a:lnTo>
                    <a:pt x="528" y="307"/>
                  </a:lnTo>
                  <a:lnTo>
                    <a:pt x="533" y="297"/>
                  </a:lnTo>
                  <a:lnTo>
                    <a:pt x="544" y="298"/>
                  </a:lnTo>
                  <a:lnTo>
                    <a:pt x="561" y="310"/>
                  </a:lnTo>
                  <a:lnTo>
                    <a:pt x="568" y="312"/>
                  </a:lnTo>
                  <a:lnTo>
                    <a:pt x="572" y="318"/>
                  </a:lnTo>
                  <a:lnTo>
                    <a:pt x="574" y="327"/>
                  </a:lnTo>
                  <a:lnTo>
                    <a:pt x="578" y="336"/>
                  </a:lnTo>
                  <a:lnTo>
                    <a:pt x="591" y="348"/>
                  </a:lnTo>
                  <a:lnTo>
                    <a:pt x="597" y="356"/>
                  </a:lnTo>
                  <a:lnTo>
                    <a:pt x="601" y="367"/>
                  </a:lnTo>
                  <a:lnTo>
                    <a:pt x="604" y="355"/>
                  </a:lnTo>
                  <a:lnTo>
                    <a:pt x="604" y="343"/>
                  </a:lnTo>
                  <a:lnTo>
                    <a:pt x="601" y="320"/>
                  </a:lnTo>
                  <a:lnTo>
                    <a:pt x="601" y="308"/>
                  </a:lnTo>
                  <a:lnTo>
                    <a:pt x="603" y="301"/>
                  </a:lnTo>
                  <a:lnTo>
                    <a:pt x="609" y="296"/>
                  </a:lnTo>
                  <a:lnTo>
                    <a:pt x="619" y="288"/>
                  </a:lnTo>
                  <a:lnTo>
                    <a:pt x="608" y="283"/>
                  </a:lnTo>
                  <a:lnTo>
                    <a:pt x="598" y="282"/>
                  </a:lnTo>
                  <a:lnTo>
                    <a:pt x="579" y="283"/>
                  </a:lnTo>
                  <a:lnTo>
                    <a:pt x="569" y="280"/>
                  </a:lnTo>
                  <a:lnTo>
                    <a:pt x="557" y="266"/>
                  </a:lnTo>
                  <a:lnTo>
                    <a:pt x="548" y="262"/>
                  </a:lnTo>
                  <a:lnTo>
                    <a:pt x="558" y="253"/>
                  </a:lnTo>
                  <a:lnTo>
                    <a:pt x="614" y="246"/>
                  </a:lnTo>
                  <a:lnTo>
                    <a:pt x="618" y="245"/>
                  </a:lnTo>
                  <a:lnTo>
                    <a:pt x="622" y="241"/>
                  </a:lnTo>
                  <a:lnTo>
                    <a:pt x="624" y="236"/>
                  </a:lnTo>
                  <a:lnTo>
                    <a:pt x="623" y="231"/>
                  </a:lnTo>
                  <a:lnTo>
                    <a:pt x="621" y="230"/>
                  </a:lnTo>
                  <a:lnTo>
                    <a:pt x="608" y="236"/>
                  </a:lnTo>
                  <a:lnTo>
                    <a:pt x="574" y="242"/>
                  </a:lnTo>
                  <a:lnTo>
                    <a:pt x="578" y="237"/>
                  </a:lnTo>
                  <a:lnTo>
                    <a:pt x="582" y="236"/>
                  </a:lnTo>
                  <a:lnTo>
                    <a:pt x="574" y="231"/>
                  </a:lnTo>
                  <a:lnTo>
                    <a:pt x="567" y="241"/>
                  </a:lnTo>
                  <a:lnTo>
                    <a:pt x="557" y="246"/>
                  </a:lnTo>
                  <a:lnTo>
                    <a:pt x="532" y="246"/>
                  </a:lnTo>
                  <a:lnTo>
                    <a:pt x="537" y="235"/>
                  </a:lnTo>
                  <a:lnTo>
                    <a:pt x="538" y="218"/>
                  </a:lnTo>
                  <a:lnTo>
                    <a:pt x="541" y="207"/>
                  </a:lnTo>
                  <a:lnTo>
                    <a:pt x="548" y="210"/>
                  </a:lnTo>
                  <a:lnTo>
                    <a:pt x="554" y="200"/>
                  </a:lnTo>
                  <a:lnTo>
                    <a:pt x="551" y="196"/>
                  </a:lnTo>
                  <a:lnTo>
                    <a:pt x="546" y="190"/>
                  </a:lnTo>
                  <a:lnTo>
                    <a:pt x="543" y="182"/>
                  </a:lnTo>
                  <a:lnTo>
                    <a:pt x="543" y="173"/>
                  </a:lnTo>
                  <a:lnTo>
                    <a:pt x="556" y="175"/>
                  </a:lnTo>
                  <a:lnTo>
                    <a:pt x="559" y="173"/>
                  </a:lnTo>
                  <a:lnTo>
                    <a:pt x="572" y="176"/>
                  </a:lnTo>
                  <a:lnTo>
                    <a:pt x="588" y="167"/>
                  </a:lnTo>
                  <a:lnTo>
                    <a:pt x="668" y="105"/>
                  </a:lnTo>
                  <a:lnTo>
                    <a:pt x="671" y="113"/>
                  </a:lnTo>
                  <a:lnTo>
                    <a:pt x="676" y="117"/>
                  </a:lnTo>
                  <a:lnTo>
                    <a:pt x="682" y="118"/>
                  </a:lnTo>
                  <a:lnTo>
                    <a:pt x="681" y="111"/>
                  </a:lnTo>
                  <a:lnTo>
                    <a:pt x="688" y="105"/>
                  </a:lnTo>
                  <a:lnTo>
                    <a:pt x="677" y="96"/>
                  </a:lnTo>
                  <a:lnTo>
                    <a:pt x="676" y="88"/>
                  </a:lnTo>
                  <a:lnTo>
                    <a:pt x="678" y="80"/>
                  </a:lnTo>
                  <a:lnTo>
                    <a:pt x="681" y="71"/>
                  </a:lnTo>
                  <a:lnTo>
                    <a:pt x="684" y="65"/>
                  </a:lnTo>
                  <a:lnTo>
                    <a:pt x="692" y="62"/>
                  </a:lnTo>
                  <a:lnTo>
                    <a:pt x="711" y="62"/>
                  </a:lnTo>
                  <a:lnTo>
                    <a:pt x="727" y="57"/>
                  </a:lnTo>
                  <a:lnTo>
                    <a:pt x="743" y="48"/>
                  </a:lnTo>
                  <a:lnTo>
                    <a:pt x="757" y="36"/>
                  </a:lnTo>
                  <a:lnTo>
                    <a:pt x="767" y="21"/>
                  </a:lnTo>
                  <a:lnTo>
                    <a:pt x="783" y="23"/>
                  </a:lnTo>
                  <a:lnTo>
                    <a:pt x="789" y="33"/>
                  </a:lnTo>
                  <a:lnTo>
                    <a:pt x="793" y="47"/>
                  </a:lnTo>
                  <a:lnTo>
                    <a:pt x="802" y="57"/>
                  </a:lnTo>
                  <a:lnTo>
                    <a:pt x="798" y="61"/>
                  </a:lnTo>
                  <a:lnTo>
                    <a:pt x="791" y="57"/>
                  </a:lnTo>
                  <a:lnTo>
                    <a:pt x="786" y="65"/>
                  </a:lnTo>
                  <a:lnTo>
                    <a:pt x="783" y="71"/>
                  </a:lnTo>
                  <a:lnTo>
                    <a:pt x="783" y="77"/>
                  </a:lnTo>
                  <a:lnTo>
                    <a:pt x="787" y="83"/>
                  </a:lnTo>
                  <a:lnTo>
                    <a:pt x="781" y="88"/>
                  </a:lnTo>
                  <a:lnTo>
                    <a:pt x="774" y="83"/>
                  </a:lnTo>
                  <a:lnTo>
                    <a:pt x="769" y="88"/>
                  </a:lnTo>
                  <a:lnTo>
                    <a:pt x="767" y="90"/>
                  </a:lnTo>
                  <a:lnTo>
                    <a:pt x="767" y="95"/>
                  </a:lnTo>
                  <a:lnTo>
                    <a:pt x="796" y="96"/>
                  </a:lnTo>
                  <a:lnTo>
                    <a:pt x="801" y="90"/>
                  </a:lnTo>
                  <a:lnTo>
                    <a:pt x="791" y="73"/>
                  </a:lnTo>
                  <a:lnTo>
                    <a:pt x="797" y="68"/>
                  </a:lnTo>
                  <a:lnTo>
                    <a:pt x="803" y="68"/>
                  </a:lnTo>
                  <a:lnTo>
                    <a:pt x="817" y="73"/>
                  </a:lnTo>
                  <a:lnTo>
                    <a:pt x="813" y="62"/>
                  </a:lnTo>
                  <a:lnTo>
                    <a:pt x="821" y="53"/>
                  </a:lnTo>
                  <a:lnTo>
                    <a:pt x="831" y="45"/>
                  </a:lnTo>
                  <a:lnTo>
                    <a:pt x="842" y="38"/>
                  </a:lnTo>
                  <a:lnTo>
                    <a:pt x="864" y="33"/>
                  </a:lnTo>
                  <a:lnTo>
                    <a:pt x="876" y="25"/>
                  </a:lnTo>
                  <a:lnTo>
                    <a:pt x="886" y="13"/>
                  </a:lnTo>
                  <a:lnTo>
                    <a:pt x="889" y="2"/>
                  </a:lnTo>
                  <a:lnTo>
                    <a:pt x="891" y="0"/>
                  </a:lnTo>
                  <a:lnTo>
                    <a:pt x="896" y="2"/>
                  </a:lnTo>
                  <a:lnTo>
                    <a:pt x="899" y="8"/>
                  </a:lnTo>
                  <a:lnTo>
                    <a:pt x="901" y="16"/>
                  </a:lnTo>
                  <a:lnTo>
                    <a:pt x="898" y="20"/>
                  </a:lnTo>
                  <a:lnTo>
                    <a:pt x="886" y="36"/>
                  </a:lnTo>
                  <a:lnTo>
                    <a:pt x="886" y="47"/>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4" name="La Rioja" descr="{&quot;Key&quot;:&quot;la rioja&quot;,&quot;Name&quot;:&quot;La Rioja&quot;,&quot;Value&quot;:1.0,&quot;Formula&quot;:&quot;&quot;,&quot;Text&quot;:&quot;1&quot;,&quot;HasValue&quot;:true}">
              <a:extLst>
                <a:ext uri="{FF2B5EF4-FFF2-40B4-BE49-F238E27FC236}">
                  <a16:creationId xmlns:a16="http://schemas.microsoft.com/office/drawing/2014/main" id="{0E979092-39E4-1C78-0D02-B192D728D0C1}"/>
                </a:ext>
              </a:extLst>
            </p:cNvPr>
            <p:cNvSpPr>
              <a:spLocks/>
            </p:cNvSpPr>
            <p:nvPr/>
          </p:nvSpPr>
          <p:spPr bwMode="auto">
            <a:xfrm>
              <a:off x="3522621" y="2533479"/>
              <a:ext cx="548291" cy="375444"/>
            </a:xfrm>
            <a:custGeom>
              <a:avLst/>
              <a:gdLst>
                <a:gd name="T0" fmla="*/ 472 w 795"/>
                <a:gd name="T1" fmla="*/ 119 h 544"/>
                <a:gd name="T2" fmla="*/ 515 w 795"/>
                <a:gd name="T3" fmla="*/ 152 h 544"/>
                <a:gd name="T4" fmla="*/ 585 w 795"/>
                <a:gd name="T5" fmla="*/ 172 h 544"/>
                <a:gd name="T6" fmla="*/ 675 w 795"/>
                <a:gd name="T7" fmla="*/ 241 h 544"/>
                <a:gd name="T8" fmla="*/ 703 w 795"/>
                <a:gd name="T9" fmla="*/ 277 h 544"/>
                <a:gd name="T10" fmla="*/ 761 w 795"/>
                <a:gd name="T11" fmla="*/ 308 h 544"/>
                <a:gd name="T12" fmla="*/ 794 w 795"/>
                <a:gd name="T13" fmla="*/ 349 h 544"/>
                <a:gd name="T14" fmla="*/ 790 w 795"/>
                <a:gd name="T15" fmla="*/ 381 h 544"/>
                <a:gd name="T16" fmla="*/ 757 w 795"/>
                <a:gd name="T17" fmla="*/ 374 h 544"/>
                <a:gd name="T18" fmla="*/ 724 w 795"/>
                <a:gd name="T19" fmla="*/ 374 h 544"/>
                <a:gd name="T20" fmla="*/ 700 w 795"/>
                <a:gd name="T21" fmla="*/ 401 h 544"/>
                <a:gd name="T22" fmla="*/ 677 w 795"/>
                <a:gd name="T23" fmla="*/ 457 h 544"/>
                <a:gd name="T24" fmla="*/ 700 w 795"/>
                <a:gd name="T25" fmla="*/ 518 h 544"/>
                <a:gd name="T26" fmla="*/ 652 w 795"/>
                <a:gd name="T27" fmla="*/ 543 h 544"/>
                <a:gd name="T28" fmla="*/ 599 w 795"/>
                <a:gd name="T29" fmla="*/ 527 h 544"/>
                <a:gd name="T30" fmla="*/ 556 w 795"/>
                <a:gd name="T31" fmla="*/ 496 h 544"/>
                <a:gd name="T32" fmla="*/ 542 w 795"/>
                <a:gd name="T33" fmla="*/ 457 h 544"/>
                <a:gd name="T34" fmla="*/ 541 w 795"/>
                <a:gd name="T35" fmla="*/ 432 h 544"/>
                <a:gd name="T36" fmla="*/ 550 w 795"/>
                <a:gd name="T37" fmla="*/ 412 h 544"/>
                <a:gd name="T38" fmla="*/ 485 w 795"/>
                <a:gd name="T39" fmla="*/ 417 h 544"/>
                <a:gd name="T40" fmla="*/ 467 w 795"/>
                <a:gd name="T41" fmla="*/ 397 h 544"/>
                <a:gd name="T42" fmla="*/ 394 w 795"/>
                <a:gd name="T43" fmla="*/ 380 h 544"/>
                <a:gd name="T44" fmla="*/ 342 w 795"/>
                <a:gd name="T45" fmla="*/ 400 h 544"/>
                <a:gd name="T46" fmla="*/ 332 w 795"/>
                <a:gd name="T47" fmla="*/ 437 h 544"/>
                <a:gd name="T48" fmla="*/ 306 w 795"/>
                <a:gd name="T49" fmla="*/ 477 h 544"/>
                <a:gd name="T50" fmla="*/ 255 w 795"/>
                <a:gd name="T51" fmla="*/ 484 h 544"/>
                <a:gd name="T52" fmla="*/ 216 w 795"/>
                <a:gd name="T53" fmla="*/ 472 h 544"/>
                <a:gd name="T54" fmla="*/ 221 w 795"/>
                <a:gd name="T55" fmla="*/ 429 h 544"/>
                <a:gd name="T56" fmla="*/ 218 w 795"/>
                <a:gd name="T57" fmla="*/ 395 h 544"/>
                <a:gd name="T58" fmla="*/ 182 w 795"/>
                <a:gd name="T59" fmla="*/ 414 h 544"/>
                <a:gd name="T60" fmla="*/ 176 w 795"/>
                <a:gd name="T61" fmla="*/ 448 h 544"/>
                <a:gd name="T62" fmla="*/ 112 w 795"/>
                <a:gd name="T63" fmla="*/ 442 h 544"/>
                <a:gd name="T64" fmla="*/ 88 w 795"/>
                <a:gd name="T65" fmla="*/ 422 h 544"/>
                <a:gd name="T66" fmla="*/ 52 w 795"/>
                <a:gd name="T67" fmla="*/ 418 h 544"/>
                <a:gd name="T68" fmla="*/ 20 w 795"/>
                <a:gd name="T69" fmla="*/ 372 h 544"/>
                <a:gd name="T70" fmla="*/ 10 w 795"/>
                <a:gd name="T71" fmla="*/ 320 h 544"/>
                <a:gd name="T72" fmla="*/ 12 w 795"/>
                <a:gd name="T73" fmla="*/ 253 h 544"/>
                <a:gd name="T74" fmla="*/ 12 w 795"/>
                <a:gd name="T75" fmla="*/ 220 h 544"/>
                <a:gd name="T76" fmla="*/ 33 w 795"/>
                <a:gd name="T77" fmla="*/ 182 h 544"/>
                <a:gd name="T78" fmla="*/ 35 w 795"/>
                <a:gd name="T79" fmla="*/ 135 h 544"/>
                <a:gd name="T80" fmla="*/ 21 w 795"/>
                <a:gd name="T81" fmla="*/ 109 h 544"/>
                <a:gd name="T82" fmla="*/ 23 w 795"/>
                <a:gd name="T83" fmla="*/ 79 h 544"/>
                <a:gd name="T84" fmla="*/ 3 w 795"/>
                <a:gd name="T85" fmla="*/ 73 h 544"/>
                <a:gd name="T86" fmla="*/ 32 w 795"/>
                <a:gd name="T87" fmla="*/ 29 h 544"/>
                <a:gd name="T88" fmla="*/ 58 w 795"/>
                <a:gd name="T89" fmla="*/ 3 h 544"/>
                <a:gd name="T90" fmla="*/ 156 w 795"/>
                <a:gd name="T91" fmla="*/ 8 h 544"/>
                <a:gd name="T92" fmla="*/ 168 w 795"/>
                <a:gd name="T93" fmla="*/ 29 h 544"/>
                <a:gd name="T94" fmla="*/ 181 w 795"/>
                <a:gd name="T95" fmla="*/ 44 h 544"/>
                <a:gd name="T96" fmla="*/ 213 w 795"/>
                <a:gd name="T97" fmla="*/ 22 h 544"/>
                <a:gd name="T98" fmla="*/ 240 w 795"/>
                <a:gd name="T99" fmla="*/ 58 h 544"/>
                <a:gd name="T100" fmla="*/ 270 w 795"/>
                <a:gd name="T101" fmla="*/ 99 h 544"/>
                <a:gd name="T102" fmla="*/ 297 w 795"/>
                <a:gd name="T103" fmla="*/ 112 h 544"/>
                <a:gd name="T104" fmla="*/ 327 w 795"/>
                <a:gd name="T105" fmla="*/ 97 h 544"/>
                <a:gd name="T106" fmla="*/ 348 w 795"/>
                <a:gd name="T107" fmla="*/ 9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5" h="544">
                  <a:moveTo>
                    <a:pt x="396" y="112"/>
                  </a:moveTo>
                  <a:lnTo>
                    <a:pt x="407" y="113"/>
                  </a:lnTo>
                  <a:lnTo>
                    <a:pt x="430" y="122"/>
                  </a:lnTo>
                  <a:lnTo>
                    <a:pt x="466" y="117"/>
                  </a:lnTo>
                  <a:lnTo>
                    <a:pt x="472" y="119"/>
                  </a:lnTo>
                  <a:lnTo>
                    <a:pt x="488" y="131"/>
                  </a:lnTo>
                  <a:lnTo>
                    <a:pt x="493" y="136"/>
                  </a:lnTo>
                  <a:lnTo>
                    <a:pt x="500" y="144"/>
                  </a:lnTo>
                  <a:lnTo>
                    <a:pt x="506" y="149"/>
                  </a:lnTo>
                  <a:lnTo>
                    <a:pt x="515" y="152"/>
                  </a:lnTo>
                  <a:lnTo>
                    <a:pt x="525" y="153"/>
                  </a:lnTo>
                  <a:lnTo>
                    <a:pt x="562" y="151"/>
                  </a:lnTo>
                  <a:lnTo>
                    <a:pt x="578" y="152"/>
                  </a:lnTo>
                  <a:lnTo>
                    <a:pt x="590" y="163"/>
                  </a:lnTo>
                  <a:lnTo>
                    <a:pt x="585" y="172"/>
                  </a:lnTo>
                  <a:lnTo>
                    <a:pt x="582" y="173"/>
                  </a:lnTo>
                  <a:lnTo>
                    <a:pt x="590" y="186"/>
                  </a:lnTo>
                  <a:lnTo>
                    <a:pt x="602" y="189"/>
                  </a:lnTo>
                  <a:lnTo>
                    <a:pt x="633" y="189"/>
                  </a:lnTo>
                  <a:lnTo>
                    <a:pt x="675" y="241"/>
                  </a:lnTo>
                  <a:lnTo>
                    <a:pt x="696" y="256"/>
                  </a:lnTo>
                  <a:lnTo>
                    <a:pt x="697" y="259"/>
                  </a:lnTo>
                  <a:lnTo>
                    <a:pt x="697" y="272"/>
                  </a:lnTo>
                  <a:lnTo>
                    <a:pt x="700" y="277"/>
                  </a:lnTo>
                  <a:lnTo>
                    <a:pt x="703" y="277"/>
                  </a:lnTo>
                  <a:lnTo>
                    <a:pt x="712" y="276"/>
                  </a:lnTo>
                  <a:lnTo>
                    <a:pt x="715" y="277"/>
                  </a:lnTo>
                  <a:lnTo>
                    <a:pt x="721" y="279"/>
                  </a:lnTo>
                  <a:lnTo>
                    <a:pt x="733" y="292"/>
                  </a:lnTo>
                  <a:lnTo>
                    <a:pt x="761" y="308"/>
                  </a:lnTo>
                  <a:lnTo>
                    <a:pt x="772" y="311"/>
                  </a:lnTo>
                  <a:lnTo>
                    <a:pt x="788" y="323"/>
                  </a:lnTo>
                  <a:lnTo>
                    <a:pt x="788" y="338"/>
                  </a:lnTo>
                  <a:lnTo>
                    <a:pt x="791" y="344"/>
                  </a:lnTo>
                  <a:lnTo>
                    <a:pt x="794" y="349"/>
                  </a:lnTo>
                  <a:lnTo>
                    <a:pt x="791" y="359"/>
                  </a:lnTo>
                  <a:lnTo>
                    <a:pt x="792" y="367"/>
                  </a:lnTo>
                  <a:lnTo>
                    <a:pt x="795" y="373"/>
                  </a:lnTo>
                  <a:lnTo>
                    <a:pt x="794" y="377"/>
                  </a:lnTo>
                  <a:lnTo>
                    <a:pt x="790" y="381"/>
                  </a:lnTo>
                  <a:lnTo>
                    <a:pt x="785" y="382"/>
                  </a:lnTo>
                  <a:lnTo>
                    <a:pt x="780" y="382"/>
                  </a:lnTo>
                  <a:lnTo>
                    <a:pt x="767" y="377"/>
                  </a:lnTo>
                  <a:lnTo>
                    <a:pt x="762" y="374"/>
                  </a:lnTo>
                  <a:lnTo>
                    <a:pt x="757" y="374"/>
                  </a:lnTo>
                  <a:lnTo>
                    <a:pt x="746" y="379"/>
                  </a:lnTo>
                  <a:lnTo>
                    <a:pt x="741" y="379"/>
                  </a:lnTo>
                  <a:lnTo>
                    <a:pt x="736" y="378"/>
                  </a:lnTo>
                  <a:lnTo>
                    <a:pt x="729" y="376"/>
                  </a:lnTo>
                  <a:lnTo>
                    <a:pt x="724" y="374"/>
                  </a:lnTo>
                  <a:lnTo>
                    <a:pt x="719" y="376"/>
                  </a:lnTo>
                  <a:lnTo>
                    <a:pt x="715" y="379"/>
                  </a:lnTo>
                  <a:lnTo>
                    <a:pt x="712" y="388"/>
                  </a:lnTo>
                  <a:lnTo>
                    <a:pt x="709" y="393"/>
                  </a:lnTo>
                  <a:lnTo>
                    <a:pt x="700" y="401"/>
                  </a:lnTo>
                  <a:lnTo>
                    <a:pt x="679" y="427"/>
                  </a:lnTo>
                  <a:lnTo>
                    <a:pt x="676" y="432"/>
                  </a:lnTo>
                  <a:lnTo>
                    <a:pt x="675" y="443"/>
                  </a:lnTo>
                  <a:lnTo>
                    <a:pt x="675" y="451"/>
                  </a:lnTo>
                  <a:lnTo>
                    <a:pt x="677" y="457"/>
                  </a:lnTo>
                  <a:lnTo>
                    <a:pt x="681" y="466"/>
                  </a:lnTo>
                  <a:lnTo>
                    <a:pt x="702" y="483"/>
                  </a:lnTo>
                  <a:lnTo>
                    <a:pt x="707" y="497"/>
                  </a:lnTo>
                  <a:lnTo>
                    <a:pt x="705" y="501"/>
                  </a:lnTo>
                  <a:lnTo>
                    <a:pt x="700" y="518"/>
                  </a:lnTo>
                  <a:lnTo>
                    <a:pt x="679" y="529"/>
                  </a:lnTo>
                  <a:lnTo>
                    <a:pt x="674" y="533"/>
                  </a:lnTo>
                  <a:lnTo>
                    <a:pt x="664" y="539"/>
                  </a:lnTo>
                  <a:lnTo>
                    <a:pt x="659" y="542"/>
                  </a:lnTo>
                  <a:lnTo>
                    <a:pt x="652" y="543"/>
                  </a:lnTo>
                  <a:lnTo>
                    <a:pt x="639" y="544"/>
                  </a:lnTo>
                  <a:lnTo>
                    <a:pt x="632" y="543"/>
                  </a:lnTo>
                  <a:lnTo>
                    <a:pt x="621" y="533"/>
                  </a:lnTo>
                  <a:lnTo>
                    <a:pt x="607" y="528"/>
                  </a:lnTo>
                  <a:lnTo>
                    <a:pt x="599" y="527"/>
                  </a:lnTo>
                  <a:lnTo>
                    <a:pt x="567" y="519"/>
                  </a:lnTo>
                  <a:lnTo>
                    <a:pt x="562" y="516"/>
                  </a:lnTo>
                  <a:lnTo>
                    <a:pt x="560" y="512"/>
                  </a:lnTo>
                  <a:lnTo>
                    <a:pt x="556" y="501"/>
                  </a:lnTo>
                  <a:lnTo>
                    <a:pt x="556" y="496"/>
                  </a:lnTo>
                  <a:lnTo>
                    <a:pt x="557" y="491"/>
                  </a:lnTo>
                  <a:lnTo>
                    <a:pt x="562" y="484"/>
                  </a:lnTo>
                  <a:lnTo>
                    <a:pt x="561" y="477"/>
                  </a:lnTo>
                  <a:lnTo>
                    <a:pt x="556" y="468"/>
                  </a:lnTo>
                  <a:lnTo>
                    <a:pt x="542" y="457"/>
                  </a:lnTo>
                  <a:lnTo>
                    <a:pt x="540" y="452"/>
                  </a:lnTo>
                  <a:lnTo>
                    <a:pt x="537" y="446"/>
                  </a:lnTo>
                  <a:lnTo>
                    <a:pt x="537" y="440"/>
                  </a:lnTo>
                  <a:lnTo>
                    <a:pt x="539" y="435"/>
                  </a:lnTo>
                  <a:lnTo>
                    <a:pt x="541" y="432"/>
                  </a:lnTo>
                  <a:lnTo>
                    <a:pt x="546" y="429"/>
                  </a:lnTo>
                  <a:lnTo>
                    <a:pt x="550" y="425"/>
                  </a:lnTo>
                  <a:lnTo>
                    <a:pt x="552" y="422"/>
                  </a:lnTo>
                  <a:lnTo>
                    <a:pt x="552" y="417"/>
                  </a:lnTo>
                  <a:lnTo>
                    <a:pt x="550" y="412"/>
                  </a:lnTo>
                  <a:lnTo>
                    <a:pt x="545" y="408"/>
                  </a:lnTo>
                  <a:lnTo>
                    <a:pt x="536" y="405"/>
                  </a:lnTo>
                  <a:lnTo>
                    <a:pt x="526" y="405"/>
                  </a:lnTo>
                  <a:lnTo>
                    <a:pt x="516" y="407"/>
                  </a:lnTo>
                  <a:lnTo>
                    <a:pt x="485" y="417"/>
                  </a:lnTo>
                  <a:lnTo>
                    <a:pt x="479" y="417"/>
                  </a:lnTo>
                  <a:lnTo>
                    <a:pt x="474" y="413"/>
                  </a:lnTo>
                  <a:lnTo>
                    <a:pt x="470" y="408"/>
                  </a:lnTo>
                  <a:lnTo>
                    <a:pt x="467" y="402"/>
                  </a:lnTo>
                  <a:lnTo>
                    <a:pt x="467" y="397"/>
                  </a:lnTo>
                  <a:lnTo>
                    <a:pt x="465" y="387"/>
                  </a:lnTo>
                  <a:lnTo>
                    <a:pt x="462" y="384"/>
                  </a:lnTo>
                  <a:lnTo>
                    <a:pt x="456" y="380"/>
                  </a:lnTo>
                  <a:lnTo>
                    <a:pt x="428" y="378"/>
                  </a:lnTo>
                  <a:lnTo>
                    <a:pt x="394" y="380"/>
                  </a:lnTo>
                  <a:lnTo>
                    <a:pt x="378" y="385"/>
                  </a:lnTo>
                  <a:lnTo>
                    <a:pt x="371" y="392"/>
                  </a:lnTo>
                  <a:lnTo>
                    <a:pt x="358" y="400"/>
                  </a:lnTo>
                  <a:lnTo>
                    <a:pt x="353" y="403"/>
                  </a:lnTo>
                  <a:lnTo>
                    <a:pt x="342" y="400"/>
                  </a:lnTo>
                  <a:lnTo>
                    <a:pt x="339" y="402"/>
                  </a:lnTo>
                  <a:lnTo>
                    <a:pt x="337" y="405"/>
                  </a:lnTo>
                  <a:lnTo>
                    <a:pt x="336" y="422"/>
                  </a:lnTo>
                  <a:lnTo>
                    <a:pt x="335" y="433"/>
                  </a:lnTo>
                  <a:lnTo>
                    <a:pt x="332" y="437"/>
                  </a:lnTo>
                  <a:lnTo>
                    <a:pt x="323" y="444"/>
                  </a:lnTo>
                  <a:lnTo>
                    <a:pt x="320" y="449"/>
                  </a:lnTo>
                  <a:lnTo>
                    <a:pt x="317" y="455"/>
                  </a:lnTo>
                  <a:lnTo>
                    <a:pt x="312" y="467"/>
                  </a:lnTo>
                  <a:lnTo>
                    <a:pt x="306" y="477"/>
                  </a:lnTo>
                  <a:lnTo>
                    <a:pt x="303" y="484"/>
                  </a:lnTo>
                  <a:lnTo>
                    <a:pt x="293" y="484"/>
                  </a:lnTo>
                  <a:lnTo>
                    <a:pt x="277" y="482"/>
                  </a:lnTo>
                  <a:lnTo>
                    <a:pt x="257" y="483"/>
                  </a:lnTo>
                  <a:lnTo>
                    <a:pt x="255" y="484"/>
                  </a:lnTo>
                  <a:lnTo>
                    <a:pt x="248" y="483"/>
                  </a:lnTo>
                  <a:lnTo>
                    <a:pt x="237" y="475"/>
                  </a:lnTo>
                  <a:lnTo>
                    <a:pt x="232" y="473"/>
                  </a:lnTo>
                  <a:lnTo>
                    <a:pt x="225" y="472"/>
                  </a:lnTo>
                  <a:lnTo>
                    <a:pt x="216" y="472"/>
                  </a:lnTo>
                  <a:lnTo>
                    <a:pt x="208" y="467"/>
                  </a:lnTo>
                  <a:lnTo>
                    <a:pt x="206" y="463"/>
                  </a:lnTo>
                  <a:lnTo>
                    <a:pt x="206" y="457"/>
                  </a:lnTo>
                  <a:lnTo>
                    <a:pt x="213" y="435"/>
                  </a:lnTo>
                  <a:lnTo>
                    <a:pt x="221" y="429"/>
                  </a:lnTo>
                  <a:lnTo>
                    <a:pt x="223" y="424"/>
                  </a:lnTo>
                  <a:lnTo>
                    <a:pt x="226" y="414"/>
                  </a:lnTo>
                  <a:lnTo>
                    <a:pt x="225" y="403"/>
                  </a:lnTo>
                  <a:lnTo>
                    <a:pt x="223" y="398"/>
                  </a:lnTo>
                  <a:lnTo>
                    <a:pt x="218" y="395"/>
                  </a:lnTo>
                  <a:lnTo>
                    <a:pt x="213" y="394"/>
                  </a:lnTo>
                  <a:lnTo>
                    <a:pt x="198" y="395"/>
                  </a:lnTo>
                  <a:lnTo>
                    <a:pt x="191" y="400"/>
                  </a:lnTo>
                  <a:lnTo>
                    <a:pt x="185" y="408"/>
                  </a:lnTo>
                  <a:lnTo>
                    <a:pt x="182" y="414"/>
                  </a:lnTo>
                  <a:lnTo>
                    <a:pt x="180" y="420"/>
                  </a:lnTo>
                  <a:lnTo>
                    <a:pt x="178" y="430"/>
                  </a:lnTo>
                  <a:lnTo>
                    <a:pt x="178" y="437"/>
                  </a:lnTo>
                  <a:lnTo>
                    <a:pt x="180" y="442"/>
                  </a:lnTo>
                  <a:lnTo>
                    <a:pt x="176" y="448"/>
                  </a:lnTo>
                  <a:lnTo>
                    <a:pt x="170" y="455"/>
                  </a:lnTo>
                  <a:lnTo>
                    <a:pt x="155" y="465"/>
                  </a:lnTo>
                  <a:lnTo>
                    <a:pt x="137" y="473"/>
                  </a:lnTo>
                  <a:lnTo>
                    <a:pt x="116" y="467"/>
                  </a:lnTo>
                  <a:lnTo>
                    <a:pt x="112" y="442"/>
                  </a:lnTo>
                  <a:lnTo>
                    <a:pt x="108" y="432"/>
                  </a:lnTo>
                  <a:lnTo>
                    <a:pt x="102" y="422"/>
                  </a:lnTo>
                  <a:lnTo>
                    <a:pt x="98" y="420"/>
                  </a:lnTo>
                  <a:lnTo>
                    <a:pt x="93" y="420"/>
                  </a:lnTo>
                  <a:lnTo>
                    <a:pt x="88" y="422"/>
                  </a:lnTo>
                  <a:lnTo>
                    <a:pt x="80" y="423"/>
                  </a:lnTo>
                  <a:lnTo>
                    <a:pt x="72" y="423"/>
                  </a:lnTo>
                  <a:lnTo>
                    <a:pt x="67" y="423"/>
                  </a:lnTo>
                  <a:lnTo>
                    <a:pt x="60" y="423"/>
                  </a:lnTo>
                  <a:lnTo>
                    <a:pt x="52" y="418"/>
                  </a:lnTo>
                  <a:lnTo>
                    <a:pt x="46" y="409"/>
                  </a:lnTo>
                  <a:lnTo>
                    <a:pt x="41" y="399"/>
                  </a:lnTo>
                  <a:lnTo>
                    <a:pt x="36" y="390"/>
                  </a:lnTo>
                  <a:lnTo>
                    <a:pt x="23" y="380"/>
                  </a:lnTo>
                  <a:lnTo>
                    <a:pt x="20" y="372"/>
                  </a:lnTo>
                  <a:lnTo>
                    <a:pt x="18" y="365"/>
                  </a:lnTo>
                  <a:lnTo>
                    <a:pt x="0" y="337"/>
                  </a:lnTo>
                  <a:lnTo>
                    <a:pt x="0" y="333"/>
                  </a:lnTo>
                  <a:lnTo>
                    <a:pt x="6" y="327"/>
                  </a:lnTo>
                  <a:lnTo>
                    <a:pt x="10" y="320"/>
                  </a:lnTo>
                  <a:lnTo>
                    <a:pt x="16" y="298"/>
                  </a:lnTo>
                  <a:lnTo>
                    <a:pt x="17" y="282"/>
                  </a:lnTo>
                  <a:lnTo>
                    <a:pt x="16" y="270"/>
                  </a:lnTo>
                  <a:lnTo>
                    <a:pt x="15" y="265"/>
                  </a:lnTo>
                  <a:lnTo>
                    <a:pt x="12" y="253"/>
                  </a:lnTo>
                  <a:lnTo>
                    <a:pt x="12" y="240"/>
                  </a:lnTo>
                  <a:lnTo>
                    <a:pt x="11" y="235"/>
                  </a:lnTo>
                  <a:lnTo>
                    <a:pt x="6" y="227"/>
                  </a:lnTo>
                  <a:lnTo>
                    <a:pt x="6" y="223"/>
                  </a:lnTo>
                  <a:lnTo>
                    <a:pt x="12" y="220"/>
                  </a:lnTo>
                  <a:lnTo>
                    <a:pt x="22" y="218"/>
                  </a:lnTo>
                  <a:lnTo>
                    <a:pt x="26" y="214"/>
                  </a:lnTo>
                  <a:lnTo>
                    <a:pt x="35" y="199"/>
                  </a:lnTo>
                  <a:lnTo>
                    <a:pt x="35" y="193"/>
                  </a:lnTo>
                  <a:lnTo>
                    <a:pt x="33" y="182"/>
                  </a:lnTo>
                  <a:lnTo>
                    <a:pt x="33" y="165"/>
                  </a:lnTo>
                  <a:lnTo>
                    <a:pt x="38" y="149"/>
                  </a:lnTo>
                  <a:lnTo>
                    <a:pt x="38" y="145"/>
                  </a:lnTo>
                  <a:lnTo>
                    <a:pt x="37" y="140"/>
                  </a:lnTo>
                  <a:lnTo>
                    <a:pt x="35" y="135"/>
                  </a:lnTo>
                  <a:lnTo>
                    <a:pt x="33" y="130"/>
                  </a:lnTo>
                  <a:lnTo>
                    <a:pt x="30" y="127"/>
                  </a:lnTo>
                  <a:lnTo>
                    <a:pt x="22" y="120"/>
                  </a:lnTo>
                  <a:lnTo>
                    <a:pt x="20" y="115"/>
                  </a:lnTo>
                  <a:lnTo>
                    <a:pt x="21" y="109"/>
                  </a:lnTo>
                  <a:lnTo>
                    <a:pt x="26" y="100"/>
                  </a:lnTo>
                  <a:lnTo>
                    <a:pt x="27" y="93"/>
                  </a:lnTo>
                  <a:lnTo>
                    <a:pt x="27" y="87"/>
                  </a:lnTo>
                  <a:lnTo>
                    <a:pt x="26" y="83"/>
                  </a:lnTo>
                  <a:lnTo>
                    <a:pt x="23" y="79"/>
                  </a:lnTo>
                  <a:lnTo>
                    <a:pt x="13" y="79"/>
                  </a:lnTo>
                  <a:lnTo>
                    <a:pt x="10" y="82"/>
                  </a:lnTo>
                  <a:lnTo>
                    <a:pt x="5" y="82"/>
                  </a:lnTo>
                  <a:lnTo>
                    <a:pt x="2" y="78"/>
                  </a:lnTo>
                  <a:lnTo>
                    <a:pt x="3" y="73"/>
                  </a:lnTo>
                  <a:lnTo>
                    <a:pt x="20" y="54"/>
                  </a:lnTo>
                  <a:lnTo>
                    <a:pt x="22" y="49"/>
                  </a:lnTo>
                  <a:lnTo>
                    <a:pt x="30" y="40"/>
                  </a:lnTo>
                  <a:lnTo>
                    <a:pt x="32" y="34"/>
                  </a:lnTo>
                  <a:lnTo>
                    <a:pt x="32" y="29"/>
                  </a:lnTo>
                  <a:lnTo>
                    <a:pt x="31" y="24"/>
                  </a:lnTo>
                  <a:lnTo>
                    <a:pt x="25" y="14"/>
                  </a:lnTo>
                  <a:lnTo>
                    <a:pt x="26" y="9"/>
                  </a:lnTo>
                  <a:lnTo>
                    <a:pt x="35" y="5"/>
                  </a:lnTo>
                  <a:lnTo>
                    <a:pt x="58" y="3"/>
                  </a:lnTo>
                  <a:lnTo>
                    <a:pt x="95" y="7"/>
                  </a:lnTo>
                  <a:lnTo>
                    <a:pt x="103" y="10"/>
                  </a:lnTo>
                  <a:lnTo>
                    <a:pt x="118" y="14"/>
                  </a:lnTo>
                  <a:lnTo>
                    <a:pt x="156" y="0"/>
                  </a:lnTo>
                  <a:lnTo>
                    <a:pt x="156" y="8"/>
                  </a:lnTo>
                  <a:lnTo>
                    <a:pt x="157" y="18"/>
                  </a:lnTo>
                  <a:lnTo>
                    <a:pt x="161" y="23"/>
                  </a:lnTo>
                  <a:lnTo>
                    <a:pt x="168" y="18"/>
                  </a:lnTo>
                  <a:lnTo>
                    <a:pt x="170" y="25"/>
                  </a:lnTo>
                  <a:lnTo>
                    <a:pt x="168" y="29"/>
                  </a:lnTo>
                  <a:lnTo>
                    <a:pt x="162" y="37"/>
                  </a:lnTo>
                  <a:lnTo>
                    <a:pt x="162" y="42"/>
                  </a:lnTo>
                  <a:lnTo>
                    <a:pt x="166" y="45"/>
                  </a:lnTo>
                  <a:lnTo>
                    <a:pt x="170" y="48"/>
                  </a:lnTo>
                  <a:lnTo>
                    <a:pt x="181" y="44"/>
                  </a:lnTo>
                  <a:lnTo>
                    <a:pt x="188" y="44"/>
                  </a:lnTo>
                  <a:lnTo>
                    <a:pt x="193" y="27"/>
                  </a:lnTo>
                  <a:lnTo>
                    <a:pt x="198" y="23"/>
                  </a:lnTo>
                  <a:lnTo>
                    <a:pt x="206" y="19"/>
                  </a:lnTo>
                  <a:lnTo>
                    <a:pt x="213" y="22"/>
                  </a:lnTo>
                  <a:lnTo>
                    <a:pt x="233" y="35"/>
                  </a:lnTo>
                  <a:lnTo>
                    <a:pt x="238" y="42"/>
                  </a:lnTo>
                  <a:lnTo>
                    <a:pt x="241" y="48"/>
                  </a:lnTo>
                  <a:lnTo>
                    <a:pt x="241" y="53"/>
                  </a:lnTo>
                  <a:lnTo>
                    <a:pt x="240" y="58"/>
                  </a:lnTo>
                  <a:lnTo>
                    <a:pt x="240" y="69"/>
                  </a:lnTo>
                  <a:lnTo>
                    <a:pt x="241" y="80"/>
                  </a:lnTo>
                  <a:lnTo>
                    <a:pt x="246" y="82"/>
                  </a:lnTo>
                  <a:lnTo>
                    <a:pt x="251" y="84"/>
                  </a:lnTo>
                  <a:lnTo>
                    <a:pt x="270" y="99"/>
                  </a:lnTo>
                  <a:lnTo>
                    <a:pt x="278" y="103"/>
                  </a:lnTo>
                  <a:lnTo>
                    <a:pt x="285" y="97"/>
                  </a:lnTo>
                  <a:lnTo>
                    <a:pt x="291" y="95"/>
                  </a:lnTo>
                  <a:lnTo>
                    <a:pt x="296" y="100"/>
                  </a:lnTo>
                  <a:lnTo>
                    <a:pt x="297" y="112"/>
                  </a:lnTo>
                  <a:lnTo>
                    <a:pt x="303" y="105"/>
                  </a:lnTo>
                  <a:lnTo>
                    <a:pt x="311" y="100"/>
                  </a:lnTo>
                  <a:lnTo>
                    <a:pt x="320" y="99"/>
                  </a:lnTo>
                  <a:lnTo>
                    <a:pt x="331" y="102"/>
                  </a:lnTo>
                  <a:lnTo>
                    <a:pt x="327" y="97"/>
                  </a:lnTo>
                  <a:lnTo>
                    <a:pt x="330" y="90"/>
                  </a:lnTo>
                  <a:lnTo>
                    <a:pt x="333" y="85"/>
                  </a:lnTo>
                  <a:lnTo>
                    <a:pt x="337" y="83"/>
                  </a:lnTo>
                  <a:lnTo>
                    <a:pt x="342" y="80"/>
                  </a:lnTo>
                  <a:lnTo>
                    <a:pt x="348" y="94"/>
                  </a:lnTo>
                  <a:lnTo>
                    <a:pt x="365" y="104"/>
                  </a:lnTo>
                  <a:lnTo>
                    <a:pt x="383" y="109"/>
                  </a:lnTo>
                  <a:lnTo>
                    <a:pt x="396" y="112"/>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45" name="León" descr="{&quot;Key&quot;:&quot;león&quot;,&quot;Name&quot;:&quot;León&quot;,&quot;Value&quot;:1.0,&quot;Formula&quot;:&quot;&quot;,&quot;Text&quot;:&quot;1&quot;,&quot;HasValue&quot;:true}">
              <a:extLst>
                <a:ext uri="{FF2B5EF4-FFF2-40B4-BE49-F238E27FC236}">
                  <a16:creationId xmlns:a16="http://schemas.microsoft.com/office/drawing/2014/main" id="{9D2C24D3-AC0D-C5AD-A29B-5DEF51C2625B}"/>
                </a:ext>
              </a:extLst>
            </p:cNvPr>
            <p:cNvSpPr>
              <a:spLocks noEditPoints="1"/>
            </p:cNvSpPr>
            <p:nvPr/>
          </p:nvSpPr>
          <p:spPr bwMode="auto">
            <a:xfrm>
              <a:off x="2012342" y="2221789"/>
              <a:ext cx="895400" cy="629047"/>
            </a:xfrm>
            <a:custGeom>
              <a:avLst/>
              <a:gdLst>
                <a:gd name="T0" fmla="*/ 1247 w 1298"/>
                <a:gd name="T1" fmla="*/ 106 h 911"/>
                <a:gd name="T2" fmla="*/ 1295 w 1298"/>
                <a:gd name="T3" fmla="*/ 150 h 911"/>
                <a:gd name="T4" fmla="*/ 1251 w 1298"/>
                <a:gd name="T5" fmla="*/ 238 h 911"/>
                <a:gd name="T6" fmla="*/ 1208 w 1298"/>
                <a:gd name="T7" fmla="*/ 285 h 911"/>
                <a:gd name="T8" fmla="*/ 1198 w 1298"/>
                <a:gd name="T9" fmla="*/ 357 h 911"/>
                <a:gd name="T10" fmla="*/ 1210 w 1298"/>
                <a:gd name="T11" fmla="*/ 399 h 911"/>
                <a:gd name="T12" fmla="*/ 1206 w 1298"/>
                <a:gd name="T13" fmla="*/ 468 h 911"/>
                <a:gd name="T14" fmla="*/ 1197 w 1298"/>
                <a:gd name="T15" fmla="*/ 648 h 911"/>
                <a:gd name="T16" fmla="*/ 1146 w 1298"/>
                <a:gd name="T17" fmla="*/ 718 h 911"/>
                <a:gd name="T18" fmla="*/ 1085 w 1298"/>
                <a:gd name="T19" fmla="*/ 704 h 911"/>
                <a:gd name="T20" fmla="*/ 1026 w 1298"/>
                <a:gd name="T21" fmla="*/ 732 h 911"/>
                <a:gd name="T22" fmla="*/ 1001 w 1298"/>
                <a:gd name="T23" fmla="*/ 771 h 911"/>
                <a:gd name="T24" fmla="*/ 952 w 1298"/>
                <a:gd name="T25" fmla="*/ 768 h 911"/>
                <a:gd name="T26" fmla="*/ 932 w 1298"/>
                <a:gd name="T27" fmla="*/ 872 h 911"/>
                <a:gd name="T28" fmla="*/ 841 w 1298"/>
                <a:gd name="T29" fmla="*/ 887 h 911"/>
                <a:gd name="T30" fmla="*/ 783 w 1298"/>
                <a:gd name="T31" fmla="*/ 833 h 911"/>
                <a:gd name="T32" fmla="*/ 683 w 1298"/>
                <a:gd name="T33" fmla="*/ 846 h 911"/>
                <a:gd name="T34" fmla="*/ 645 w 1298"/>
                <a:gd name="T35" fmla="*/ 823 h 911"/>
                <a:gd name="T36" fmla="*/ 621 w 1298"/>
                <a:gd name="T37" fmla="*/ 839 h 911"/>
                <a:gd name="T38" fmla="*/ 459 w 1298"/>
                <a:gd name="T39" fmla="*/ 808 h 911"/>
                <a:gd name="T40" fmla="*/ 416 w 1298"/>
                <a:gd name="T41" fmla="*/ 779 h 911"/>
                <a:gd name="T42" fmla="*/ 284 w 1298"/>
                <a:gd name="T43" fmla="*/ 779 h 911"/>
                <a:gd name="T44" fmla="*/ 202 w 1298"/>
                <a:gd name="T45" fmla="*/ 772 h 911"/>
                <a:gd name="T46" fmla="*/ 184 w 1298"/>
                <a:gd name="T47" fmla="*/ 706 h 911"/>
                <a:gd name="T48" fmla="*/ 175 w 1298"/>
                <a:gd name="T49" fmla="*/ 663 h 911"/>
                <a:gd name="T50" fmla="*/ 141 w 1298"/>
                <a:gd name="T51" fmla="*/ 612 h 911"/>
                <a:gd name="T52" fmla="*/ 99 w 1298"/>
                <a:gd name="T53" fmla="*/ 559 h 911"/>
                <a:gd name="T54" fmla="*/ 60 w 1298"/>
                <a:gd name="T55" fmla="*/ 557 h 911"/>
                <a:gd name="T56" fmla="*/ 5 w 1298"/>
                <a:gd name="T57" fmla="*/ 543 h 911"/>
                <a:gd name="T58" fmla="*/ 15 w 1298"/>
                <a:gd name="T59" fmla="*/ 470 h 911"/>
                <a:gd name="T60" fmla="*/ 31 w 1298"/>
                <a:gd name="T61" fmla="*/ 448 h 911"/>
                <a:gd name="T62" fmla="*/ 19 w 1298"/>
                <a:gd name="T63" fmla="*/ 409 h 911"/>
                <a:gd name="T64" fmla="*/ 59 w 1298"/>
                <a:gd name="T65" fmla="*/ 373 h 911"/>
                <a:gd name="T66" fmla="*/ 97 w 1298"/>
                <a:gd name="T67" fmla="*/ 348 h 911"/>
                <a:gd name="T68" fmla="*/ 115 w 1298"/>
                <a:gd name="T69" fmla="*/ 285 h 911"/>
                <a:gd name="T70" fmla="*/ 134 w 1298"/>
                <a:gd name="T71" fmla="*/ 245 h 911"/>
                <a:gd name="T72" fmla="*/ 176 w 1298"/>
                <a:gd name="T73" fmla="*/ 259 h 911"/>
                <a:gd name="T74" fmla="*/ 215 w 1298"/>
                <a:gd name="T75" fmla="*/ 237 h 911"/>
                <a:gd name="T76" fmla="*/ 287 w 1298"/>
                <a:gd name="T77" fmla="*/ 244 h 911"/>
                <a:gd name="T78" fmla="*/ 347 w 1298"/>
                <a:gd name="T79" fmla="*/ 209 h 911"/>
                <a:gd name="T80" fmla="*/ 327 w 1298"/>
                <a:gd name="T81" fmla="*/ 190 h 911"/>
                <a:gd name="T82" fmla="*/ 364 w 1298"/>
                <a:gd name="T83" fmla="*/ 178 h 911"/>
                <a:gd name="T84" fmla="*/ 391 w 1298"/>
                <a:gd name="T85" fmla="*/ 142 h 911"/>
                <a:gd name="T86" fmla="*/ 429 w 1298"/>
                <a:gd name="T87" fmla="*/ 155 h 911"/>
                <a:gd name="T88" fmla="*/ 472 w 1298"/>
                <a:gd name="T89" fmla="*/ 155 h 911"/>
                <a:gd name="T90" fmla="*/ 519 w 1298"/>
                <a:gd name="T91" fmla="*/ 160 h 911"/>
                <a:gd name="T92" fmla="*/ 545 w 1298"/>
                <a:gd name="T93" fmla="*/ 134 h 911"/>
                <a:gd name="T94" fmla="*/ 606 w 1298"/>
                <a:gd name="T95" fmla="*/ 138 h 911"/>
                <a:gd name="T96" fmla="*/ 631 w 1298"/>
                <a:gd name="T97" fmla="*/ 177 h 911"/>
                <a:gd name="T98" fmla="*/ 670 w 1298"/>
                <a:gd name="T99" fmla="*/ 198 h 911"/>
                <a:gd name="T100" fmla="*/ 716 w 1298"/>
                <a:gd name="T101" fmla="*/ 200 h 911"/>
                <a:gd name="T102" fmla="*/ 744 w 1298"/>
                <a:gd name="T103" fmla="*/ 150 h 911"/>
                <a:gd name="T104" fmla="*/ 795 w 1298"/>
                <a:gd name="T105" fmla="*/ 153 h 911"/>
                <a:gd name="T106" fmla="*/ 842 w 1298"/>
                <a:gd name="T107" fmla="*/ 165 h 911"/>
                <a:gd name="T108" fmla="*/ 881 w 1298"/>
                <a:gd name="T109" fmla="*/ 150 h 911"/>
                <a:gd name="T110" fmla="*/ 927 w 1298"/>
                <a:gd name="T111" fmla="*/ 138 h 911"/>
                <a:gd name="T112" fmla="*/ 977 w 1298"/>
                <a:gd name="T113" fmla="*/ 117 h 911"/>
                <a:gd name="T114" fmla="*/ 1076 w 1298"/>
                <a:gd name="T115" fmla="*/ 100 h 911"/>
                <a:gd name="T116" fmla="*/ 1107 w 1298"/>
                <a:gd name="T117" fmla="*/ 50 h 911"/>
                <a:gd name="T118" fmla="*/ 1169 w 1298"/>
                <a:gd name="T119" fmla="*/ 17 h 911"/>
                <a:gd name="T120" fmla="*/ 1241 w 1298"/>
                <a:gd name="T121" fmla="*/ 38 h 911"/>
                <a:gd name="T122" fmla="*/ 955 w 1298"/>
                <a:gd name="T123" fmla="*/ 72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911">
                  <a:moveTo>
                    <a:pt x="1241" y="38"/>
                  </a:moveTo>
                  <a:lnTo>
                    <a:pt x="1238" y="79"/>
                  </a:lnTo>
                  <a:lnTo>
                    <a:pt x="1240" y="87"/>
                  </a:lnTo>
                  <a:lnTo>
                    <a:pt x="1243" y="99"/>
                  </a:lnTo>
                  <a:lnTo>
                    <a:pt x="1247" y="106"/>
                  </a:lnTo>
                  <a:lnTo>
                    <a:pt x="1252" y="109"/>
                  </a:lnTo>
                  <a:lnTo>
                    <a:pt x="1275" y="122"/>
                  </a:lnTo>
                  <a:lnTo>
                    <a:pt x="1281" y="134"/>
                  </a:lnTo>
                  <a:lnTo>
                    <a:pt x="1292" y="145"/>
                  </a:lnTo>
                  <a:lnTo>
                    <a:pt x="1295" y="150"/>
                  </a:lnTo>
                  <a:lnTo>
                    <a:pt x="1298" y="169"/>
                  </a:lnTo>
                  <a:lnTo>
                    <a:pt x="1281" y="177"/>
                  </a:lnTo>
                  <a:lnTo>
                    <a:pt x="1265" y="189"/>
                  </a:lnTo>
                  <a:lnTo>
                    <a:pt x="1258" y="200"/>
                  </a:lnTo>
                  <a:lnTo>
                    <a:pt x="1251" y="238"/>
                  </a:lnTo>
                  <a:lnTo>
                    <a:pt x="1246" y="244"/>
                  </a:lnTo>
                  <a:lnTo>
                    <a:pt x="1232" y="255"/>
                  </a:lnTo>
                  <a:lnTo>
                    <a:pt x="1227" y="263"/>
                  </a:lnTo>
                  <a:lnTo>
                    <a:pt x="1222" y="287"/>
                  </a:lnTo>
                  <a:lnTo>
                    <a:pt x="1208" y="285"/>
                  </a:lnTo>
                  <a:lnTo>
                    <a:pt x="1205" y="288"/>
                  </a:lnTo>
                  <a:lnTo>
                    <a:pt x="1202" y="292"/>
                  </a:lnTo>
                  <a:lnTo>
                    <a:pt x="1202" y="297"/>
                  </a:lnTo>
                  <a:lnTo>
                    <a:pt x="1201" y="348"/>
                  </a:lnTo>
                  <a:lnTo>
                    <a:pt x="1198" y="357"/>
                  </a:lnTo>
                  <a:lnTo>
                    <a:pt x="1186" y="373"/>
                  </a:lnTo>
                  <a:lnTo>
                    <a:pt x="1185" y="378"/>
                  </a:lnTo>
                  <a:lnTo>
                    <a:pt x="1187" y="384"/>
                  </a:lnTo>
                  <a:lnTo>
                    <a:pt x="1192" y="389"/>
                  </a:lnTo>
                  <a:lnTo>
                    <a:pt x="1210" y="399"/>
                  </a:lnTo>
                  <a:lnTo>
                    <a:pt x="1213" y="404"/>
                  </a:lnTo>
                  <a:lnTo>
                    <a:pt x="1213" y="411"/>
                  </a:lnTo>
                  <a:lnTo>
                    <a:pt x="1207" y="421"/>
                  </a:lnTo>
                  <a:lnTo>
                    <a:pt x="1203" y="432"/>
                  </a:lnTo>
                  <a:lnTo>
                    <a:pt x="1206" y="468"/>
                  </a:lnTo>
                  <a:lnTo>
                    <a:pt x="1195" y="526"/>
                  </a:lnTo>
                  <a:lnTo>
                    <a:pt x="1210" y="532"/>
                  </a:lnTo>
                  <a:lnTo>
                    <a:pt x="1210" y="546"/>
                  </a:lnTo>
                  <a:lnTo>
                    <a:pt x="1196" y="634"/>
                  </a:lnTo>
                  <a:lnTo>
                    <a:pt x="1197" y="648"/>
                  </a:lnTo>
                  <a:lnTo>
                    <a:pt x="1162" y="654"/>
                  </a:lnTo>
                  <a:lnTo>
                    <a:pt x="1158" y="681"/>
                  </a:lnTo>
                  <a:lnTo>
                    <a:pt x="1180" y="674"/>
                  </a:lnTo>
                  <a:lnTo>
                    <a:pt x="1172" y="713"/>
                  </a:lnTo>
                  <a:lnTo>
                    <a:pt x="1146" y="718"/>
                  </a:lnTo>
                  <a:lnTo>
                    <a:pt x="1126" y="712"/>
                  </a:lnTo>
                  <a:lnTo>
                    <a:pt x="1125" y="734"/>
                  </a:lnTo>
                  <a:lnTo>
                    <a:pt x="1112" y="729"/>
                  </a:lnTo>
                  <a:lnTo>
                    <a:pt x="1096" y="703"/>
                  </a:lnTo>
                  <a:lnTo>
                    <a:pt x="1085" y="704"/>
                  </a:lnTo>
                  <a:lnTo>
                    <a:pt x="1079" y="709"/>
                  </a:lnTo>
                  <a:lnTo>
                    <a:pt x="1066" y="724"/>
                  </a:lnTo>
                  <a:lnTo>
                    <a:pt x="1054" y="733"/>
                  </a:lnTo>
                  <a:lnTo>
                    <a:pt x="1040" y="738"/>
                  </a:lnTo>
                  <a:lnTo>
                    <a:pt x="1026" y="732"/>
                  </a:lnTo>
                  <a:lnTo>
                    <a:pt x="1020" y="733"/>
                  </a:lnTo>
                  <a:lnTo>
                    <a:pt x="1016" y="737"/>
                  </a:lnTo>
                  <a:lnTo>
                    <a:pt x="1008" y="748"/>
                  </a:lnTo>
                  <a:lnTo>
                    <a:pt x="1004" y="766"/>
                  </a:lnTo>
                  <a:lnTo>
                    <a:pt x="1001" y="771"/>
                  </a:lnTo>
                  <a:lnTo>
                    <a:pt x="996" y="769"/>
                  </a:lnTo>
                  <a:lnTo>
                    <a:pt x="988" y="772"/>
                  </a:lnTo>
                  <a:lnTo>
                    <a:pt x="976" y="782"/>
                  </a:lnTo>
                  <a:lnTo>
                    <a:pt x="970" y="782"/>
                  </a:lnTo>
                  <a:lnTo>
                    <a:pt x="952" y="768"/>
                  </a:lnTo>
                  <a:lnTo>
                    <a:pt x="947" y="766"/>
                  </a:lnTo>
                  <a:lnTo>
                    <a:pt x="936" y="773"/>
                  </a:lnTo>
                  <a:lnTo>
                    <a:pt x="933" y="788"/>
                  </a:lnTo>
                  <a:lnTo>
                    <a:pt x="938" y="833"/>
                  </a:lnTo>
                  <a:lnTo>
                    <a:pt x="932" y="872"/>
                  </a:lnTo>
                  <a:lnTo>
                    <a:pt x="938" y="903"/>
                  </a:lnTo>
                  <a:lnTo>
                    <a:pt x="913" y="911"/>
                  </a:lnTo>
                  <a:lnTo>
                    <a:pt x="858" y="862"/>
                  </a:lnTo>
                  <a:lnTo>
                    <a:pt x="847" y="861"/>
                  </a:lnTo>
                  <a:lnTo>
                    <a:pt x="841" y="887"/>
                  </a:lnTo>
                  <a:lnTo>
                    <a:pt x="801" y="872"/>
                  </a:lnTo>
                  <a:lnTo>
                    <a:pt x="804" y="858"/>
                  </a:lnTo>
                  <a:lnTo>
                    <a:pt x="801" y="851"/>
                  </a:lnTo>
                  <a:lnTo>
                    <a:pt x="791" y="838"/>
                  </a:lnTo>
                  <a:lnTo>
                    <a:pt x="783" y="833"/>
                  </a:lnTo>
                  <a:lnTo>
                    <a:pt x="771" y="829"/>
                  </a:lnTo>
                  <a:lnTo>
                    <a:pt x="772" y="844"/>
                  </a:lnTo>
                  <a:lnTo>
                    <a:pt x="736" y="849"/>
                  </a:lnTo>
                  <a:lnTo>
                    <a:pt x="729" y="832"/>
                  </a:lnTo>
                  <a:lnTo>
                    <a:pt x="683" y="846"/>
                  </a:lnTo>
                  <a:lnTo>
                    <a:pt x="666" y="843"/>
                  </a:lnTo>
                  <a:lnTo>
                    <a:pt x="657" y="828"/>
                  </a:lnTo>
                  <a:lnTo>
                    <a:pt x="652" y="822"/>
                  </a:lnTo>
                  <a:lnTo>
                    <a:pt x="647" y="821"/>
                  </a:lnTo>
                  <a:lnTo>
                    <a:pt x="645" y="823"/>
                  </a:lnTo>
                  <a:lnTo>
                    <a:pt x="642" y="829"/>
                  </a:lnTo>
                  <a:lnTo>
                    <a:pt x="637" y="832"/>
                  </a:lnTo>
                  <a:lnTo>
                    <a:pt x="631" y="832"/>
                  </a:lnTo>
                  <a:lnTo>
                    <a:pt x="627" y="833"/>
                  </a:lnTo>
                  <a:lnTo>
                    <a:pt x="621" y="839"/>
                  </a:lnTo>
                  <a:lnTo>
                    <a:pt x="617" y="840"/>
                  </a:lnTo>
                  <a:lnTo>
                    <a:pt x="569" y="815"/>
                  </a:lnTo>
                  <a:lnTo>
                    <a:pt x="480" y="823"/>
                  </a:lnTo>
                  <a:lnTo>
                    <a:pt x="475" y="822"/>
                  </a:lnTo>
                  <a:lnTo>
                    <a:pt x="459" y="808"/>
                  </a:lnTo>
                  <a:lnTo>
                    <a:pt x="439" y="801"/>
                  </a:lnTo>
                  <a:lnTo>
                    <a:pt x="432" y="796"/>
                  </a:lnTo>
                  <a:lnTo>
                    <a:pt x="426" y="783"/>
                  </a:lnTo>
                  <a:lnTo>
                    <a:pt x="421" y="778"/>
                  </a:lnTo>
                  <a:lnTo>
                    <a:pt x="416" y="779"/>
                  </a:lnTo>
                  <a:lnTo>
                    <a:pt x="405" y="784"/>
                  </a:lnTo>
                  <a:lnTo>
                    <a:pt x="356" y="783"/>
                  </a:lnTo>
                  <a:lnTo>
                    <a:pt x="321" y="797"/>
                  </a:lnTo>
                  <a:lnTo>
                    <a:pt x="304" y="784"/>
                  </a:lnTo>
                  <a:lnTo>
                    <a:pt x="284" y="779"/>
                  </a:lnTo>
                  <a:lnTo>
                    <a:pt x="251" y="780"/>
                  </a:lnTo>
                  <a:lnTo>
                    <a:pt x="236" y="773"/>
                  </a:lnTo>
                  <a:lnTo>
                    <a:pt x="231" y="772"/>
                  </a:lnTo>
                  <a:lnTo>
                    <a:pt x="211" y="774"/>
                  </a:lnTo>
                  <a:lnTo>
                    <a:pt x="202" y="772"/>
                  </a:lnTo>
                  <a:lnTo>
                    <a:pt x="159" y="744"/>
                  </a:lnTo>
                  <a:lnTo>
                    <a:pt x="166" y="738"/>
                  </a:lnTo>
                  <a:lnTo>
                    <a:pt x="174" y="724"/>
                  </a:lnTo>
                  <a:lnTo>
                    <a:pt x="181" y="715"/>
                  </a:lnTo>
                  <a:lnTo>
                    <a:pt x="184" y="706"/>
                  </a:lnTo>
                  <a:lnTo>
                    <a:pt x="185" y="700"/>
                  </a:lnTo>
                  <a:lnTo>
                    <a:pt x="184" y="689"/>
                  </a:lnTo>
                  <a:lnTo>
                    <a:pt x="186" y="678"/>
                  </a:lnTo>
                  <a:lnTo>
                    <a:pt x="182" y="672"/>
                  </a:lnTo>
                  <a:lnTo>
                    <a:pt x="175" y="663"/>
                  </a:lnTo>
                  <a:lnTo>
                    <a:pt x="156" y="650"/>
                  </a:lnTo>
                  <a:lnTo>
                    <a:pt x="129" y="627"/>
                  </a:lnTo>
                  <a:lnTo>
                    <a:pt x="132" y="625"/>
                  </a:lnTo>
                  <a:lnTo>
                    <a:pt x="139" y="617"/>
                  </a:lnTo>
                  <a:lnTo>
                    <a:pt x="141" y="612"/>
                  </a:lnTo>
                  <a:lnTo>
                    <a:pt x="142" y="605"/>
                  </a:lnTo>
                  <a:lnTo>
                    <a:pt x="144" y="592"/>
                  </a:lnTo>
                  <a:lnTo>
                    <a:pt x="145" y="587"/>
                  </a:lnTo>
                  <a:lnTo>
                    <a:pt x="139" y="570"/>
                  </a:lnTo>
                  <a:lnTo>
                    <a:pt x="99" y="559"/>
                  </a:lnTo>
                  <a:lnTo>
                    <a:pt x="89" y="552"/>
                  </a:lnTo>
                  <a:lnTo>
                    <a:pt x="84" y="549"/>
                  </a:lnTo>
                  <a:lnTo>
                    <a:pt x="76" y="549"/>
                  </a:lnTo>
                  <a:lnTo>
                    <a:pt x="65" y="553"/>
                  </a:lnTo>
                  <a:lnTo>
                    <a:pt x="60" y="557"/>
                  </a:lnTo>
                  <a:lnTo>
                    <a:pt x="55" y="563"/>
                  </a:lnTo>
                  <a:lnTo>
                    <a:pt x="49" y="563"/>
                  </a:lnTo>
                  <a:lnTo>
                    <a:pt x="25" y="558"/>
                  </a:lnTo>
                  <a:lnTo>
                    <a:pt x="0" y="557"/>
                  </a:lnTo>
                  <a:lnTo>
                    <a:pt x="5" y="543"/>
                  </a:lnTo>
                  <a:lnTo>
                    <a:pt x="5" y="528"/>
                  </a:lnTo>
                  <a:lnTo>
                    <a:pt x="6" y="523"/>
                  </a:lnTo>
                  <a:lnTo>
                    <a:pt x="15" y="500"/>
                  </a:lnTo>
                  <a:lnTo>
                    <a:pt x="16" y="492"/>
                  </a:lnTo>
                  <a:lnTo>
                    <a:pt x="15" y="470"/>
                  </a:lnTo>
                  <a:lnTo>
                    <a:pt x="17" y="464"/>
                  </a:lnTo>
                  <a:lnTo>
                    <a:pt x="21" y="460"/>
                  </a:lnTo>
                  <a:lnTo>
                    <a:pt x="26" y="457"/>
                  </a:lnTo>
                  <a:lnTo>
                    <a:pt x="31" y="453"/>
                  </a:lnTo>
                  <a:lnTo>
                    <a:pt x="31" y="448"/>
                  </a:lnTo>
                  <a:lnTo>
                    <a:pt x="30" y="443"/>
                  </a:lnTo>
                  <a:lnTo>
                    <a:pt x="22" y="433"/>
                  </a:lnTo>
                  <a:lnTo>
                    <a:pt x="19" y="427"/>
                  </a:lnTo>
                  <a:lnTo>
                    <a:pt x="17" y="417"/>
                  </a:lnTo>
                  <a:lnTo>
                    <a:pt x="19" y="409"/>
                  </a:lnTo>
                  <a:lnTo>
                    <a:pt x="21" y="404"/>
                  </a:lnTo>
                  <a:lnTo>
                    <a:pt x="27" y="394"/>
                  </a:lnTo>
                  <a:lnTo>
                    <a:pt x="30" y="393"/>
                  </a:lnTo>
                  <a:lnTo>
                    <a:pt x="45" y="385"/>
                  </a:lnTo>
                  <a:lnTo>
                    <a:pt x="59" y="373"/>
                  </a:lnTo>
                  <a:lnTo>
                    <a:pt x="64" y="372"/>
                  </a:lnTo>
                  <a:lnTo>
                    <a:pt x="74" y="373"/>
                  </a:lnTo>
                  <a:lnTo>
                    <a:pt x="79" y="370"/>
                  </a:lnTo>
                  <a:lnTo>
                    <a:pt x="85" y="365"/>
                  </a:lnTo>
                  <a:lnTo>
                    <a:pt x="97" y="348"/>
                  </a:lnTo>
                  <a:lnTo>
                    <a:pt x="115" y="327"/>
                  </a:lnTo>
                  <a:lnTo>
                    <a:pt x="119" y="319"/>
                  </a:lnTo>
                  <a:lnTo>
                    <a:pt x="120" y="310"/>
                  </a:lnTo>
                  <a:lnTo>
                    <a:pt x="120" y="304"/>
                  </a:lnTo>
                  <a:lnTo>
                    <a:pt x="115" y="285"/>
                  </a:lnTo>
                  <a:lnTo>
                    <a:pt x="116" y="277"/>
                  </a:lnTo>
                  <a:lnTo>
                    <a:pt x="126" y="265"/>
                  </a:lnTo>
                  <a:lnTo>
                    <a:pt x="129" y="259"/>
                  </a:lnTo>
                  <a:lnTo>
                    <a:pt x="130" y="253"/>
                  </a:lnTo>
                  <a:lnTo>
                    <a:pt x="134" y="245"/>
                  </a:lnTo>
                  <a:lnTo>
                    <a:pt x="152" y="249"/>
                  </a:lnTo>
                  <a:lnTo>
                    <a:pt x="162" y="254"/>
                  </a:lnTo>
                  <a:lnTo>
                    <a:pt x="166" y="262"/>
                  </a:lnTo>
                  <a:lnTo>
                    <a:pt x="170" y="263"/>
                  </a:lnTo>
                  <a:lnTo>
                    <a:pt x="176" y="259"/>
                  </a:lnTo>
                  <a:lnTo>
                    <a:pt x="181" y="254"/>
                  </a:lnTo>
                  <a:lnTo>
                    <a:pt x="189" y="245"/>
                  </a:lnTo>
                  <a:lnTo>
                    <a:pt x="195" y="242"/>
                  </a:lnTo>
                  <a:lnTo>
                    <a:pt x="205" y="238"/>
                  </a:lnTo>
                  <a:lnTo>
                    <a:pt x="215" y="237"/>
                  </a:lnTo>
                  <a:lnTo>
                    <a:pt x="241" y="237"/>
                  </a:lnTo>
                  <a:lnTo>
                    <a:pt x="252" y="239"/>
                  </a:lnTo>
                  <a:lnTo>
                    <a:pt x="256" y="242"/>
                  </a:lnTo>
                  <a:lnTo>
                    <a:pt x="282" y="244"/>
                  </a:lnTo>
                  <a:lnTo>
                    <a:pt x="287" y="244"/>
                  </a:lnTo>
                  <a:lnTo>
                    <a:pt x="307" y="235"/>
                  </a:lnTo>
                  <a:lnTo>
                    <a:pt x="315" y="234"/>
                  </a:lnTo>
                  <a:lnTo>
                    <a:pt x="345" y="218"/>
                  </a:lnTo>
                  <a:lnTo>
                    <a:pt x="347" y="213"/>
                  </a:lnTo>
                  <a:lnTo>
                    <a:pt x="347" y="209"/>
                  </a:lnTo>
                  <a:lnTo>
                    <a:pt x="344" y="205"/>
                  </a:lnTo>
                  <a:lnTo>
                    <a:pt x="334" y="202"/>
                  </a:lnTo>
                  <a:lnTo>
                    <a:pt x="330" y="199"/>
                  </a:lnTo>
                  <a:lnTo>
                    <a:pt x="326" y="194"/>
                  </a:lnTo>
                  <a:lnTo>
                    <a:pt x="327" y="190"/>
                  </a:lnTo>
                  <a:lnTo>
                    <a:pt x="330" y="188"/>
                  </a:lnTo>
                  <a:lnTo>
                    <a:pt x="346" y="187"/>
                  </a:lnTo>
                  <a:lnTo>
                    <a:pt x="357" y="183"/>
                  </a:lnTo>
                  <a:lnTo>
                    <a:pt x="361" y="180"/>
                  </a:lnTo>
                  <a:lnTo>
                    <a:pt x="364" y="178"/>
                  </a:lnTo>
                  <a:lnTo>
                    <a:pt x="364" y="169"/>
                  </a:lnTo>
                  <a:lnTo>
                    <a:pt x="371" y="159"/>
                  </a:lnTo>
                  <a:lnTo>
                    <a:pt x="372" y="154"/>
                  </a:lnTo>
                  <a:lnTo>
                    <a:pt x="376" y="149"/>
                  </a:lnTo>
                  <a:lnTo>
                    <a:pt x="391" y="142"/>
                  </a:lnTo>
                  <a:lnTo>
                    <a:pt x="401" y="145"/>
                  </a:lnTo>
                  <a:lnTo>
                    <a:pt x="406" y="148"/>
                  </a:lnTo>
                  <a:lnTo>
                    <a:pt x="411" y="153"/>
                  </a:lnTo>
                  <a:lnTo>
                    <a:pt x="421" y="155"/>
                  </a:lnTo>
                  <a:lnTo>
                    <a:pt x="429" y="155"/>
                  </a:lnTo>
                  <a:lnTo>
                    <a:pt x="452" y="168"/>
                  </a:lnTo>
                  <a:lnTo>
                    <a:pt x="464" y="170"/>
                  </a:lnTo>
                  <a:lnTo>
                    <a:pt x="467" y="169"/>
                  </a:lnTo>
                  <a:lnTo>
                    <a:pt x="470" y="167"/>
                  </a:lnTo>
                  <a:lnTo>
                    <a:pt x="472" y="155"/>
                  </a:lnTo>
                  <a:lnTo>
                    <a:pt x="475" y="152"/>
                  </a:lnTo>
                  <a:lnTo>
                    <a:pt x="482" y="150"/>
                  </a:lnTo>
                  <a:lnTo>
                    <a:pt x="496" y="153"/>
                  </a:lnTo>
                  <a:lnTo>
                    <a:pt x="511" y="159"/>
                  </a:lnTo>
                  <a:lnTo>
                    <a:pt x="519" y="160"/>
                  </a:lnTo>
                  <a:lnTo>
                    <a:pt x="526" y="160"/>
                  </a:lnTo>
                  <a:lnTo>
                    <a:pt x="536" y="155"/>
                  </a:lnTo>
                  <a:lnTo>
                    <a:pt x="540" y="149"/>
                  </a:lnTo>
                  <a:lnTo>
                    <a:pt x="542" y="138"/>
                  </a:lnTo>
                  <a:lnTo>
                    <a:pt x="545" y="134"/>
                  </a:lnTo>
                  <a:lnTo>
                    <a:pt x="550" y="132"/>
                  </a:lnTo>
                  <a:lnTo>
                    <a:pt x="577" y="138"/>
                  </a:lnTo>
                  <a:lnTo>
                    <a:pt x="584" y="138"/>
                  </a:lnTo>
                  <a:lnTo>
                    <a:pt x="600" y="134"/>
                  </a:lnTo>
                  <a:lnTo>
                    <a:pt x="606" y="138"/>
                  </a:lnTo>
                  <a:lnTo>
                    <a:pt x="610" y="142"/>
                  </a:lnTo>
                  <a:lnTo>
                    <a:pt x="611" y="153"/>
                  </a:lnTo>
                  <a:lnTo>
                    <a:pt x="615" y="164"/>
                  </a:lnTo>
                  <a:lnTo>
                    <a:pt x="619" y="168"/>
                  </a:lnTo>
                  <a:lnTo>
                    <a:pt x="631" y="177"/>
                  </a:lnTo>
                  <a:lnTo>
                    <a:pt x="639" y="182"/>
                  </a:lnTo>
                  <a:lnTo>
                    <a:pt x="646" y="187"/>
                  </a:lnTo>
                  <a:lnTo>
                    <a:pt x="652" y="189"/>
                  </a:lnTo>
                  <a:lnTo>
                    <a:pt x="655" y="192"/>
                  </a:lnTo>
                  <a:lnTo>
                    <a:pt x="670" y="198"/>
                  </a:lnTo>
                  <a:lnTo>
                    <a:pt x="674" y="200"/>
                  </a:lnTo>
                  <a:lnTo>
                    <a:pt x="680" y="203"/>
                  </a:lnTo>
                  <a:lnTo>
                    <a:pt x="701" y="204"/>
                  </a:lnTo>
                  <a:lnTo>
                    <a:pt x="710" y="202"/>
                  </a:lnTo>
                  <a:lnTo>
                    <a:pt x="716" y="200"/>
                  </a:lnTo>
                  <a:lnTo>
                    <a:pt x="721" y="195"/>
                  </a:lnTo>
                  <a:lnTo>
                    <a:pt x="725" y="187"/>
                  </a:lnTo>
                  <a:lnTo>
                    <a:pt x="729" y="174"/>
                  </a:lnTo>
                  <a:lnTo>
                    <a:pt x="735" y="164"/>
                  </a:lnTo>
                  <a:lnTo>
                    <a:pt x="744" y="150"/>
                  </a:lnTo>
                  <a:lnTo>
                    <a:pt x="749" y="147"/>
                  </a:lnTo>
                  <a:lnTo>
                    <a:pt x="757" y="144"/>
                  </a:lnTo>
                  <a:lnTo>
                    <a:pt x="771" y="144"/>
                  </a:lnTo>
                  <a:lnTo>
                    <a:pt x="779" y="144"/>
                  </a:lnTo>
                  <a:lnTo>
                    <a:pt x="795" y="153"/>
                  </a:lnTo>
                  <a:lnTo>
                    <a:pt x="806" y="155"/>
                  </a:lnTo>
                  <a:lnTo>
                    <a:pt x="815" y="155"/>
                  </a:lnTo>
                  <a:lnTo>
                    <a:pt x="827" y="158"/>
                  </a:lnTo>
                  <a:lnTo>
                    <a:pt x="836" y="164"/>
                  </a:lnTo>
                  <a:lnTo>
                    <a:pt x="842" y="165"/>
                  </a:lnTo>
                  <a:lnTo>
                    <a:pt x="847" y="164"/>
                  </a:lnTo>
                  <a:lnTo>
                    <a:pt x="861" y="159"/>
                  </a:lnTo>
                  <a:lnTo>
                    <a:pt x="871" y="160"/>
                  </a:lnTo>
                  <a:lnTo>
                    <a:pt x="876" y="159"/>
                  </a:lnTo>
                  <a:lnTo>
                    <a:pt x="881" y="150"/>
                  </a:lnTo>
                  <a:lnTo>
                    <a:pt x="882" y="147"/>
                  </a:lnTo>
                  <a:lnTo>
                    <a:pt x="885" y="143"/>
                  </a:lnTo>
                  <a:lnTo>
                    <a:pt x="916" y="142"/>
                  </a:lnTo>
                  <a:lnTo>
                    <a:pt x="921" y="140"/>
                  </a:lnTo>
                  <a:lnTo>
                    <a:pt x="927" y="138"/>
                  </a:lnTo>
                  <a:lnTo>
                    <a:pt x="931" y="133"/>
                  </a:lnTo>
                  <a:lnTo>
                    <a:pt x="935" y="117"/>
                  </a:lnTo>
                  <a:lnTo>
                    <a:pt x="940" y="113"/>
                  </a:lnTo>
                  <a:lnTo>
                    <a:pt x="947" y="112"/>
                  </a:lnTo>
                  <a:lnTo>
                    <a:pt x="977" y="117"/>
                  </a:lnTo>
                  <a:lnTo>
                    <a:pt x="1030" y="110"/>
                  </a:lnTo>
                  <a:lnTo>
                    <a:pt x="1060" y="95"/>
                  </a:lnTo>
                  <a:lnTo>
                    <a:pt x="1065" y="94"/>
                  </a:lnTo>
                  <a:lnTo>
                    <a:pt x="1070" y="98"/>
                  </a:lnTo>
                  <a:lnTo>
                    <a:pt x="1076" y="100"/>
                  </a:lnTo>
                  <a:lnTo>
                    <a:pt x="1082" y="99"/>
                  </a:lnTo>
                  <a:lnTo>
                    <a:pt x="1091" y="90"/>
                  </a:lnTo>
                  <a:lnTo>
                    <a:pt x="1095" y="84"/>
                  </a:lnTo>
                  <a:lnTo>
                    <a:pt x="1102" y="62"/>
                  </a:lnTo>
                  <a:lnTo>
                    <a:pt x="1107" y="50"/>
                  </a:lnTo>
                  <a:lnTo>
                    <a:pt x="1112" y="45"/>
                  </a:lnTo>
                  <a:lnTo>
                    <a:pt x="1122" y="40"/>
                  </a:lnTo>
                  <a:lnTo>
                    <a:pt x="1144" y="34"/>
                  </a:lnTo>
                  <a:lnTo>
                    <a:pt x="1160" y="25"/>
                  </a:lnTo>
                  <a:lnTo>
                    <a:pt x="1169" y="17"/>
                  </a:lnTo>
                  <a:lnTo>
                    <a:pt x="1199" y="0"/>
                  </a:lnTo>
                  <a:lnTo>
                    <a:pt x="1204" y="0"/>
                  </a:lnTo>
                  <a:lnTo>
                    <a:pt x="1215" y="3"/>
                  </a:lnTo>
                  <a:lnTo>
                    <a:pt x="1226" y="12"/>
                  </a:lnTo>
                  <a:lnTo>
                    <a:pt x="1241" y="38"/>
                  </a:lnTo>
                  <a:close/>
                  <a:moveTo>
                    <a:pt x="980" y="746"/>
                  </a:moveTo>
                  <a:lnTo>
                    <a:pt x="980" y="729"/>
                  </a:lnTo>
                  <a:lnTo>
                    <a:pt x="976" y="714"/>
                  </a:lnTo>
                  <a:lnTo>
                    <a:pt x="965" y="717"/>
                  </a:lnTo>
                  <a:lnTo>
                    <a:pt x="955" y="726"/>
                  </a:lnTo>
                  <a:lnTo>
                    <a:pt x="955" y="739"/>
                  </a:lnTo>
                  <a:lnTo>
                    <a:pt x="961" y="749"/>
                  </a:lnTo>
                  <a:lnTo>
                    <a:pt x="971" y="750"/>
                  </a:lnTo>
                  <a:lnTo>
                    <a:pt x="980" y="74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46" name="Lérida" descr="{&quot;Key&quot;:&quot;lérida&quot;,&quot;Name&quot;:&quot;Lérida&quot;,&quot;Value&quot;:1.0,&quot;Formula&quot;:&quot;&quot;,&quot;Text&quot;:&quot;1&quot;,&quot;HasValue&quot;:true}">
              <a:extLst>
                <a:ext uri="{FF2B5EF4-FFF2-40B4-BE49-F238E27FC236}">
                  <a16:creationId xmlns:a16="http://schemas.microsoft.com/office/drawing/2014/main" id="{98EA2152-A82A-0EB6-FF52-816064139A31}"/>
                </a:ext>
              </a:extLst>
            </p:cNvPr>
            <p:cNvSpPr>
              <a:spLocks/>
            </p:cNvSpPr>
            <p:nvPr/>
          </p:nvSpPr>
          <p:spPr bwMode="auto">
            <a:xfrm>
              <a:off x="4838801" y="2427222"/>
              <a:ext cx="580876" cy="833062"/>
            </a:xfrm>
            <a:custGeom>
              <a:avLst/>
              <a:gdLst>
                <a:gd name="T0" fmla="*/ 823 w 843"/>
                <a:gd name="T1" fmla="*/ 323 h 1205"/>
                <a:gd name="T2" fmla="*/ 841 w 843"/>
                <a:gd name="T3" fmla="*/ 379 h 1205"/>
                <a:gd name="T4" fmla="*/ 754 w 843"/>
                <a:gd name="T5" fmla="*/ 450 h 1205"/>
                <a:gd name="T6" fmla="*/ 784 w 843"/>
                <a:gd name="T7" fmla="*/ 504 h 1205"/>
                <a:gd name="T8" fmla="*/ 768 w 843"/>
                <a:gd name="T9" fmla="*/ 539 h 1205"/>
                <a:gd name="T10" fmla="*/ 758 w 843"/>
                <a:gd name="T11" fmla="*/ 576 h 1205"/>
                <a:gd name="T12" fmla="*/ 740 w 843"/>
                <a:gd name="T13" fmla="*/ 627 h 1205"/>
                <a:gd name="T14" fmla="*/ 768 w 843"/>
                <a:gd name="T15" fmla="*/ 634 h 1205"/>
                <a:gd name="T16" fmla="*/ 743 w 843"/>
                <a:gd name="T17" fmla="*/ 658 h 1205"/>
                <a:gd name="T18" fmla="*/ 717 w 843"/>
                <a:gd name="T19" fmla="*/ 723 h 1205"/>
                <a:gd name="T20" fmla="*/ 677 w 843"/>
                <a:gd name="T21" fmla="*/ 812 h 1205"/>
                <a:gd name="T22" fmla="*/ 622 w 843"/>
                <a:gd name="T23" fmla="*/ 784 h 1205"/>
                <a:gd name="T24" fmla="*/ 619 w 843"/>
                <a:gd name="T25" fmla="*/ 901 h 1205"/>
                <a:gd name="T26" fmla="*/ 602 w 843"/>
                <a:gd name="T27" fmla="*/ 941 h 1205"/>
                <a:gd name="T28" fmla="*/ 469 w 843"/>
                <a:gd name="T29" fmla="*/ 994 h 1205"/>
                <a:gd name="T30" fmla="*/ 415 w 843"/>
                <a:gd name="T31" fmla="*/ 1020 h 1205"/>
                <a:gd name="T32" fmla="*/ 389 w 843"/>
                <a:gd name="T33" fmla="*/ 1078 h 1205"/>
                <a:gd name="T34" fmla="*/ 303 w 843"/>
                <a:gd name="T35" fmla="*/ 1124 h 1205"/>
                <a:gd name="T36" fmla="*/ 268 w 843"/>
                <a:gd name="T37" fmla="*/ 1133 h 1205"/>
                <a:gd name="T38" fmla="*/ 133 w 843"/>
                <a:gd name="T39" fmla="*/ 1138 h 1205"/>
                <a:gd name="T40" fmla="*/ 104 w 843"/>
                <a:gd name="T41" fmla="*/ 1164 h 1205"/>
                <a:gd name="T42" fmla="*/ 68 w 843"/>
                <a:gd name="T43" fmla="*/ 1133 h 1205"/>
                <a:gd name="T44" fmla="*/ 17 w 843"/>
                <a:gd name="T45" fmla="*/ 1171 h 1205"/>
                <a:gd name="T46" fmla="*/ 3 w 843"/>
                <a:gd name="T47" fmla="*/ 1104 h 1205"/>
                <a:gd name="T48" fmla="*/ 15 w 843"/>
                <a:gd name="T49" fmla="*/ 1024 h 1205"/>
                <a:gd name="T50" fmla="*/ 62 w 843"/>
                <a:gd name="T51" fmla="*/ 983 h 1205"/>
                <a:gd name="T52" fmla="*/ 59 w 843"/>
                <a:gd name="T53" fmla="*/ 945 h 1205"/>
                <a:gd name="T54" fmla="*/ 19 w 843"/>
                <a:gd name="T55" fmla="*/ 933 h 1205"/>
                <a:gd name="T56" fmla="*/ 12 w 843"/>
                <a:gd name="T57" fmla="*/ 864 h 1205"/>
                <a:gd name="T58" fmla="*/ 47 w 843"/>
                <a:gd name="T59" fmla="*/ 820 h 1205"/>
                <a:gd name="T60" fmla="*/ 97 w 843"/>
                <a:gd name="T61" fmla="*/ 779 h 1205"/>
                <a:gd name="T62" fmla="*/ 130 w 843"/>
                <a:gd name="T63" fmla="*/ 751 h 1205"/>
                <a:gd name="T64" fmla="*/ 143 w 843"/>
                <a:gd name="T65" fmla="*/ 694 h 1205"/>
                <a:gd name="T66" fmla="*/ 154 w 843"/>
                <a:gd name="T67" fmla="*/ 664 h 1205"/>
                <a:gd name="T68" fmla="*/ 185 w 843"/>
                <a:gd name="T69" fmla="*/ 626 h 1205"/>
                <a:gd name="T70" fmla="*/ 209 w 843"/>
                <a:gd name="T71" fmla="*/ 554 h 1205"/>
                <a:gd name="T72" fmla="*/ 215 w 843"/>
                <a:gd name="T73" fmla="*/ 490 h 1205"/>
                <a:gd name="T74" fmla="*/ 234 w 843"/>
                <a:gd name="T75" fmla="*/ 420 h 1205"/>
                <a:gd name="T76" fmla="*/ 235 w 843"/>
                <a:gd name="T77" fmla="*/ 344 h 1205"/>
                <a:gd name="T78" fmla="*/ 215 w 843"/>
                <a:gd name="T79" fmla="*/ 290 h 1205"/>
                <a:gd name="T80" fmla="*/ 222 w 843"/>
                <a:gd name="T81" fmla="*/ 264 h 1205"/>
                <a:gd name="T82" fmla="*/ 235 w 843"/>
                <a:gd name="T83" fmla="*/ 226 h 1205"/>
                <a:gd name="T84" fmla="*/ 239 w 843"/>
                <a:gd name="T85" fmla="*/ 175 h 1205"/>
                <a:gd name="T86" fmla="*/ 195 w 843"/>
                <a:gd name="T87" fmla="*/ 119 h 1205"/>
                <a:gd name="T88" fmla="*/ 173 w 843"/>
                <a:gd name="T89" fmla="*/ 76 h 1205"/>
                <a:gd name="T90" fmla="*/ 185 w 843"/>
                <a:gd name="T91" fmla="*/ 6 h 1205"/>
                <a:gd name="T92" fmla="*/ 263 w 843"/>
                <a:gd name="T93" fmla="*/ 9 h 1205"/>
                <a:gd name="T94" fmla="*/ 332 w 843"/>
                <a:gd name="T95" fmla="*/ 46 h 1205"/>
                <a:gd name="T96" fmla="*/ 367 w 843"/>
                <a:gd name="T97" fmla="*/ 50 h 1205"/>
                <a:gd name="T98" fmla="*/ 450 w 843"/>
                <a:gd name="T99" fmla="*/ 99 h 1205"/>
                <a:gd name="T100" fmla="*/ 563 w 843"/>
                <a:gd name="T101" fmla="*/ 115 h 1205"/>
                <a:gd name="T102" fmla="*/ 605 w 843"/>
                <a:gd name="T103" fmla="*/ 179 h 1205"/>
                <a:gd name="T104" fmla="*/ 603 w 843"/>
                <a:gd name="T105" fmla="*/ 230 h 1205"/>
                <a:gd name="T106" fmla="*/ 602 w 843"/>
                <a:gd name="T107" fmla="*/ 271 h 1205"/>
                <a:gd name="T108" fmla="*/ 668 w 843"/>
                <a:gd name="T109" fmla="*/ 311 h 1205"/>
                <a:gd name="T110" fmla="*/ 742 w 843"/>
                <a:gd name="T111" fmla="*/ 264 h 1205"/>
                <a:gd name="T112" fmla="*/ 770 w 843"/>
                <a:gd name="T113" fmla="*/ 2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43" h="1205">
                  <a:moveTo>
                    <a:pt x="771" y="266"/>
                  </a:moveTo>
                  <a:lnTo>
                    <a:pt x="772" y="279"/>
                  </a:lnTo>
                  <a:lnTo>
                    <a:pt x="774" y="290"/>
                  </a:lnTo>
                  <a:lnTo>
                    <a:pt x="779" y="301"/>
                  </a:lnTo>
                  <a:lnTo>
                    <a:pt x="788" y="309"/>
                  </a:lnTo>
                  <a:lnTo>
                    <a:pt x="823" y="323"/>
                  </a:lnTo>
                  <a:lnTo>
                    <a:pt x="826" y="326"/>
                  </a:lnTo>
                  <a:lnTo>
                    <a:pt x="826" y="349"/>
                  </a:lnTo>
                  <a:lnTo>
                    <a:pt x="828" y="355"/>
                  </a:lnTo>
                  <a:lnTo>
                    <a:pt x="838" y="367"/>
                  </a:lnTo>
                  <a:lnTo>
                    <a:pt x="839" y="374"/>
                  </a:lnTo>
                  <a:lnTo>
                    <a:pt x="841" y="379"/>
                  </a:lnTo>
                  <a:lnTo>
                    <a:pt x="838" y="391"/>
                  </a:lnTo>
                  <a:lnTo>
                    <a:pt x="843" y="406"/>
                  </a:lnTo>
                  <a:lnTo>
                    <a:pt x="772" y="420"/>
                  </a:lnTo>
                  <a:lnTo>
                    <a:pt x="756" y="440"/>
                  </a:lnTo>
                  <a:lnTo>
                    <a:pt x="754" y="444"/>
                  </a:lnTo>
                  <a:lnTo>
                    <a:pt x="754" y="450"/>
                  </a:lnTo>
                  <a:lnTo>
                    <a:pt x="758" y="477"/>
                  </a:lnTo>
                  <a:lnTo>
                    <a:pt x="761" y="483"/>
                  </a:lnTo>
                  <a:lnTo>
                    <a:pt x="764" y="485"/>
                  </a:lnTo>
                  <a:lnTo>
                    <a:pt x="782" y="494"/>
                  </a:lnTo>
                  <a:lnTo>
                    <a:pt x="783" y="498"/>
                  </a:lnTo>
                  <a:lnTo>
                    <a:pt x="784" y="504"/>
                  </a:lnTo>
                  <a:lnTo>
                    <a:pt x="784" y="510"/>
                  </a:lnTo>
                  <a:lnTo>
                    <a:pt x="782" y="516"/>
                  </a:lnTo>
                  <a:lnTo>
                    <a:pt x="779" y="521"/>
                  </a:lnTo>
                  <a:lnTo>
                    <a:pt x="773" y="525"/>
                  </a:lnTo>
                  <a:lnTo>
                    <a:pt x="768" y="533"/>
                  </a:lnTo>
                  <a:lnTo>
                    <a:pt x="768" y="539"/>
                  </a:lnTo>
                  <a:lnTo>
                    <a:pt x="772" y="558"/>
                  </a:lnTo>
                  <a:lnTo>
                    <a:pt x="770" y="564"/>
                  </a:lnTo>
                  <a:lnTo>
                    <a:pt x="768" y="567"/>
                  </a:lnTo>
                  <a:lnTo>
                    <a:pt x="760" y="570"/>
                  </a:lnTo>
                  <a:lnTo>
                    <a:pt x="758" y="573"/>
                  </a:lnTo>
                  <a:lnTo>
                    <a:pt x="758" y="576"/>
                  </a:lnTo>
                  <a:lnTo>
                    <a:pt x="759" y="590"/>
                  </a:lnTo>
                  <a:lnTo>
                    <a:pt x="759" y="597"/>
                  </a:lnTo>
                  <a:lnTo>
                    <a:pt x="758" y="605"/>
                  </a:lnTo>
                  <a:lnTo>
                    <a:pt x="754" y="611"/>
                  </a:lnTo>
                  <a:lnTo>
                    <a:pt x="742" y="622"/>
                  </a:lnTo>
                  <a:lnTo>
                    <a:pt x="740" y="627"/>
                  </a:lnTo>
                  <a:lnTo>
                    <a:pt x="742" y="634"/>
                  </a:lnTo>
                  <a:lnTo>
                    <a:pt x="744" y="636"/>
                  </a:lnTo>
                  <a:lnTo>
                    <a:pt x="747" y="637"/>
                  </a:lnTo>
                  <a:lnTo>
                    <a:pt x="761" y="631"/>
                  </a:lnTo>
                  <a:lnTo>
                    <a:pt x="764" y="631"/>
                  </a:lnTo>
                  <a:lnTo>
                    <a:pt x="768" y="634"/>
                  </a:lnTo>
                  <a:lnTo>
                    <a:pt x="772" y="639"/>
                  </a:lnTo>
                  <a:lnTo>
                    <a:pt x="773" y="645"/>
                  </a:lnTo>
                  <a:lnTo>
                    <a:pt x="770" y="651"/>
                  </a:lnTo>
                  <a:lnTo>
                    <a:pt x="767" y="655"/>
                  </a:lnTo>
                  <a:lnTo>
                    <a:pt x="760" y="659"/>
                  </a:lnTo>
                  <a:lnTo>
                    <a:pt x="743" y="658"/>
                  </a:lnTo>
                  <a:lnTo>
                    <a:pt x="738" y="660"/>
                  </a:lnTo>
                  <a:lnTo>
                    <a:pt x="734" y="665"/>
                  </a:lnTo>
                  <a:lnTo>
                    <a:pt x="733" y="670"/>
                  </a:lnTo>
                  <a:lnTo>
                    <a:pt x="732" y="689"/>
                  </a:lnTo>
                  <a:lnTo>
                    <a:pt x="717" y="714"/>
                  </a:lnTo>
                  <a:lnTo>
                    <a:pt x="717" y="723"/>
                  </a:lnTo>
                  <a:lnTo>
                    <a:pt x="727" y="749"/>
                  </a:lnTo>
                  <a:lnTo>
                    <a:pt x="727" y="756"/>
                  </a:lnTo>
                  <a:lnTo>
                    <a:pt x="725" y="764"/>
                  </a:lnTo>
                  <a:lnTo>
                    <a:pt x="687" y="809"/>
                  </a:lnTo>
                  <a:lnTo>
                    <a:pt x="682" y="812"/>
                  </a:lnTo>
                  <a:lnTo>
                    <a:pt x="677" y="812"/>
                  </a:lnTo>
                  <a:lnTo>
                    <a:pt x="663" y="800"/>
                  </a:lnTo>
                  <a:lnTo>
                    <a:pt x="658" y="799"/>
                  </a:lnTo>
                  <a:lnTo>
                    <a:pt x="643" y="802"/>
                  </a:lnTo>
                  <a:lnTo>
                    <a:pt x="638" y="800"/>
                  </a:lnTo>
                  <a:lnTo>
                    <a:pt x="628" y="786"/>
                  </a:lnTo>
                  <a:lnTo>
                    <a:pt x="622" y="784"/>
                  </a:lnTo>
                  <a:lnTo>
                    <a:pt x="615" y="784"/>
                  </a:lnTo>
                  <a:lnTo>
                    <a:pt x="609" y="787"/>
                  </a:lnTo>
                  <a:lnTo>
                    <a:pt x="604" y="792"/>
                  </a:lnTo>
                  <a:lnTo>
                    <a:pt x="603" y="798"/>
                  </a:lnTo>
                  <a:lnTo>
                    <a:pt x="602" y="856"/>
                  </a:lnTo>
                  <a:lnTo>
                    <a:pt x="619" y="901"/>
                  </a:lnTo>
                  <a:lnTo>
                    <a:pt x="618" y="906"/>
                  </a:lnTo>
                  <a:lnTo>
                    <a:pt x="592" y="913"/>
                  </a:lnTo>
                  <a:lnTo>
                    <a:pt x="583" y="919"/>
                  </a:lnTo>
                  <a:lnTo>
                    <a:pt x="580" y="931"/>
                  </a:lnTo>
                  <a:lnTo>
                    <a:pt x="590" y="934"/>
                  </a:lnTo>
                  <a:lnTo>
                    <a:pt x="602" y="941"/>
                  </a:lnTo>
                  <a:lnTo>
                    <a:pt x="593" y="953"/>
                  </a:lnTo>
                  <a:lnTo>
                    <a:pt x="582" y="959"/>
                  </a:lnTo>
                  <a:lnTo>
                    <a:pt x="490" y="954"/>
                  </a:lnTo>
                  <a:lnTo>
                    <a:pt x="483" y="959"/>
                  </a:lnTo>
                  <a:lnTo>
                    <a:pt x="474" y="975"/>
                  </a:lnTo>
                  <a:lnTo>
                    <a:pt x="469" y="994"/>
                  </a:lnTo>
                  <a:lnTo>
                    <a:pt x="470" y="1011"/>
                  </a:lnTo>
                  <a:lnTo>
                    <a:pt x="468" y="1018"/>
                  </a:lnTo>
                  <a:lnTo>
                    <a:pt x="463" y="1023"/>
                  </a:lnTo>
                  <a:lnTo>
                    <a:pt x="448" y="1028"/>
                  </a:lnTo>
                  <a:lnTo>
                    <a:pt x="440" y="1028"/>
                  </a:lnTo>
                  <a:lnTo>
                    <a:pt x="415" y="1020"/>
                  </a:lnTo>
                  <a:lnTo>
                    <a:pt x="412" y="1023"/>
                  </a:lnTo>
                  <a:lnTo>
                    <a:pt x="410" y="1026"/>
                  </a:lnTo>
                  <a:lnTo>
                    <a:pt x="410" y="1039"/>
                  </a:lnTo>
                  <a:lnTo>
                    <a:pt x="410" y="1044"/>
                  </a:lnTo>
                  <a:lnTo>
                    <a:pt x="400" y="1063"/>
                  </a:lnTo>
                  <a:lnTo>
                    <a:pt x="389" y="1078"/>
                  </a:lnTo>
                  <a:lnTo>
                    <a:pt x="369" y="1083"/>
                  </a:lnTo>
                  <a:lnTo>
                    <a:pt x="365" y="1088"/>
                  </a:lnTo>
                  <a:lnTo>
                    <a:pt x="358" y="1108"/>
                  </a:lnTo>
                  <a:lnTo>
                    <a:pt x="352" y="1115"/>
                  </a:lnTo>
                  <a:lnTo>
                    <a:pt x="308" y="1125"/>
                  </a:lnTo>
                  <a:lnTo>
                    <a:pt x="303" y="1124"/>
                  </a:lnTo>
                  <a:lnTo>
                    <a:pt x="288" y="1114"/>
                  </a:lnTo>
                  <a:lnTo>
                    <a:pt x="283" y="1113"/>
                  </a:lnTo>
                  <a:lnTo>
                    <a:pt x="280" y="1114"/>
                  </a:lnTo>
                  <a:lnTo>
                    <a:pt x="278" y="1118"/>
                  </a:lnTo>
                  <a:lnTo>
                    <a:pt x="274" y="1125"/>
                  </a:lnTo>
                  <a:lnTo>
                    <a:pt x="268" y="1133"/>
                  </a:lnTo>
                  <a:lnTo>
                    <a:pt x="242" y="1133"/>
                  </a:lnTo>
                  <a:lnTo>
                    <a:pt x="229" y="1143"/>
                  </a:lnTo>
                  <a:lnTo>
                    <a:pt x="165" y="1156"/>
                  </a:lnTo>
                  <a:lnTo>
                    <a:pt x="152" y="1154"/>
                  </a:lnTo>
                  <a:lnTo>
                    <a:pt x="138" y="1140"/>
                  </a:lnTo>
                  <a:lnTo>
                    <a:pt x="133" y="1138"/>
                  </a:lnTo>
                  <a:lnTo>
                    <a:pt x="128" y="1140"/>
                  </a:lnTo>
                  <a:lnTo>
                    <a:pt x="124" y="1144"/>
                  </a:lnTo>
                  <a:lnTo>
                    <a:pt x="120" y="1156"/>
                  </a:lnTo>
                  <a:lnTo>
                    <a:pt x="115" y="1161"/>
                  </a:lnTo>
                  <a:lnTo>
                    <a:pt x="110" y="1164"/>
                  </a:lnTo>
                  <a:lnTo>
                    <a:pt x="104" y="1164"/>
                  </a:lnTo>
                  <a:lnTo>
                    <a:pt x="98" y="1161"/>
                  </a:lnTo>
                  <a:lnTo>
                    <a:pt x="94" y="1156"/>
                  </a:lnTo>
                  <a:lnTo>
                    <a:pt x="83" y="1135"/>
                  </a:lnTo>
                  <a:lnTo>
                    <a:pt x="78" y="1131"/>
                  </a:lnTo>
                  <a:lnTo>
                    <a:pt x="73" y="1130"/>
                  </a:lnTo>
                  <a:lnTo>
                    <a:pt x="68" y="1133"/>
                  </a:lnTo>
                  <a:lnTo>
                    <a:pt x="64" y="1138"/>
                  </a:lnTo>
                  <a:lnTo>
                    <a:pt x="62" y="1174"/>
                  </a:lnTo>
                  <a:lnTo>
                    <a:pt x="35" y="1171"/>
                  </a:lnTo>
                  <a:lnTo>
                    <a:pt x="20" y="1205"/>
                  </a:lnTo>
                  <a:lnTo>
                    <a:pt x="18" y="1188"/>
                  </a:lnTo>
                  <a:lnTo>
                    <a:pt x="17" y="1171"/>
                  </a:lnTo>
                  <a:lnTo>
                    <a:pt x="30" y="1140"/>
                  </a:lnTo>
                  <a:lnTo>
                    <a:pt x="28" y="1128"/>
                  </a:lnTo>
                  <a:lnTo>
                    <a:pt x="24" y="1118"/>
                  </a:lnTo>
                  <a:lnTo>
                    <a:pt x="17" y="1110"/>
                  </a:lnTo>
                  <a:lnTo>
                    <a:pt x="7" y="1105"/>
                  </a:lnTo>
                  <a:lnTo>
                    <a:pt x="3" y="1104"/>
                  </a:lnTo>
                  <a:lnTo>
                    <a:pt x="0" y="1089"/>
                  </a:lnTo>
                  <a:lnTo>
                    <a:pt x="9" y="1078"/>
                  </a:lnTo>
                  <a:lnTo>
                    <a:pt x="14" y="1058"/>
                  </a:lnTo>
                  <a:lnTo>
                    <a:pt x="15" y="1043"/>
                  </a:lnTo>
                  <a:lnTo>
                    <a:pt x="14" y="1029"/>
                  </a:lnTo>
                  <a:lnTo>
                    <a:pt x="15" y="1024"/>
                  </a:lnTo>
                  <a:lnTo>
                    <a:pt x="22" y="1019"/>
                  </a:lnTo>
                  <a:lnTo>
                    <a:pt x="38" y="1014"/>
                  </a:lnTo>
                  <a:lnTo>
                    <a:pt x="43" y="1010"/>
                  </a:lnTo>
                  <a:lnTo>
                    <a:pt x="48" y="1000"/>
                  </a:lnTo>
                  <a:lnTo>
                    <a:pt x="50" y="996"/>
                  </a:lnTo>
                  <a:lnTo>
                    <a:pt x="62" y="983"/>
                  </a:lnTo>
                  <a:lnTo>
                    <a:pt x="64" y="979"/>
                  </a:lnTo>
                  <a:lnTo>
                    <a:pt x="65" y="974"/>
                  </a:lnTo>
                  <a:lnTo>
                    <a:pt x="64" y="968"/>
                  </a:lnTo>
                  <a:lnTo>
                    <a:pt x="62" y="963"/>
                  </a:lnTo>
                  <a:lnTo>
                    <a:pt x="59" y="956"/>
                  </a:lnTo>
                  <a:lnTo>
                    <a:pt x="59" y="945"/>
                  </a:lnTo>
                  <a:lnTo>
                    <a:pt x="57" y="939"/>
                  </a:lnTo>
                  <a:lnTo>
                    <a:pt x="52" y="938"/>
                  </a:lnTo>
                  <a:lnTo>
                    <a:pt x="47" y="936"/>
                  </a:lnTo>
                  <a:lnTo>
                    <a:pt x="40" y="938"/>
                  </a:lnTo>
                  <a:lnTo>
                    <a:pt x="24" y="935"/>
                  </a:lnTo>
                  <a:lnTo>
                    <a:pt x="19" y="933"/>
                  </a:lnTo>
                  <a:lnTo>
                    <a:pt x="17" y="929"/>
                  </a:lnTo>
                  <a:lnTo>
                    <a:pt x="14" y="923"/>
                  </a:lnTo>
                  <a:lnTo>
                    <a:pt x="12" y="906"/>
                  </a:lnTo>
                  <a:lnTo>
                    <a:pt x="4" y="888"/>
                  </a:lnTo>
                  <a:lnTo>
                    <a:pt x="3" y="876"/>
                  </a:lnTo>
                  <a:lnTo>
                    <a:pt x="12" y="864"/>
                  </a:lnTo>
                  <a:lnTo>
                    <a:pt x="24" y="853"/>
                  </a:lnTo>
                  <a:lnTo>
                    <a:pt x="32" y="840"/>
                  </a:lnTo>
                  <a:lnTo>
                    <a:pt x="35" y="835"/>
                  </a:lnTo>
                  <a:lnTo>
                    <a:pt x="39" y="833"/>
                  </a:lnTo>
                  <a:lnTo>
                    <a:pt x="40" y="827"/>
                  </a:lnTo>
                  <a:lnTo>
                    <a:pt x="47" y="820"/>
                  </a:lnTo>
                  <a:lnTo>
                    <a:pt x="54" y="816"/>
                  </a:lnTo>
                  <a:lnTo>
                    <a:pt x="73" y="813"/>
                  </a:lnTo>
                  <a:lnTo>
                    <a:pt x="79" y="809"/>
                  </a:lnTo>
                  <a:lnTo>
                    <a:pt x="83" y="803"/>
                  </a:lnTo>
                  <a:lnTo>
                    <a:pt x="89" y="791"/>
                  </a:lnTo>
                  <a:lnTo>
                    <a:pt x="97" y="779"/>
                  </a:lnTo>
                  <a:lnTo>
                    <a:pt x="102" y="773"/>
                  </a:lnTo>
                  <a:lnTo>
                    <a:pt x="107" y="771"/>
                  </a:lnTo>
                  <a:lnTo>
                    <a:pt x="117" y="769"/>
                  </a:lnTo>
                  <a:lnTo>
                    <a:pt x="122" y="765"/>
                  </a:lnTo>
                  <a:lnTo>
                    <a:pt x="125" y="760"/>
                  </a:lnTo>
                  <a:lnTo>
                    <a:pt x="130" y="751"/>
                  </a:lnTo>
                  <a:lnTo>
                    <a:pt x="143" y="744"/>
                  </a:lnTo>
                  <a:lnTo>
                    <a:pt x="150" y="735"/>
                  </a:lnTo>
                  <a:lnTo>
                    <a:pt x="153" y="730"/>
                  </a:lnTo>
                  <a:lnTo>
                    <a:pt x="152" y="705"/>
                  </a:lnTo>
                  <a:lnTo>
                    <a:pt x="148" y="696"/>
                  </a:lnTo>
                  <a:lnTo>
                    <a:pt x="143" y="694"/>
                  </a:lnTo>
                  <a:lnTo>
                    <a:pt x="135" y="686"/>
                  </a:lnTo>
                  <a:lnTo>
                    <a:pt x="135" y="681"/>
                  </a:lnTo>
                  <a:lnTo>
                    <a:pt x="140" y="672"/>
                  </a:lnTo>
                  <a:lnTo>
                    <a:pt x="145" y="669"/>
                  </a:lnTo>
                  <a:lnTo>
                    <a:pt x="150" y="665"/>
                  </a:lnTo>
                  <a:lnTo>
                    <a:pt x="154" y="664"/>
                  </a:lnTo>
                  <a:lnTo>
                    <a:pt x="160" y="659"/>
                  </a:lnTo>
                  <a:lnTo>
                    <a:pt x="164" y="651"/>
                  </a:lnTo>
                  <a:lnTo>
                    <a:pt x="172" y="644"/>
                  </a:lnTo>
                  <a:lnTo>
                    <a:pt x="178" y="641"/>
                  </a:lnTo>
                  <a:lnTo>
                    <a:pt x="183" y="635"/>
                  </a:lnTo>
                  <a:lnTo>
                    <a:pt x="185" y="626"/>
                  </a:lnTo>
                  <a:lnTo>
                    <a:pt x="184" y="616"/>
                  </a:lnTo>
                  <a:lnTo>
                    <a:pt x="192" y="599"/>
                  </a:lnTo>
                  <a:lnTo>
                    <a:pt x="200" y="569"/>
                  </a:lnTo>
                  <a:lnTo>
                    <a:pt x="200" y="565"/>
                  </a:lnTo>
                  <a:lnTo>
                    <a:pt x="205" y="561"/>
                  </a:lnTo>
                  <a:lnTo>
                    <a:pt x="209" y="554"/>
                  </a:lnTo>
                  <a:lnTo>
                    <a:pt x="210" y="546"/>
                  </a:lnTo>
                  <a:lnTo>
                    <a:pt x="213" y="530"/>
                  </a:lnTo>
                  <a:lnTo>
                    <a:pt x="214" y="523"/>
                  </a:lnTo>
                  <a:lnTo>
                    <a:pt x="212" y="510"/>
                  </a:lnTo>
                  <a:lnTo>
                    <a:pt x="214" y="495"/>
                  </a:lnTo>
                  <a:lnTo>
                    <a:pt x="215" y="490"/>
                  </a:lnTo>
                  <a:lnTo>
                    <a:pt x="220" y="466"/>
                  </a:lnTo>
                  <a:lnTo>
                    <a:pt x="222" y="463"/>
                  </a:lnTo>
                  <a:lnTo>
                    <a:pt x="228" y="453"/>
                  </a:lnTo>
                  <a:lnTo>
                    <a:pt x="233" y="439"/>
                  </a:lnTo>
                  <a:lnTo>
                    <a:pt x="233" y="434"/>
                  </a:lnTo>
                  <a:lnTo>
                    <a:pt x="234" y="420"/>
                  </a:lnTo>
                  <a:lnTo>
                    <a:pt x="234" y="410"/>
                  </a:lnTo>
                  <a:lnTo>
                    <a:pt x="234" y="406"/>
                  </a:lnTo>
                  <a:lnTo>
                    <a:pt x="237" y="398"/>
                  </a:lnTo>
                  <a:lnTo>
                    <a:pt x="238" y="390"/>
                  </a:lnTo>
                  <a:lnTo>
                    <a:pt x="238" y="375"/>
                  </a:lnTo>
                  <a:lnTo>
                    <a:pt x="235" y="344"/>
                  </a:lnTo>
                  <a:lnTo>
                    <a:pt x="230" y="325"/>
                  </a:lnTo>
                  <a:lnTo>
                    <a:pt x="228" y="316"/>
                  </a:lnTo>
                  <a:lnTo>
                    <a:pt x="224" y="311"/>
                  </a:lnTo>
                  <a:lnTo>
                    <a:pt x="218" y="304"/>
                  </a:lnTo>
                  <a:lnTo>
                    <a:pt x="215" y="299"/>
                  </a:lnTo>
                  <a:lnTo>
                    <a:pt x="215" y="290"/>
                  </a:lnTo>
                  <a:lnTo>
                    <a:pt x="214" y="285"/>
                  </a:lnTo>
                  <a:lnTo>
                    <a:pt x="212" y="279"/>
                  </a:lnTo>
                  <a:lnTo>
                    <a:pt x="210" y="272"/>
                  </a:lnTo>
                  <a:lnTo>
                    <a:pt x="212" y="266"/>
                  </a:lnTo>
                  <a:lnTo>
                    <a:pt x="215" y="264"/>
                  </a:lnTo>
                  <a:lnTo>
                    <a:pt x="222" y="264"/>
                  </a:lnTo>
                  <a:lnTo>
                    <a:pt x="225" y="261"/>
                  </a:lnTo>
                  <a:lnTo>
                    <a:pt x="228" y="255"/>
                  </a:lnTo>
                  <a:lnTo>
                    <a:pt x="227" y="246"/>
                  </a:lnTo>
                  <a:lnTo>
                    <a:pt x="230" y="235"/>
                  </a:lnTo>
                  <a:lnTo>
                    <a:pt x="233" y="232"/>
                  </a:lnTo>
                  <a:lnTo>
                    <a:pt x="235" y="226"/>
                  </a:lnTo>
                  <a:lnTo>
                    <a:pt x="240" y="215"/>
                  </a:lnTo>
                  <a:lnTo>
                    <a:pt x="243" y="209"/>
                  </a:lnTo>
                  <a:lnTo>
                    <a:pt x="245" y="190"/>
                  </a:lnTo>
                  <a:lnTo>
                    <a:pt x="248" y="185"/>
                  </a:lnTo>
                  <a:lnTo>
                    <a:pt x="245" y="179"/>
                  </a:lnTo>
                  <a:lnTo>
                    <a:pt x="239" y="175"/>
                  </a:lnTo>
                  <a:lnTo>
                    <a:pt x="228" y="172"/>
                  </a:lnTo>
                  <a:lnTo>
                    <a:pt x="223" y="170"/>
                  </a:lnTo>
                  <a:lnTo>
                    <a:pt x="218" y="166"/>
                  </a:lnTo>
                  <a:lnTo>
                    <a:pt x="214" y="160"/>
                  </a:lnTo>
                  <a:lnTo>
                    <a:pt x="207" y="139"/>
                  </a:lnTo>
                  <a:lnTo>
                    <a:pt x="195" y="119"/>
                  </a:lnTo>
                  <a:lnTo>
                    <a:pt x="189" y="114"/>
                  </a:lnTo>
                  <a:lnTo>
                    <a:pt x="190" y="111"/>
                  </a:lnTo>
                  <a:lnTo>
                    <a:pt x="190" y="99"/>
                  </a:lnTo>
                  <a:lnTo>
                    <a:pt x="187" y="87"/>
                  </a:lnTo>
                  <a:lnTo>
                    <a:pt x="180" y="80"/>
                  </a:lnTo>
                  <a:lnTo>
                    <a:pt x="173" y="76"/>
                  </a:lnTo>
                  <a:lnTo>
                    <a:pt x="178" y="66"/>
                  </a:lnTo>
                  <a:lnTo>
                    <a:pt x="182" y="62"/>
                  </a:lnTo>
                  <a:lnTo>
                    <a:pt x="175" y="54"/>
                  </a:lnTo>
                  <a:lnTo>
                    <a:pt x="184" y="32"/>
                  </a:lnTo>
                  <a:lnTo>
                    <a:pt x="183" y="16"/>
                  </a:lnTo>
                  <a:lnTo>
                    <a:pt x="185" y="6"/>
                  </a:lnTo>
                  <a:lnTo>
                    <a:pt x="198" y="1"/>
                  </a:lnTo>
                  <a:lnTo>
                    <a:pt x="213" y="0"/>
                  </a:lnTo>
                  <a:lnTo>
                    <a:pt x="223" y="0"/>
                  </a:lnTo>
                  <a:lnTo>
                    <a:pt x="242" y="9"/>
                  </a:lnTo>
                  <a:lnTo>
                    <a:pt x="252" y="10"/>
                  </a:lnTo>
                  <a:lnTo>
                    <a:pt x="263" y="9"/>
                  </a:lnTo>
                  <a:lnTo>
                    <a:pt x="272" y="11"/>
                  </a:lnTo>
                  <a:lnTo>
                    <a:pt x="295" y="25"/>
                  </a:lnTo>
                  <a:lnTo>
                    <a:pt x="312" y="31"/>
                  </a:lnTo>
                  <a:lnTo>
                    <a:pt x="317" y="35"/>
                  </a:lnTo>
                  <a:lnTo>
                    <a:pt x="325" y="44"/>
                  </a:lnTo>
                  <a:lnTo>
                    <a:pt x="332" y="46"/>
                  </a:lnTo>
                  <a:lnTo>
                    <a:pt x="337" y="44"/>
                  </a:lnTo>
                  <a:lnTo>
                    <a:pt x="343" y="40"/>
                  </a:lnTo>
                  <a:lnTo>
                    <a:pt x="348" y="37"/>
                  </a:lnTo>
                  <a:lnTo>
                    <a:pt x="353" y="40"/>
                  </a:lnTo>
                  <a:lnTo>
                    <a:pt x="362" y="47"/>
                  </a:lnTo>
                  <a:lnTo>
                    <a:pt x="367" y="50"/>
                  </a:lnTo>
                  <a:lnTo>
                    <a:pt x="413" y="52"/>
                  </a:lnTo>
                  <a:lnTo>
                    <a:pt x="425" y="56"/>
                  </a:lnTo>
                  <a:lnTo>
                    <a:pt x="434" y="65"/>
                  </a:lnTo>
                  <a:lnTo>
                    <a:pt x="440" y="76"/>
                  </a:lnTo>
                  <a:lnTo>
                    <a:pt x="444" y="88"/>
                  </a:lnTo>
                  <a:lnTo>
                    <a:pt x="450" y="99"/>
                  </a:lnTo>
                  <a:lnTo>
                    <a:pt x="459" y="105"/>
                  </a:lnTo>
                  <a:lnTo>
                    <a:pt x="465" y="106"/>
                  </a:lnTo>
                  <a:lnTo>
                    <a:pt x="484" y="100"/>
                  </a:lnTo>
                  <a:lnTo>
                    <a:pt x="553" y="100"/>
                  </a:lnTo>
                  <a:lnTo>
                    <a:pt x="565" y="104"/>
                  </a:lnTo>
                  <a:lnTo>
                    <a:pt x="563" y="115"/>
                  </a:lnTo>
                  <a:lnTo>
                    <a:pt x="565" y="118"/>
                  </a:lnTo>
                  <a:lnTo>
                    <a:pt x="572" y="118"/>
                  </a:lnTo>
                  <a:lnTo>
                    <a:pt x="575" y="120"/>
                  </a:lnTo>
                  <a:lnTo>
                    <a:pt x="585" y="139"/>
                  </a:lnTo>
                  <a:lnTo>
                    <a:pt x="597" y="153"/>
                  </a:lnTo>
                  <a:lnTo>
                    <a:pt x="605" y="179"/>
                  </a:lnTo>
                  <a:lnTo>
                    <a:pt x="613" y="189"/>
                  </a:lnTo>
                  <a:lnTo>
                    <a:pt x="608" y="201"/>
                  </a:lnTo>
                  <a:lnTo>
                    <a:pt x="607" y="209"/>
                  </a:lnTo>
                  <a:lnTo>
                    <a:pt x="612" y="211"/>
                  </a:lnTo>
                  <a:lnTo>
                    <a:pt x="612" y="215"/>
                  </a:lnTo>
                  <a:lnTo>
                    <a:pt x="603" y="230"/>
                  </a:lnTo>
                  <a:lnTo>
                    <a:pt x="600" y="239"/>
                  </a:lnTo>
                  <a:lnTo>
                    <a:pt x="613" y="238"/>
                  </a:lnTo>
                  <a:lnTo>
                    <a:pt x="623" y="246"/>
                  </a:lnTo>
                  <a:lnTo>
                    <a:pt x="625" y="258"/>
                  </a:lnTo>
                  <a:lnTo>
                    <a:pt x="614" y="266"/>
                  </a:lnTo>
                  <a:lnTo>
                    <a:pt x="602" y="271"/>
                  </a:lnTo>
                  <a:lnTo>
                    <a:pt x="618" y="296"/>
                  </a:lnTo>
                  <a:lnTo>
                    <a:pt x="618" y="305"/>
                  </a:lnTo>
                  <a:lnTo>
                    <a:pt x="624" y="310"/>
                  </a:lnTo>
                  <a:lnTo>
                    <a:pt x="658" y="315"/>
                  </a:lnTo>
                  <a:lnTo>
                    <a:pt x="662" y="314"/>
                  </a:lnTo>
                  <a:lnTo>
                    <a:pt x="668" y="311"/>
                  </a:lnTo>
                  <a:lnTo>
                    <a:pt x="678" y="299"/>
                  </a:lnTo>
                  <a:lnTo>
                    <a:pt x="712" y="294"/>
                  </a:lnTo>
                  <a:lnTo>
                    <a:pt x="730" y="286"/>
                  </a:lnTo>
                  <a:lnTo>
                    <a:pt x="737" y="266"/>
                  </a:lnTo>
                  <a:lnTo>
                    <a:pt x="738" y="264"/>
                  </a:lnTo>
                  <a:lnTo>
                    <a:pt x="742" y="264"/>
                  </a:lnTo>
                  <a:lnTo>
                    <a:pt x="743" y="266"/>
                  </a:lnTo>
                  <a:lnTo>
                    <a:pt x="749" y="269"/>
                  </a:lnTo>
                  <a:lnTo>
                    <a:pt x="755" y="269"/>
                  </a:lnTo>
                  <a:lnTo>
                    <a:pt x="762" y="265"/>
                  </a:lnTo>
                  <a:lnTo>
                    <a:pt x="768" y="259"/>
                  </a:lnTo>
                  <a:lnTo>
                    <a:pt x="770" y="261"/>
                  </a:lnTo>
                  <a:lnTo>
                    <a:pt x="771" y="26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7" name="Lugo" descr="{&quot;Key&quot;:&quot;lugo&quot;,&quot;Name&quot;:&quot;Lugo&quot;,&quot;Value&quot;:1.0,&quot;Formula&quot;:&quot;&quot;,&quot;Text&quot;:&quot;1&quot;,&quot;HasValue&quot;:true}">
              <a:extLst>
                <a:ext uri="{FF2B5EF4-FFF2-40B4-BE49-F238E27FC236}">
                  <a16:creationId xmlns:a16="http://schemas.microsoft.com/office/drawing/2014/main" id="{0421229B-4491-672A-7CF3-1F31BFC8BFFA}"/>
                </a:ext>
              </a:extLst>
            </p:cNvPr>
            <p:cNvSpPr>
              <a:spLocks/>
            </p:cNvSpPr>
            <p:nvPr/>
          </p:nvSpPr>
          <p:spPr bwMode="auto">
            <a:xfrm>
              <a:off x="1656732" y="1949769"/>
              <a:ext cx="447700" cy="749472"/>
            </a:xfrm>
            <a:custGeom>
              <a:avLst/>
              <a:gdLst>
                <a:gd name="T0" fmla="*/ 501 w 649"/>
                <a:gd name="T1" fmla="*/ 240 h 1084"/>
                <a:gd name="T2" fmla="*/ 477 w 649"/>
                <a:gd name="T3" fmla="*/ 246 h 1084"/>
                <a:gd name="T4" fmla="*/ 460 w 649"/>
                <a:gd name="T5" fmla="*/ 257 h 1084"/>
                <a:gd name="T6" fmla="*/ 479 w 649"/>
                <a:gd name="T7" fmla="*/ 284 h 1084"/>
                <a:gd name="T8" fmla="*/ 486 w 649"/>
                <a:gd name="T9" fmla="*/ 318 h 1084"/>
                <a:gd name="T10" fmla="*/ 506 w 649"/>
                <a:gd name="T11" fmla="*/ 341 h 1084"/>
                <a:gd name="T12" fmla="*/ 522 w 649"/>
                <a:gd name="T13" fmla="*/ 389 h 1084"/>
                <a:gd name="T14" fmla="*/ 550 w 649"/>
                <a:gd name="T15" fmla="*/ 410 h 1084"/>
                <a:gd name="T16" fmla="*/ 574 w 649"/>
                <a:gd name="T17" fmla="*/ 426 h 1084"/>
                <a:gd name="T18" fmla="*/ 570 w 649"/>
                <a:gd name="T19" fmla="*/ 460 h 1084"/>
                <a:gd name="T20" fmla="*/ 585 w 649"/>
                <a:gd name="T21" fmla="*/ 474 h 1084"/>
                <a:gd name="T22" fmla="*/ 615 w 649"/>
                <a:gd name="T23" fmla="*/ 458 h 1084"/>
                <a:gd name="T24" fmla="*/ 624 w 649"/>
                <a:gd name="T25" fmla="*/ 442 h 1084"/>
                <a:gd name="T26" fmla="*/ 647 w 649"/>
                <a:gd name="T27" fmla="*/ 469 h 1084"/>
                <a:gd name="T28" fmla="*/ 622 w 649"/>
                <a:gd name="T29" fmla="*/ 505 h 1084"/>
                <a:gd name="T30" fmla="*/ 582 w 649"/>
                <a:gd name="T31" fmla="*/ 520 h 1084"/>
                <a:gd name="T32" fmla="*/ 570 w 649"/>
                <a:gd name="T33" fmla="*/ 545 h 1084"/>
                <a:gd name="T34" fmla="*/ 564 w 649"/>
                <a:gd name="T35" fmla="*/ 569 h 1084"/>
                <a:gd name="T36" fmla="*/ 580 w 649"/>
                <a:gd name="T37" fmla="*/ 571 h 1084"/>
                <a:gd name="T38" fmla="*/ 602 w 649"/>
                <a:gd name="T39" fmla="*/ 579 h 1084"/>
                <a:gd name="T40" fmla="*/ 640 w 649"/>
                <a:gd name="T41" fmla="*/ 596 h 1084"/>
                <a:gd name="T42" fmla="*/ 645 w 649"/>
                <a:gd name="T43" fmla="*/ 646 h 1084"/>
                <a:gd name="T44" fmla="*/ 630 w 649"/>
                <a:gd name="T45" fmla="*/ 679 h 1084"/>
                <a:gd name="T46" fmla="*/ 630 w 649"/>
                <a:gd name="T47" fmla="*/ 720 h 1084"/>
                <a:gd name="T48" fmla="*/ 588 w 649"/>
                <a:gd name="T49" fmla="*/ 766 h 1084"/>
                <a:gd name="T50" fmla="*/ 545 w 649"/>
                <a:gd name="T51" fmla="*/ 786 h 1084"/>
                <a:gd name="T52" fmla="*/ 532 w 649"/>
                <a:gd name="T53" fmla="*/ 810 h 1084"/>
                <a:gd name="T54" fmla="*/ 546 w 649"/>
                <a:gd name="T55" fmla="*/ 841 h 1084"/>
                <a:gd name="T56" fmla="*/ 532 w 649"/>
                <a:gd name="T57" fmla="*/ 857 h 1084"/>
                <a:gd name="T58" fmla="*/ 521 w 649"/>
                <a:gd name="T59" fmla="*/ 916 h 1084"/>
                <a:gd name="T60" fmla="*/ 497 w 649"/>
                <a:gd name="T61" fmla="*/ 984 h 1084"/>
                <a:gd name="T62" fmla="*/ 412 w 649"/>
                <a:gd name="T63" fmla="*/ 1022 h 1084"/>
                <a:gd name="T64" fmla="*/ 348 w 649"/>
                <a:gd name="T65" fmla="*/ 1011 h 1084"/>
                <a:gd name="T66" fmla="*/ 233 w 649"/>
                <a:gd name="T67" fmla="*/ 1021 h 1084"/>
                <a:gd name="T68" fmla="*/ 121 w 649"/>
                <a:gd name="T69" fmla="*/ 974 h 1084"/>
                <a:gd name="T70" fmla="*/ 58 w 649"/>
                <a:gd name="T71" fmla="*/ 917 h 1084"/>
                <a:gd name="T72" fmla="*/ 60 w 649"/>
                <a:gd name="T73" fmla="*/ 826 h 1084"/>
                <a:gd name="T74" fmla="*/ 66 w 649"/>
                <a:gd name="T75" fmla="*/ 785 h 1084"/>
                <a:gd name="T76" fmla="*/ 10 w 649"/>
                <a:gd name="T77" fmla="*/ 730 h 1084"/>
                <a:gd name="T78" fmla="*/ 18 w 649"/>
                <a:gd name="T79" fmla="*/ 659 h 1084"/>
                <a:gd name="T80" fmla="*/ 51 w 649"/>
                <a:gd name="T81" fmla="*/ 604 h 1084"/>
                <a:gd name="T82" fmla="*/ 37 w 649"/>
                <a:gd name="T83" fmla="*/ 516 h 1084"/>
                <a:gd name="T84" fmla="*/ 40 w 649"/>
                <a:gd name="T85" fmla="*/ 381 h 1084"/>
                <a:gd name="T86" fmla="*/ 35 w 649"/>
                <a:gd name="T87" fmla="*/ 351 h 1084"/>
                <a:gd name="T88" fmla="*/ 65 w 649"/>
                <a:gd name="T89" fmla="*/ 265 h 1084"/>
                <a:gd name="T90" fmla="*/ 106 w 649"/>
                <a:gd name="T91" fmla="*/ 241 h 1084"/>
                <a:gd name="T92" fmla="*/ 133 w 649"/>
                <a:gd name="T93" fmla="*/ 159 h 1084"/>
                <a:gd name="T94" fmla="*/ 151 w 649"/>
                <a:gd name="T95" fmla="*/ 127 h 1084"/>
                <a:gd name="T96" fmla="*/ 171 w 649"/>
                <a:gd name="T97" fmla="*/ 76 h 1084"/>
                <a:gd name="T98" fmla="*/ 180 w 649"/>
                <a:gd name="T99" fmla="*/ 16 h 1084"/>
                <a:gd name="T100" fmla="*/ 201 w 649"/>
                <a:gd name="T101" fmla="*/ 10 h 1084"/>
                <a:gd name="T102" fmla="*/ 225 w 649"/>
                <a:gd name="T103" fmla="*/ 37 h 1084"/>
                <a:gd name="T104" fmla="*/ 246 w 649"/>
                <a:gd name="T105" fmla="*/ 19 h 1084"/>
                <a:gd name="T106" fmla="*/ 328 w 649"/>
                <a:gd name="T107" fmla="*/ 47 h 1084"/>
                <a:gd name="T108" fmla="*/ 407 w 649"/>
                <a:gd name="T109" fmla="*/ 139 h 1084"/>
                <a:gd name="T110" fmla="*/ 416 w 649"/>
                <a:gd name="T111" fmla="*/ 149 h 1084"/>
                <a:gd name="T112" fmla="*/ 446 w 649"/>
                <a:gd name="T113" fmla="*/ 145 h 1084"/>
                <a:gd name="T114" fmla="*/ 520 w 649"/>
                <a:gd name="T115" fmla="*/ 146 h 1084"/>
                <a:gd name="T116" fmla="*/ 533 w 649"/>
                <a:gd name="T117" fmla="*/ 176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9" h="1084">
                  <a:moveTo>
                    <a:pt x="529" y="206"/>
                  </a:moveTo>
                  <a:lnTo>
                    <a:pt x="526" y="211"/>
                  </a:lnTo>
                  <a:lnTo>
                    <a:pt x="509" y="227"/>
                  </a:lnTo>
                  <a:lnTo>
                    <a:pt x="501" y="240"/>
                  </a:lnTo>
                  <a:lnTo>
                    <a:pt x="496" y="245"/>
                  </a:lnTo>
                  <a:lnTo>
                    <a:pt x="491" y="247"/>
                  </a:lnTo>
                  <a:lnTo>
                    <a:pt x="484" y="249"/>
                  </a:lnTo>
                  <a:lnTo>
                    <a:pt x="477" y="246"/>
                  </a:lnTo>
                  <a:lnTo>
                    <a:pt x="471" y="246"/>
                  </a:lnTo>
                  <a:lnTo>
                    <a:pt x="465" y="247"/>
                  </a:lnTo>
                  <a:lnTo>
                    <a:pt x="461" y="252"/>
                  </a:lnTo>
                  <a:lnTo>
                    <a:pt x="460" y="257"/>
                  </a:lnTo>
                  <a:lnTo>
                    <a:pt x="459" y="274"/>
                  </a:lnTo>
                  <a:lnTo>
                    <a:pt x="461" y="281"/>
                  </a:lnTo>
                  <a:lnTo>
                    <a:pt x="469" y="285"/>
                  </a:lnTo>
                  <a:lnTo>
                    <a:pt x="479" y="284"/>
                  </a:lnTo>
                  <a:lnTo>
                    <a:pt x="482" y="286"/>
                  </a:lnTo>
                  <a:lnTo>
                    <a:pt x="484" y="291"/>
                  </a:lnTo>
                  <a:lnTo>
                    <a:pt x="485" y="310"/>
                  </a:lnTo>
                  <a:lnTo>
                    <a:pt x="486" y="318"/>
                  </a:lnTo>
                  <a:lnTo>
                    <a:pt x="490" y="326"/>
                  </a:lnTo>
                  <a:lnTo>
                    <a:pt x="494" y="332"/>
                  </a:lnTo>
                  <a:lnTo>
                    <a:pt x="501" y="340"/>
                  </a:lnTo>
                  <a:lnTo>
                    <a:pt x="506" y="341"/>
                  </a:lnTo>
                  <a:lnTo>
                    <a:pt x="511" y="344"/>
                  </a:lnTo>
                  <a:lnTo>
                    <a:pt x="515" y="349"/>
                  </a:lnTo>
                  <a:lnTo>
                    <a:pt x="519" y="381"/>
                  </a:lnTo>
                  <a:lnTo>
                    <a:pt x="522" y="389"/>
                  </a:lnTo>
                  <a:lnTo>
                    <a:pt x="526" y="394"/>
                  </a:lnTo>
                  <a:lnTo>
                    <a:pt x="530" y="399"/>
                  </a:lnTo>
                  <a:lnTo>
                    <a:pt x="542" y="408"/>
                  </a:lnTo>
                  <a:lnTo>
                    <a:pt x="550" y="410"/>
                  </a:lnTo>
                  <a:lnTo>
                    <a:pt x="556" y="417"/>
                  </a:lnTo>
                  <a:lnTo>
                    <a:pt x="565" y="422"/>
                  </a:lnTo>
                  <a:lnTo>
                    <a:pt x="570" y="424"/>
                  </a:lnTo>
                  <a:lnTo>
                    <a:pt x="574" y="426"/>
                  </a:lnTo>
                  <a:lnTo>
                    <a:pt x="572" y="435"/>
                  </a:lnTo>
                  <a:lnTo>
                    <a:pt x="569" y="446"/>
                  </a:lnTo>
                  <a:lnTo>
                    <a:pt x="569" y="454"/>
                  </a:lnTo>
                  <a:lnTo>
                    <a:pt x="570" y="460"/>
                  </a:lnTo>
                  <a:lnTo>
                    <a:pt x="574" y="465"/>
                  </a:lnTo>
                  <a:lnTo>
                    <a:pt x="576" y="469"/>
                  </a:lnTo>
                  <a:lnTo>
                    <a:pt x="581" y="472"/>
                  </a:lnTo>
                  <a:lnTo>
                    <a:pt x="585" y="474"/>
                  </a:lnTo>
                  <a:lnTo>
                    <a:pt x="595" y="470"/>
                  </a:lnTo>
                  <a:lnTo>
                    <a:pt x="605" y="464"/>
                  </a:lnTo>
                  <a:lnTo>
                    <a:pt x="610" y="461"/>
                  </a:lnTo>
                  <a:lnTo>
                    <a:pt x="615" y="458"/>
                  </a:lnTo>
                  <a:lnTo>
                    <a:pt x="617" y="453"/>
                  </a:lnTo>
                  <a:lnTo>
                    <a:pt x="619" y="450"/>
                  </a:lnTo>
                  <a:lnTo>
                    <a:pt x="621" y="445"/>
                  </a:lnTo>
                  <a:lnTo>
                    <a:pt x="624" y="442"/>
                  </a:lnTo>
                  <a:lnTo>
                    <a:pt x="629" y="441"/>
                  </a:lnTo>
                  <a:lnTo>
                    <a:pt x="634" y="446"/>
                  </a:lnTo>
                  <a:lnTo>
                    <a:pt x="639" y="453"/>
                  </a:lnTo>
                  <a:lnTo>
                    <a:pt x="647" y="469"/>
                  </a:lnTo>
                  <a:lnTo>
                    <a:pt x="649" y="476"/>
                  </a:lnTo>
                  <a:lnTo>
                    <a:pt x="647" y="484"/>
                  </a:lnTo>
                  <a:lnTo>
                    <a:pt x="626" y="502"/>
                  </a:lnTo>
                  <a:lnTo>
                    <a:pt x="622" y="505"/>
                  </a:lnTo>
                  <a:lnTo>
                    <a:pt x="602" y="514"/>
                  </a:lnTo>
                  <a:lnTo>
                    <a:pt x="591" y="514"/>
                  </a:lnTo>
                  <a:lnTo>
                    <a:pt x="585" y="516"/>
                  </a:lnTo>
                  <a:lnTo>
                    <a:pt x="582" y="520"/>
                  </a:lnTo>
                  <a:lnTo>
                    <a:pt x="579" y="530"/>
                  </a:lnTo>
                  <a:lnTo>
                    <a:pt x="577" y="536"/>
                  </a:lnTo>
                  <a:lnTo>
                    <a:pt x="575" y="542"/>
                  </a:lnTo>
                  <a:lnTo>
                    <a:pt x="570" y="545"/>
                  </a:lnTo>
                  <a:lnTo>
                    <a:pt x="565" y="546"/>
                  </a:lnTo>
                  <a:lnTo>
                    <a:pt x="561" y="551"/>
                  </a:lnTo>
                  <a:lnTo>
                    <a:pt x="560" y="560"/>
                  </a:lnTo>
                  <a:lnTo>
                    <a:pt x="564" y="569"/>
                  </a:lnTo>
                  <a:lnTo>
                    <a:pt x="567" y="576"/>
                  </a:lnTo>
                  <a:lnTo>
                    <a:pt x="572" y="579"/>
                  </a:lnTo>
                  <a:lnTo>
                    <a:pt x="577" y="576"/>
                  </a:lnTo>
                  <a:lnTo>
                    <a:pt x="580" y="571"/>
                  </a:lnTo>
                  <a:lnTo>
                    <a:pt x="580" y="556"/>
                  </a:lnTo>
                  <a:lnTo>
                    <a:pt x="585" y="556"/>
                  </a:lnTo>
                  <a:lnTo>
                    <a:pt x="596" y="572"/>
                  </a:lnTo>
                  <a:lnTo>
                    <a:pt x="602" y="579"/>
                  </a:lnTo>
                  <a:lnTo>
                    <a:pt x="611" y="581"/>
                  </a:lnTo>
                  <a:lnTo>
                    <a:pt x="622" y="581"/>
                  </a:lnTo>
                  <a:lnTo>
                    <a:pt x="626" y="584"/>
                  </a:lnTo>
                  <a:lnTo>
                    <a:pt x="640" y="596"/>
                  </a:lnTo>
                  <a:lnTo>
                    <a:pt x="645" y="602"/>
                  </a:lnTo>
                  <a:lnTo>
                    <a:pt x="646" y="611"/>
                  </a:lnTo>
                  <a:lnTo>
                    <a:pt x="648" y="639"/>
                  </a:lnTo>
                  <a:lnTo>
                    <a:pt x="645" y="646"/>
                  </a:lnTo>
                  <a:lnTo>
                    <a:pt x="643" y="652"/>
                  </a:lnTo>
                  <a:lnTo>
                    <a:pt x="641" y="659"/>
                  </a:lnTo>
                  <a:lnTo>
                    <a:pt x="631" y="670"/>
                  </a:lnTo>
                  <a:lnTo>
                    <a:pt x="630" y="679"/>
                  </a:lnTo>
                  <a:lnTo>
                    <a:pt x="635" y="697"/>
                  </a:lnTo>
                  <a:lnTo>
                    <a:pt x="635" y="704"/>
                  </a:lnTo>
                  <a:lnTo>
                    <a:pt x="633" y="712"/>
                  </a:lnTo>
                  <a:lnTo>
                    <a:pt x="630" y="720"/>
                  </a:lnTo>
                  <a:lnTo>
                    <a:pt x="612" y="741"/>
                  </a:lnTo>
                  <a:lnTo>
                    <a:pt x="600" y="759"/>
                  </a:lnTo>
                  <a:lnTo>
                    <a:pt x="593" y="764"/>
                  </a:lnTo>
                  <a:lnTo>
                    <a:pt x="588" y="766"/>
                  </a:lnTo>
                  <a:lnTo>
                    <a:pt x="578" y="765"/>
                  </a:lnTo>
                  <a:lnTo>
                    <a:pt x="573" y="766"/>
                  </a:lnTo>
                  <a:lnTo>
                    <a:pt x="560" y="779"/>
                  </a:lnTo>
                  <a:lnTo>
                    <a:pt x="545" y="786"/>
                  </a:lnTo>
                  <a:lnTo>
                    <a:pt x="542" y="787"/>
                  </a:lnTo>
                  <a:lnTo>
                    <a:pt x="536" y="797"/>
                  </a:lnTo>
                  <a:lnTo>
                    <a:pt x="533" y="802"/>
                  </a:lnTo>
                  <a:lnTo>
                    <a:pt x="532" y="810"/>
                  </a:lnTo>
                  <a:lnTo>
                    <a:pt x="533" y="820"/>
                  </a:lnTo>
                  <a:lnTo>
                    <a:pt x="537" y="826"/>
                  </a:lnTo>
                  <a:lnTo>
                    <a:pt x="545" y="836"/>
                  </a:lnTo>
                  <a:lnTo>
                    <a:pt x="546" y="841"/>
                  </a:lnTo>
                  <a:lnTo>
                    <a:pt x="546" y="846"/>
                  </a:lnTo>
                  <a:lnTo>
                    <a:pt x="541" y="850"/>
                  </a:lnTo>
                  <a:lnTo>
                    <a:pt x="536" y="854"/>
                  </a:lnTo>
                  <a:lnTo>
                    <a:pt x="532" y="857"/>
                  </a:lnTo>
                  <a:lnTo>
                    <a:pt x="530" y="864"/>
                  </a:lnTo>
                  <a:lnTo>
                    <a:pt x="531" y="885"/>
                  </a:lnTo>
                  <a:lnTo>
                    <a:pt x="530" y="894"/>
                  </a:lnTo>
                  <a:lnTo>
                    <a:pt x="521" y="916"/>
                  </a:lnTo>
                  <a:lnTo>
                    <a:pt x="520" y="921"/>
                  </a:lnTo>
                  <a:lnTo>
                    <a:pt x="520" y="936"/>
                  </a:lnTo>
                  <a:lnTo>
                    <a:pt x="515" y="950"/>
                  </a:lnTo>
                  <a:lnTo>
                    <a:pt x="497" y="984"/>
                  </a:lnTo>
                  <a:lnTo>
                    <a:pt x="477" y="997"/>
                  </a:lnTo>
                  <a:lnTo>
                    <a:pt x="470" y="1007"/>
                  </a:lnTo>
                  <a:lnTo>
                    <a:pt x="441" y="1084"/>
                  </a:lnTo>
                  <a:lnTo>
                    <a:pt x="412" y="1022"/>
                  </a:lnTo>
                  <a:lnTo>
                    <a:pt x="405" y="1016"/>
                  </a:lnTo>
                  <a:lnTo>
                    <a:pt x="376" y="1009"/>
                  </a:lnTo>
                  <a:lnTo>
                    <a:pt x="353" y="1012"/>
                  </a:lnTo>
                  <a:lnTo>
                    <a:pt x="348" y="1011"/>
                  </a:lnTo>
                  <a:lnTo>
                    <a:pt x="328" y="994"/>
                  </a:lnTo>
                  <a:lnTo>
                    <a:pt x="322" y="1002"/>
                  </a:lnTo>
                  <a:lnTo>
                    <a:pt x="265" y="1031"/>
                  </a:lnTo>
                  <a:lnTo>
                    <a:pt x="233" y="1021"/>
                  </a:lnTo>
                  <a:lnTo>
                    <a:pt x="212" y="1026"/>
                  </a:lnTo>
                  <a:lnTo>
                    <a:pt x="157" y="989"/>
                  </a:lnTo>
                  <a:lnTo>
                    <a:pt x="137" y="989"/>
                  </a:lnTo>
                  <a:lnTo>
                    <a:pt x="121" y="974"/>
                  </a:lnTo>
                  <a:lnTo>
                    <a:pt x="76" y="950"/>
                  </a:lnTo>
                  <a:lnTo>
                    <a:pt x="57" y="949"/>
                  </a:lnTo>
                  <a:lnTo>
                    <a:pt x="58" y="925"/>
                  </a:lnTo>
                  <a:lnTo>
                    <a:pt x="58" y="917"/>
                  </a:lnTo>
                  <a:lnTo>
                    <a:pt x="55" y="910"/>
                  </a:lnTo>
                  <a:lnTo>
                    <a:pt x="38" y="894"/>
                  </a:lnTo>
                  <a:lnTo>
                    <a:pt x="58" y="850"/>
                  </a:lnTo>
                  <a:lnTo>
                    <a:pt x="60" y="826"/>
                  </a:lnTo>
                  <a:lnTo>
                    <a:pt x="62" y="817"/>
                  </a:lnTo>
                  <a:lnTo>
                    <a:pt x="72" y="802"/>
                  </a:lnTo>
                  <a:lnTo>
                    <a:pt x="72" y="791"/>
                  </a:lnTo>
                  <a:lnTo>
                    <a:pt x="66" y="785"/>
                  </a:lnTo>
                  <a:lnTo>
                    <a:pt x="48" y="779"/>
                  </a:lnTo>
                  <a:lnTo>
                    <a:pt x="37" y="771"/>
                  </a:lnTo>
                  <a:lnTo>
                    <a:pt x="11" y="740"/>
                  </a:lnTo>
                  <a:lnTo>
                    <a:pt x="10" y="730"/>
                  </a:lnTo>
                  <a:lnTo>
                    <a:pt x="20" y="694"/>
                  </a:lnTo>
                  <a:lnTo>
                    <a:pt x="0" y="689"/>
                  </a:lnTo>
                  <a:lnTo>
                    <a:pt x="13" y="664"/>
                  </a:lnTo>
                  <a:lnTo>
                    <a:pt x="18" y="659"/>
                  </a:lnTo>
                  <a:lnTo>
                    <a:pt x="30" y="652"/>
                  </a:lnTo>
                  <a:lnTo>
                    <a:pt x="35" y="647"/>
                  </a:lnTo>
                  <a:lnTo>
                    <a:pt x="48" y="622"/>
                  </a:lnTo>
                  <a:lnTo>
                    <a:pt x="51" y="604"/>
                  </a:lnTo>
                  <a:lnTo>
                    <a:pt x="51" y="584"/>
                  </a:lnTo>
                  <a:lnTo>
                    <a:pt x="36" y="535"/>
                  </a:lnTo>
                  <a:lnTo>
                    <a:pt x="36" y="525"/>
                  </a:lnTo>
                  <a:lnTo>
                    <a:pt x="37" y="516"/>
                  </a:lnTo>
                  <a:lnTo>
                    <a:pt x="40" y="511"/>
                  </a:lnTo>
                  <a:lnTo>
                    <a:pt x="41" y="505"/>
                  </a:lnTo>
                  <a:lnTo>
                    <a:pt x="21" y="430"/>
                  </a:lnTo>
                  <a:lnTo>
                    <a:pt x="40" y="381"/>
                  </a:lnTo>
                  <a:lnTo>
                    <a:pt x="40" y="374"/>
                  </a:lnTo>
                  <a:lnTo>
                    <a:pt x="36" y="364"/>
                  </a:lnTo>
                  <a:lnTo>
                    <a:pt x="33" y="357"/>
                  </a:lnTo>
                  <a:lnTo>
                    <a:pt x="35" y="351"/>
                  </a:lnTo>
                  <a:lnTo>
                    <a:pt x="37" y="346"/>
                  </a:lnTo>
                  <a:lnTo>
                    <a:pt x="57" y="324"/>
                  </a:lnTo>
                  <a:lnTo>
                    <a:pt x="61" y="315"/>
                  </a:lnTo>
                  <a:lnTo>
                    <a:pt x="65" y="265"/>
                  </a:lnTo>
                  <a:lnTo>
                    <a:pt x="91" y="269"/>
                  </a:lnTo>
                  <a:lnTo>
                    <a:pt x="97" y="265"/>
                  </a:lnTo>
                  <a:lnTo>
                    <a:pt x="101" y="259"/>
                  </a:lnTo>
                  <a:lnTo>
                    <a:pt x="106" y="241"/>
                  </a:lnTo>
                  <a:lnTo>
                    <a:pt x="121" y="232"/>
                  </a:lnTo>
                  <a:lnTo>
                    <a:pt x="141" y="177"/>
                  </a:lnTo>
                  <a:lnTo>
                    <a:pt x="140" y="170"/>
                  </a:lnTo>
                  <a:lnTo>
                    <a:pt x="133" y="159"/>
                  </a:lnTo>
                  <a:lnTo>
                    <a:pt x="133" y="151"/>
                  </a:lnTo>
                  <a:lnTo>
                    <a:pt x="136" y="145"/>
                  </a:lnTo>
                  <a:lnTo>
                    <a:pt x="150" y="131"/>
                  </a:lnTo>
                  <a:lnTo>
                    <a:pt x="151" y="127"/>
                  </a:lnTo>
                  <a:lnTo>
                    <a:pt x="152" y="119"/>
                  </a:lnTo>
                  <a:lnTo>
                    <a:pt x="150" y="105"/>
                  </a:lnTo>
                  <a:lnTo>
                    <a:pt x="152" y="97"/>
                  </a:lnTo>
                  <a:lnTo>
                    <a:pt x="171" y="76"/>
                  </a:lnTo>
                  <a:lnTo>
                    <a:pt x="161" y="60"/>
                  </a:lnTo>
                  <a:lnTo>
                    <a:pt x="169" y="16"/>
                  </a:lnTo>
                  <a:lnTo>
                    <a:pt x="171" y="20"/>
                  </a:lnTo>
                  <a:lnTo>
                    <a:pt x="180" y="16"/>
                  </a:lnTo>
                  <a:lnTo>
                    <a:pt x="181" y="6"/>
                  </a:lnTo>
                  <a:lnTo>
                    <a:pt x="190" y="5"/>
                  </a:lnTo>
                  <a:lnTo>
                    <a:pt x="198" y="0"/>
                  </a:lnTo>
                  <a:lnTo>
                    <a:pt x="201" y="10"/>
                  </a:lnTo>
                  <a:lnTo>
                    <a:pt x="213" y="37"/>
                  </a:lnTo>
                  <a:lnTo>
                    <a:pt x="212" y="49"/>
                  </a:lnTo>
                  <a:lnTo>
                    <a:pt x="217" y="47"/>
                  </a:lnTo>
                  <a:lnTo>
                    <a:pt x="225" y="37"/>
                  </a:lnTo>
                  <a:lnTo>
                    <a:pt x="228" y="26"/>
                  </a:lnTo>
                  <a:lnTo>
                    <a:pt x="236" y="29"/>
                  </a:lnTo>
                  <a:lnTo>
                    <a:pt x="241" y="25"/>
                  </a:lnTo>
                  <a:lnTo>
                    <a:pt x="246" y="19"/>
                  </a:lnTo>
                  <a:lnTo>
                    <a:pt x="253" y="16"/>
                  </a:lnTo>
                  <a:lnTo>
                    <a:pt x="276" y="19"/>
                  </a:lnTo>
                  <a:lnTo>
                    <a:pt x="282" y="21"/>
                  </a:lnTo>
                  <a:lnTo>
                    <a:pt x="328" y="47"/>
                  </a:lnTo>
                  <a:lnTo>
                    <a:pt x="351" y="56"/>
                  </a:lnTo>
                  <a:lnTo>
                    <a:pt x="385" y="119"/>
                  </a:lnTo>
                  <a:lnTo>
                    <a:pt x="411" y="131"/>
                  </a:lnTo>
                  <a:lnTo>
                    <a:pt x="407" y="139"/>
                  </a:lnTo>
                  <a:lnTo>
                    <a:pt x="403" y="141"/>
                  </a:lnTo>
                  <a:lnTo>
                    <a:pt x="403" y="147"/>
                  </a:lnTo>
                  <a:lnTo>
                    <a:pt x="411" y="150"/>
                  </a:lnTo>
                  <a:lnTo>
                    <a:pt x="416" y="149"/>
                  </a:lnTo>
                  <a:lnTo>
                    <a:pt x="420" y="144"/>
                  </a:lnTo>
                  <a:lnTo>
                    <a:pt x="426" y="141"/>
                  </a:lnTo>
                  <a:lnTo>
                    <a:pt x="435" y="141"/>
                  </a:lnTo>
                  <a:lnTo>
                    <a:pt x="446" y="145"/>
                  </a:lnTo>
                  <a:lnTo>
                    <a:pt x="467" y="149"/>
                  </a:lnTo>
                  <a:lnTo>
                    <a:pt x="501" y="147"/>
                  </a:lnTo>
                  <a:lnTo>
                    <a:pt x="510" y="141"/>
                  </a:lnTo>
                  <a:lnTo>
                    <a:pt x="520" y="146"/>
                  </a:lnTo>
                  <a:lnTo>
                    <a:pt x="530" y="149"/>
                  </a:lnTo>
                  <a:lnTo>
                    <a:pt x="536" y="154"/>
                  </a:lnTo>
                  <a:lnTo>
                    <a:pt x="537" y="169"/>
                  </a:lnTo>
                  <a:lnTo>
                    <a:pt x="533" y="176"/>
                  </a:lnTo>
                  <a:lnTo>
                    <a:pt x="527" y="186"/>
                  </a:lnTo>
                  <a:lnTo>
                    <a:pt x="525" y="196"/>
                  </a:lnTo>
                  <a:lnTo>
                    <a:pt x="529" y="20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8" name="Madrid" descr="{&quot;Key&quot;:&quot;madrid&quot;,&quot;Name&quot;:&quot;Madrid&quot;,&quot;Value&quot;:1.0,&quot;Formula&quot;:&quot;&quot;,&quot;Text&quot;:&quot;1&quot;,&quot;HasValue&quot;:true}">
              <a:extLst>
                <a:ext uri="{FF2B5EF4-FFF2-40B4-BE49-F238E27FC236}">
                  <a16:creationId xmlns:a16="http://schemas.microsoft.com/office/drawing/2014/main" id="{96D073E0-F1FA-B849-413B-48423889C4ED}"/>
                </a:ext>
              </a:extLst>
            </p:cNvPr>
            <p:cNvSpPr>
              <a:spLocks noEditPoints="1"/>
            </p:cNvSpPr>
            <p:nvPr/>
          </p:nvSpPr>
          <p:spPr bwMode="auto">
            <a:xfrm>
              <a:off x="2967246" y="3295702"/>
              <a:ext cx="578043" cy="641797"/>
            </a:xfrm>
            <a:custGeom>
              <a:avLst/>
              <a:gdLst>
                <a:gd name="T0" fmla="*/ 139 w 837"/>
                <a:gd name="T1" fmla="*/ 371 h 927"/>
                <a:gd name="T2" fmla="*/ 831 w 837"/>
                <a:gd name="T3" fmla="*/ 764 h 927"/>
                <a:gd name="T4" fmla="*/ 820 w 837"/>
                <a:gd name="T5" fmla="*/ 797 h 927"/>
                <a:gd name="T6" fmla="*/ 745 w 837"/>
                <a:gd name="T7" fmla="*/ 793 h 927"/>
                <a:gd name="T8" fmla="*/ 646 w 837"/>
                <a:gd name="T9" fmla="*/ 817 h 927"/>
                <a:gd name="T10" fmla="*/ 547 w 837"/>
                <a:gd name="T11" fmla="*/ 843 h 927"/>
                <a:gd name="T12" fmla="*/ 517 w 837"/>
                <a:gd name="T13" fmla="*/ 873 h 927"/>
                <a:gd name="T14" fmla="*/ 463 w 837"/>
                <a:gd name="T15" fmla="*/ 893 h 927"/>
                <a:gd name="T16" fmla="*/ 428 w 837"/>
                <a:gd name="T17" fmla="*/ 924 h 927"/>
                <a:gd name="T18" fmla="*/ 392 w 837"/>
                <a:gd name="T19" fmla="*/ 898 h 927"/>
                <a:gd name="T20" fmla="*/ 455 w 837"/>
                <a:gd name="T21" fmla="*/ 868 h 927"/>
                <a:gd name="T22" fmla="*/ 520 w 837"/>
                <a:gd name="T23" fmla="*/ 818 h 927"/>
                <a:gd name="T24" fmla="*/ 525 w 837"/>
                <a:gd name="T25" fmla="*/ 767 h 927"/>
                <a:gd name="T26" fmla="*/ 451 w 837"/>
                <a:gd name="T27" fmla="*/ 749 h 927"/>
                <a:gd name="T28" fmla="*/ 412 w 837"/>
                <a:gd name="T29" fmla="*/ 731 h 927"/>
                <a:gd name="T30" fmla="*/ 325 w 837"/>
                <a:gd name="T31" fmla="*/ 692 h 927"/>
                <a:gd name="T32" fmla="*/ 285 w 837"/>
                <a:gd name="T33" fmla="*/ 662 h 927"/>
                <a:gd name="T34" fmla="*/ 227 w 837"/>
                <a:gd name="T35" fmla="*/ 650 h 927"/>
                <a:gd name="T36" fmla="*/ 181 w 837"/>
                <a:gd name="T37" fmla="*/ 659 h 927"/>
                <a:gd name="T38" fmla="*/ 152 w 837"/>
                <a:gd name="T39" fmla="*/ 689 h 927"/>
                <a:gd name="T40" fmla="*/ 122 w 837"/>
                <a:gd name="T41" fmla="*/ 648 h 927"/>
                <a:gd name="T42" fmla="*/ 105 w 837"/>
                <a:gd name="T43" fmla="*/ 637 h 927"/>
                <a:gd name="T44" fmla="*/ 66 w 837"/>
                <a:gd name="T45" fmla="*/ 682 h 927"/>
                <a:gd name="T46" fmla="*/ 21 w 837"/>
                <a:gd name="T47" fmla="*/ 705 h 927"/>
                <a:gd name="T48" fmla="*/ 22 w 837"/>
                <a:gd name="T49" fmla="*/ 639 h 927"/>
                <a:gd name="T50" fmla="*/ 22 w 837"/>
                <a:gd name="T51" fmla="*/ 604 h 927"/>
                <a:gd name="T52" fmla="*/ 57 w 837"/>
                <a:gd name="T53" fmla="*/ 617 h 927"/>
                <a:gd name="T54" fmla="*/ 80 w 837"/>
                <a:gd name="T55" fmla="*/ 563 h 927"/>
                <a:gd name="T56" fmla="*/ 131 w 837"/>
                <a:gd name="T57" fmla="*/ 552 h 927"/>
                <a:gd name="T58" fmla="*/ 141 w 837"/>
                <a:gd name="T59" fmla="*/ 486 h 927"/>
                <a:gd name="T60" fmla="*/ 157 w 837"/>
                <a:gd name="T61" fmla="*/ 433 h 927"/>
                <a:gd name="T62" fmla="*/ 162 w 837"/>
                <a:gd name="T63" fmla="*/ 393 h 927"/>
                <a:gd name="T64" fmla="*/ 203 w 837"/>
                <a:gd name="T65" fmla="*/ 404 h 927"/>
                <a:gd name="T66" fmla="*/ 223 w 837"/>
                <a:gd name="T67" fmla="*/ 363 h 927"/>
                <a:gd name="T68" fmla="*/ 283 w 837"/>
                <a:gd name="T69" fmla="*/ 278 h 927"/>
                <a:gd name="T70" fmla="*/ 326 w 837"/>
                <a:gd name="T71" fmla="*/ 274 h 927"/>
                <a:gd name="T72" fmla="*/ 343 w 837"/>
                <a:gd name="T73" fmla="*/ 219 h 927"/>
                <a:gd name="T74" fmla="*/ 361 w 837"/>
                <a:gd name="T75" fmla="*/ 164 h 927"/>
                <a:gd name="T76" fmla="*/ 442 w 837"/>
                <a:gd name="T77" fmla="*/ 110 h 927"/>
                <a:gd name="T78" fmla="*/ 502 w 837"/>
                <a:gd name="T79" fmla="*/ 47 h 927"/>
                <a:gd name="T80" fmla="*/ 571 w 837"/>
                <a:gd name="T81" fmla="*/ 14 h 927"/>
                <a:gd name="T82" fmla="*/ 636 w 837"/>
                <a:gd name="T83" fmla="*/ 88 h 927"/>
                <a:gd name="T84" fmla="*/ 630 w 837"/>
                <a:gd name="T85" fmla="*/ 165 h 927"/>
                <a:gd name="T86" fmla="*/ 621 w 837"/>
                <a:gd name="T87" fmla="*/ 212 h 927"/>
                <a:gd name="T88" fmla="*/ 595 w 837"/>
                <a:gd name="T89" fmla="*/ 269 h 927"/>
                <a:gd name="T90" fmla="*/ 625 w 837"/>
                <a:gd name="T91" fmla="*/ 302 h 927"/>
                <a:gd name="T92" fmla="*/ 617 w 837"/>
                <a:gd name="T93" fmla="*/ 343 h 927"/>
                <a:gd name="T94" fmla="*/ 651 w 837"/>
                <a:gd name="T95" fmla="*/ 349 h 927"/>
                <a:gd name="T96" fmla="*/ 685 w 837"/>
                <a:gd name="T97" fmla="*/ 382 h 927"/>
                <a:gd name="T98" fmla="*/ 696 w 837"/>
                <a:gd name="T99" fmla="*/ 425 h 927"/>
                <a:gd name="T100" fmla="*/ 711 w 837"/>
                <a:gd name="T101" fmla="*/ 462 h 927"/>
                <a:gd name="T102" fmla="*/ 746 w 837"/>
                <a:gd name="T103" fmla="*/ 465 h 927"/>
                <a:gd name="T104" fmla="*/ 766 w 837"/>
                <a:gd name="T105" fmla="*/ 530 h 927"/>
                <a:gd name="T106" fmla="*/ 792 w 837"/>
                <a:gd name="T107" fmla="*/ 574 h 927"/>
                <a:gd name="T108" fmla="*/ 772 w 837"/>
                <a:gd name="T109" fmla="*/ 623 h 927"/>
                <a:gd name="T110" fmla="*/ 776 w 837"/>
                <a:gd name="T111" fmla="*/ 673 h 927"/>
                <a:gd name="T112" fmla="*/ 819 w 837"/>
                <a:gd name="T113" fmla="*/ 663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27">
                  <a:moveTo>
                    <a:pt x="139" y="371"/>
                  </a:moveTo>
                  <a:lnTo>
                    <a:pt x="141" y="353"/>
                  </a:lnTo>
                  <a:lnTo>
                    <a:pt x="151" y="343"/>
                  </a:lnTo>
                  <a:lnTo>
                    <a:pt x="164" y="345"/>
                  </a:lnTo>
                  <a:lnTo>
                    <a:pt x="173" y="368"/>
                  </a:lnTo>
                  <a:lnTo>
                    <a:pt x="139" y="371"/>
                  </a:lnTo>
                  <a:close/>
                  <a:moveTo>
                    <a:pt x="831" y="736"/>
                  </a:moveTo>
                  <a:lnTo>
                    <a:pt x="825" y="734"/>
                  </a:lnTo>
                  <a:lnTo>
                    <a:pt x="824" y="737"/>
                  </a:lnTo>
                  <a:lnTo>
                    <a:pt x="824" y="744"/>
                  </a:lnTo>
                  <a:lnTo>
                    <a:pt x="827" y="754"/>
                  </a:lnTo>
                  <a:lnTo>
                    <a:pt x="831" y="764"/>
                  </a:lnTo>
                  <a:lnTo>
                    <a:pt x="835" y="768"/>
                  </a:lnTo>
                  <a:lnTo>
                    <a:pt x="837" y="773"/>
                  </a:lnTo>
                  <a:lnTo>
                    <a:pt x="836" y="778"/>
                  </a:lnTo>
                  <a:lnTo>
                    <a:pt x="833" y="784"/>
                  </a:lnTo>
                  <a:lnTo>
                    <a:pt x="827" y="789"/>
                  </a:lnTo>
                  <a:lnTo>
                    <a:pt x="820" y="797"/>
                  </a:lnTo>
                  <a:lnTo>
                    <a:pt x="808" y="801"/>
                  </a:lnTo>
                  <a:lnTo>
                    <a:pt x="781" y="802"/>
                  </a:lnTo>
                  <a:lnTo>
                    <a:pt x="780" y="794"/>
                  </a:lnTo>
                  <a:lnTo>
                    <a:pt x="777" y="792"/>
                  </a:lnTo>
                  <a:lnTo>
                    <a:pt x="767" y="786"/>
                  </a:lnTo>
                  <a:lnTo>
                    <a:pt x="745" y="793"/>
                  </a:lnTo>
                  <a:lnTo>
                    <a:pt x="711" y="811"/>
                  </a:lnTo>
                  <a:lnTo>
                    <a:pt x="688" y="816"/>
                  </a:lnTo>
                  <a:lnTo>
                    <a:pt x="682" y="817"/>
                  </a:lnTo>
                  <a:lnTo>
                    <a:pt x="676" y="816"/>
                  </a:lnTo>
                  <a:lnTo>
                    <a:pt x="665" y="808"/>
                  </a:lnTo>
                  <a:lnTo>
                    <a:pt x="646" y="817"/>
                  </a:lnTo>
                  <a:lnTo>
                    <a:pt x="593" y="814"/>
                  </a:lnTo>
                  <a:lnTo>
                    <a:pt x="586" y="821"/>
                  </a:lnTo>
                  <a:lnTo>
                    <a:pt x="580" y="833"/>
                  </a:lnTo>
                  <a:lnTo>
                    <a:pt x="575" y="834"/>
                  </a:lnTo>
                  <a:lnTo>
                    <a:pt x="552" y="841"/>
                  </a:lnTo>
                  <a:lnTo>
                    <a:pt x="547" y="843"/>
                  </a:lnTo>
                  <a:lnTo>
                    <a:pt x="540" y="849"/>
                  </a:lnTo>
                  <a:lnTo>
                    <a:pt x="530" y="852"/>
                  </a:lnTo>
                  <a:lnTo>
                    <a:pt x="521" y="856"/>
                  </a:lnTo>
                  <a:lnTo>
                    <a:pt x="518" y="858"/>
                  </a:lnTo>
                  <a:lnTo>
                    <a:pt x="518" y="869"/>
                  </a:lnTo>
                  <a:lnTo>
                    <a:pt x="517" y="873"/>
                  </a:lnTo>
                  <a:lnTo>
                    <a:pt x="512" y="876"/>
                  </a:lnTo>
                  <a:lnTo>
                    <a:pt x="500" y="879"/>
                  </a:lnTo>
                  <a:lnTo>
                    <a:pt x="490" y="886"/>
                  </a:lnTo>
                  <a:lnTo>
                    <a:pt x="483" y="888"/>
                  </a:lnTo>
                  <a:lnTo>
                    <a:pt x="473" y="889"/>
                  </a:lnTo>
                  <a:lnTo>
                    <a:pt x="463" y="893"/>
                  </a:lnTo>
                  <a:lnTo>
                    <a:pt x="460" y="897"/>
                  </a:lnTo>
                  <a:lnTo>
                    <a:pt x="455" y="903"/>
                  </a:lnTo>
                  <a:lnTo>
                    <a:pt x="446" y="911"/>
                  </a:lnTo>
                  <a:lnTo>
                    <a:pt x="442" y="913"/>
                  </a:lnTo>
                  <a:lnTo>
                    <a:pt x="433" y="919"/>
                  </a:lnTo>
                  <a:lnTo>
                    <a:pt x="428" y="924"/>
                  </a:lnTo>
                  <a:lnTo>
                    <a:pt x="422" y="927"/>
                  </a:lnTo>
                  <a:lnTo>
                    <a:pt x="413" y="926"/>
                  </a:lnTo>
                  <a:lnTo>
                    <a:pt x="396" y="914"/>
                  </a:lnTo>
                  <a:lnTo>
                    <a:pt x="390" y="908"/>
                  </a:lnTo>
                  <a:lnTo>
                    <a:pt x="387" y="903"/>
                  </a:lnTo>
                  <a:lnTo>
                    <a:pt x="392" y="898"/>
                  </a:lnTo>
                  <a:lnTo>
                    <a:pt x="398" y="894"/>
                  </a:lnTo>
                  <a:lnTo>
                    <a:pt x="433" y="883"/>
                  </a:lnTo>
                  <a:lnTo>
                    <a:pt x="440" y="883"/>
                  </a:lnTo>
                  <a:lnTo>
                    <a:pt x="442" y="881"/>
                  </a:lnTo>
                  <a:lnTo>
                    <a:pt x="451" y="871"/>
                  </a:lnTo>
                  <a:lnTo>
                    <a:pt x="455" y="868"/>
                  </a:lnTo>
                  <a:lnTo>
                    <a:pt x="465" y="864"/>
                  </a:lnTo>
                  <a:lnTo>
                    <a:pt x="473" y="857"/>
                  </a:lnTo>
                  <a:lnTo>
                    <a:pt x="500" y="829"/>
                  </a:lnTo>
                  <a:lnTo>
                    <a:pt x="507" y="826"/>
                  </a:lnTo>
                  <a:lnTo>
                    <a:pt x="511" y="824"/>
                  </a:lnTo>
                  <a:lnTo>
                    <a:pt x="520" y="818"/>
                  </a:lnTo>
                  <a:lnTo>
                    <a:pt x="527" y="806"/>
                  </a:lnTo>
                  <a:lnTo>
                    <a:pt x="532" y="791"/>
                  </a:lnTo>
                  <a:lnTo>
                    <a:pt x="533" y="787"/>
                  </a:lnTo>
                  <a:lnTo>
                    <a:pt x="533" y="776"/>
                  </a:lnTo>
                  <a:lnTo>
                    <a:pt x="531" y="772"/>
                  </a:lnTo>
                  <a:lnTo>
                    <a:pt x="525" y="767"/>
                  </a:lnTo>
                  <a:lnTo>
                    <a:pt x="498" y="754"/>
                  </a:lnTo>
                  <a:lnTo>
                    <a:pt x="487" y="753"/>
                  </a:lnTo>
                  <a:lnTo>
                    <a:pt x="478" y="751"/>
                  </a:lnTo>
                  <a:lnTo>
                    <a:pt x="471" y="749"/>
                  </a:lnTo>
                  <a:lnTo>
                    <a:pt x="457" y="752"/>
                  </a:lnTo>
                  <a:lnTo>
                    <a:pt x="451" y="749"/>
                  </a:lnTo>
                  <a:lnTo>
                    <a:pt x="443" y="746"/>
                  </a:lnTo>
                  <a:lnTo>
                    <a:pt x="435" y="733"/>
                  </a:lnTo>
                  <a:lnTo>
                    <a:pt x="431" y="729"/>
                  </a:lnTo>
                  <a:lnTo>
                    <a:pt x="427" y="728"/>
                  </a:lnTo>
                  <a:lnTo>
                    <a:pt x="417" y="731"/>
                  </a:lnTo>
                  <a:lnTo>
                    <a:pt x="412" y="731"/>
                  </a:lnTo>
                  <a:lnTo>
                    <a:pt x="407" y="725"/>
                  </a:lnTo>
                  <a:lnTo>
                    <a:pt x="403" y="722"/>
                  </a:lnTo>
                  <a:lnTo>
                    <a:pt x="398" y="717"/>
                  </a:lnTo>
                  <a:lnTo>
                    <a:pt x="372" y="710"/>
                  </a:lnTo>
                  <a:lnTo>
                    <a:pt x="353" y="702"/>
                  </a:lnTo>
                  <a:lnTo>
                    <a:pt x="325" y="692"/>
                  </a:lnTo>
                  <a:lnTo>
                    <a:pt x="317" y="689"/>
                  </a:lnTo>
                  <a:lnTo>
                    <a:pt x="312" y="684"/>
                  </a:lnTo>
                  <a:lnTo>
                    <a:pt x="306" y="674"/>
                  </a:lnTo>
                  <a:lnTo>
                    <a:pt x="302" y="670"/>
                  </a:lnTo>
                  <a:lnTo>
                    <a:pt x="297" y="667"/>
                  </a:lnTo>
                  <a:lnTo>
                    <a:pt x="285" y="662"/>
                  </a:lnTo>
                  <a:lnTo>
                    <a:pt x="280" y="662"/>
                  </a:lnTo>
                  <a:lnTo>
                    <a:pt x="270" y="669"/>
                  </a:lnTo>
                  <a:lnTo>
                    <a:pt x="262" y="672"/>
                  </a:lnTo>
                  <a:lnTo>
                    <a:pt x="252" y="669"/>
                  </a:lnTo>
                  <a:lnTo>
                    <a:pt x="244" y="667"/>
                  </a:lnTo>
                  <a:lnTo>
                    <a:pt x="227" y="650"/>
                  </a:lnTo>
                  <a:lnTo>
                    <a:pt x="225" y="647"/>
                  </a:lnTo>
                  <a:lnTo>
                    <a:pt x="220" y="643"/>
                  </a:lnTo>
                  <a:lnTo>
                    <a:pt x="215" y="643"/>
                  </a:lnTo>
                  <a:lnTo>
                    <a:pt x="201" y="652"/>
                  </a:lnTo>
                  <a:lnTo>
                    <a:pt x="187" y="654"/>
                  </a:lnTo>
                  <a:lnTo>
                    <a:pt x="181" y="659"/>
                  </a:lnTo>
                  <a:lnTo>
                    <a:pt x="179" y="663"/>
                  </a:lnTo>
                  <a:lnTo>
                    <a:pt x="174" y="670"/>
                  </a:lnTo>
                  <a:lnTo>
                    <a:pt x="170" y="678"/>
                  </a:lnTo>
                  <a:lnTo>
                    <a:pt x="166" y="682"/>
                  </a:lnTo>
                  <a:lnTo>
                    <a:pt x="159" y="688"/>
                  </a:lnTo>
                  <a:lnTo>
                    <a:pt x="152" y="689"/>
                  </a:lnTo>
                  <a:lnTo>
                    <a:pt x="145" y="680"/>
                  </a:lnTo>
                  <a:lnTo>
                    <a:pt x="136" y="677"/>
                  </a:lnTo>
                  <a:lnTo>
                    <a:pt x="129" y="668"/>
                  </a:lnTo>
                  <a:lnTo>
                    <a:pt x="124" y="659"/>
                  </a:lnTo>
                  <a:lnTo>
                    <a:pt x="122" y="654"/>
                  </a:lnTo>
                  <a:lnTo>
                    <a:pt x="122" y="648"/>
                  </a:lnTo>
                  <a:lnTo>
                    <a:pt x="124" y="638"/>
                  </a:lnTo>
                  <a:lnTo>
                    <a:pt x="124" y="633"/>
                  </a:lnTo>
                  <a:lnTo>
                    <a:pt x="121" y="629"/>
                  </a:lnTo>
                  <a:lnTo>
                    <a:pt x="115" y="624"/>
                  </a:lnTo>
                  <a:lnTo>
                    <a:pt x="111" y="625"/>
                  </a:lnTo>
                  <a:lnTo>
                    <a:pt x="105" y="637"/>
                  </a:lnTo>
                  <a:lnTo>
                    <a:pt x="102" y="642"/>
                  </a:lnTo>
                  <a:lnTo>
                    <a:pt x="99" y="647"/>
                  </a:lnTo>
                  <a:lnTo>
                    <a:pt x="81" y="664"/>
                  </a:lnTo>
                  <a:lnTo>
                    <a:pt x="79" y="670"/>
                  </a:lnTo>
                  <a:lnTo>
                    <a:pt x="74" y="675"/>
                  </a:lnTo>
                  <a:lnTo>
                    <a:pt x="66" y="682"/>
                  </a:lnTo>
                  <a:lnTo>
                    <a:pt x="49" y="689"/>
                  </a:lnTo>
                  <a:lnTo>
                    <a:pt x="41" y="693"/>
                  </a:lnTo>
                  <a:lnTo>
                    <a:pt x="36" y="698"/>
                  </a:lnTo>
                  <a:lnTo>
                    <a:pt x="34" y="702"/>
                  </a:lnTo>
                  <a:lnTo>
                    <a:pt x="29" y="705"/>
                  </a:lnTo>
                  <a:lnTo>
                    <a:pt x="21" y="705"/>
                  </a:lnTo>
                  <a:lnTo>
                    <a:pt x="12" y="704"/>
                  </a:lnTo>
                  <a:lnTo>
                    <a:pt x="0" y="695"/>
                  </a:lnTo>
                  <a:lnTo>
                    <a:pt x="7" y="683"/>
                  </a:lnTo>
                  <a:lnTo>
                    <a:pt x="12" y="658"/>
                  </a:lnTo>
                  <a:lnTo>
                    <a:pt x="20" y="644"/>
                  </a:lnTo>
                  <a:lnTo>
                    <a:pt x="22" y="639"/>
                  </a:lnTo>
                  <a:lnTo>
                    <a:pt x="24" y="634"/>
                  </a:lnTo>
                  <a:lnTo>
                    <a:pt x="22" y="628"/>
                  </a:lnTo>
                  <a:lnTo>
                    <a:pt x="20" y="619"/>
                  </a:lnTo>
                  <a:lnTo>
                    <a:pt x="19" y="613"/>
                  </a:lnTo>
                  <a:lnTo>
                    <a:pt x="19" y="607"/>
                  </a:lnTo>
                  <a:lnTo>
                    <a:pt x="22" y="604"/>
                  </a:lnTo>
                  <a:lnTo>
                    <a:pt x="26" y="603"/>
                  </a:lnTo>
                  <a:lnTo>
                    <a:pt x="30" y="607"/>
                  </a:lnTo>
                  <a:lnTo>
                    <a:pt x="36" y="615"/>
                  </a:lnTo>
                  <a:lnTo>
                    <a:pt x="42" y="619"/>
                  </a:lnTo>
                  <a:lnTo>
                    <a:pt x="51" y="619"/>
                  </a:lnTo>
                  <a:lnTo>
                    <a:pt x="57" y="617"/>
                  </a:lnTo>
                  <a:lnTo>
                    <a:pt x="63" y="613"/>
                  </a:lnTo>
                  <a:lnTo>
                    <a:pt x="67" y="606"/>
                  </a:lnTo>
                  <a:lnTo>
                    <a:pt x="72" y="595"/>
                  </a:lnTo>
                  <a:lnTo>
                    <a:pt x="75" y="588"/>
                  </a:lnTo>
                  <a:lnTo>
                    <a:pt x="77" y="567"/>
                  </a:lnTo>
                  <a:lnTo>
                    <a:pt x="80" y="563"/>
                  </a:lnTo>
                  <a:lnTo>
                    <a:pt x="85" y="557"/>
                  </a:lnTo>
                  <a:lnTo>
                    <a:pt x="91" y="553"/>
                  </a:lnTo>
                  <a:lnTo>
                    <a:pt x="98" y="552"/>
                  </a:lnTo>
                  <a:lnTo>
                    <a:pt x="108" y="556"/>
                  </a:lnTo>
                  <a:lnTo>
                    <a:pt x="116" y="553"/>
                  </a:lnTo>
                  <a:lnTo>
                    <a:pt x="131" y="552"/>
                  </a:lnTo>
                  <a:lnTo>
                    <a:pt x="137" y="549"/>
                  </a:lnTo>
                  <a:lnTo>
                    <a:pt x="137" y="546"/>
                  </a:lnTo>
                  <a:lnTo>
                    <a:pt x="135" y="536"/>
                  </a:lnTo>
                  <a:lnTo>
                    <a:pt x="142" y="508"/>
                  </a:lnTo>
                  <a:lnTo>
                    <a:pt x="140" y="499"/>
                  </a:lnTo>
                  <a:lnTo>
                    <a:pt x="141" y="486"/>
                  </a:lnTo>
                  <a:lnTo>
                    <a:pt x="140" y="478"/>
                  </a:lnTo>
                  <a:lnTo>
                    <a:pt x="141" y="468"/>
                  </a:lnTo>
                  <a:lnTo>
                    <a:pt x="140" y="454"/>
                  </a:lnTo>
                  <a:lnTo>
                    <a:pt x="143" y="447"/>
                  </a:lnTo>
                  <a:lnTo>
                    <a:pt x="155" y="438"/>
                  </a:lnTo>
                  <a:lnTo>
                    <a:pt x="157" y="433"/>
                  </a:lnTo>
                  <a:lnTo>
                    <a:pt x="160" y="424"/>
                  </a:lnTo>
                  <a:lnTo>
                    <a:pt x="160" y="414"/>
                  </a:lnTo>
                  <a:lnTo>
                    <a:pt x="156" y="404"/>
                  </a:lnTo>
                  <a:lnTo>
                    <a:pt x="156" y="397"/>
                  </a:lnTo>
                  <a:lnTo>
                    <a:pt x="159" y="393"/>
                  </a:lnTo>
                  <a:lnTo>
                    <a:pt x="162" y="393"/>
                  </a:lnTo>
                  <a:lnTo>
                    <a:pt x="165" y="396"/>
                  </a:lnTo>
                  <a:lnTo>
                    <a:pt x="170" y="404"/>
                  </a:lnTo>
                  <a:lnTo>
                    <a:pt x="173" y="408"/>
                  </a:lnTo>
                  <a:lnTo>
                    <a:pt x="182" y="411"/>
                  </a:lnTo>
                  <a:lnTo>
                    <a:pt x="194" y="409"/>
                  </a:lnTo>
                  <a:lnTo>
                    <a:pt x="203" y="404"/>
                  </a:lnTo>
                  <a:lnTo>
                    <a:pt x="215" y="400"/>
                  </a:lnTo>
                  <a:lnTo>
                    <a:pt x="221" y="397"/>
                  </a:lnTo>
                  <a:lnTo>
                    <a:pt x="222" y="390"/>
                  </a:lnTo>
                  <a:lnTo>
                    <a:pt x="222" y="380"/>
                  </a:lnTo>
                  <a:lnTo>
                    <a:pt x="223" y="368"/>
                  </a:lnTo>
                  <a:lnTo>
                    <a:pt x="223" y="363"/>
                  </a:lnTo>
                  <a:lnTo>
                    <a:pt x="227" y="349"/>
                  </a:lnTo>
                  <a:lnTo>
                    <a:pt x="243" y="325"/>
                  </a:lnTo>
                  <a:lnTo>
                    <a:pt x="246" y="322"/>
                  </a:lnTo>
                  <a:lnTo>
                    <a:pt x="267" y="289"/>
                  </a:lnTo>
                  <a:lnTo>
                    <a:pt x="272" y="284"/>
                  </a:lnTo>
                  <a:lnTo>
                    <a:pt x="283" y="278"/>
                  </a:lnTo>
                  <a:lnTo>
                    <a:pt x="291" y="278"/>
                  </a:lnTo>
                  <a:lnTo>
                    <a:pt x="297" y="279"/>
                  </a:lnTo>
                  <a:lnTo>
                    <a:pt x="301" y="282"/>
                  </a:lnTo>
                  <a:lnTo>
                    <a:pt x="306" y="282"/>
                  </a:lnTo>
                  <a:lnTo>
                    <a:pt x="320" y="279"/>
                  </a:lnTo>
                  <a:lnTo>
                    <a:pt x="326" y="274"/>
                  </a:lnTo>
                  <a:lnTo>
                    <a:pt x="331" y="264"/>
                  </a:lnTo>
                  <a:lnTo>
                    <a:pt x="335" y="253"/>
                  </a:lnTo>
                  <a:lnTo>
                    <a:pt x="336" y="248"/>
                  </a:lnTo>
                  <a:lnTo>
                    <a:pt x="336" y="237"/>
                  </a:lnTo>
                  <a:lnTo>
                    <a:pt x="337" y="232"/>
                  </a:lnTo>
                  <a:lnTo>
                    <a:pt x="343" y="219"/>
                  </a:lnTo>
                  <a:lnTo>
                    <a:pt x="345" y="213"/>
                  </a:lnTo>
                  <a:lnTo>
                    <a:pt x="345" y="208"/>
                  </a:lnTo>
                  <a:lnTo>
                    <a:pt x="343" y="198"/>
                  </a:lnTo>
                  <a:lnTo>
                    <a:pt x="346" y="187"/>
                  </a:lnTo>
                  <a:lnTo>
                    <a:pt x="353" y="174"/>
                  </a:lnTo>
                  <a:lnTo>
                    <a:pt x="361" y="164"/>
                  </a:lnTo>
                  <a:lnTo>
                    <a:pt x="366" y="157"/>
                  </a:lnTo>
                  <a:lnTo>
                    <a:pt x="371" y="150"/>
                  </a:lnTo>
                  <a:lnTo>
                    <a:pt x="377" y="145"/>
                  </a:lnTo>
                  <a:lnTo>
                    <a:pt x="425" y="129"/>
                  </a:lnTo>
                  <a:lnTo>
                    <a:pt x="435" y="122"/>
                  </a:lnTo>
                  <a:lnTo>
                    <a:pt x="442" y="110"/>
                  </a:lnTo>
                  <a:lnTo>
                    <a:pt x="448" y="99"/>
                  </a:lnTo>
                  <a:lnTo>
                    <a:pt x="453" y="88"/>
                  </a:lnTo>
                  <a:lnTo>
                    <a:pt x="460" y="82"/>
                  </a:lnTo>
                  <a:lnTo>
                    <a:pt x="467" y="74"/>
                  </a:lnTo>
                  <a:lnTo>
                    <a:pt x="491" y="58"/>
                  </a:lnTo>
                  <a:lnTo>
                    <a:pt x="502" y="47"/>
                  </a:lnTo>
                  <a:lnTo>
                    <a:pt x="512" y="33"/>
                  </a:lnTo>
                  <a:lnTo>
                    <a:pt x="520" y="23"/>
                  </a:lnTo>
                  <a:lnTo>
                    <a:pt x="526" y="17"/>
                  </a:lnTo>
                  <a:lnTo>
                    <a:pt x="543" y="7"/>
                  </a:lnTo>
                  <a:lnTo>
                    <a:pt x="568" y="0"/>
                  </a:lnTo>
                  <a:lnTo>
                    <a:pt x="571" y="14"/>
                  </a:lnTo>
                  <a:lnTo>
                    <a:pt x="592" y="34"/>
                  </a:lnTo>
                  <a:lnTo>
                    <a:pt x="598" y="44"/>
                  </a:lnTo>
                  <a:lnTo>
                    <a:pt x="607" y="53"/>
                  </a:lnTo>
                  <a:lnTo>
                    <a:pt x="620" y="59"/>
                  </a:lnTo>
                  <a:lnTo>
                    <a:pt x="630" y="63"/>
                  </a:lnTo>
                  <a:lnTo>
                    <a:pt x="636" y="88"/>
                  </a:lnTo>
                  <a:lnTo>
                    <a:pt x="643" y="110"/>
                  </a:lnTo>
                  <a:lnTo>
                    <a:pt x="645" y="120"/>
                  </a:lnTo>
                  <a:lnTo>
                    <a:pt x="642" y="128"/>
                  </a:lnTo>
                  <a:lnTo>
                    <a:pt x="638" y="137"/>
                  </a:lnTo>
                  <a:lnTo>
                    <a:pt x="633" y="148"/>
                  </a:lnTo>
                  <a:lnTo>
                    <a:pt x="630" y="165"/>
                  </a:lnTo>
                  <a:lnTo>
                    <a:pt x="625" y="175"/>
                  </a:lnTo>
                  <a:lnTo>
                    <a:pt x="621" y="188"/>
                  </a:lnTo>
                  <a:lnTo>
                    <a:pt x="620" y="194"/>
                  </a:lnTo>
                  <a:lnTo>
                    <a:pt x="623" y="200"/>
                  </a:lnTo>
                  <a:lnTo>
                    <a:pt x="623" y="208"/>
                  </a:lnTo>
                  <a:lnTo>
                    <a:pt x="621" y="212"/>
                  </a:lnTo>
                  <a:lnTo>
                    <a:pt x="613" y="218"/>
                  </a:lnTo>
                  <a:lnTo>
                    <a:pt x="610" y="224"/>
                  </a:lnTo>
                  <a:lnTo>
                    <a:pt x="606" y="245"/>
                  </a:lnTo>
                  <a:lnTo>
                    <a:pt x="602" y="257"/>
                  </a:lnTo>
                  <a:lnTo>
                    <a:pt x="599" y="264"/>
                  </a:lnTo>
                  <a:lnTo>
                    <a:pt x="595" y="269"/>
                  </a:lnTo>
                  <a:lnTo>
                    <a:pt x="596" y="274"/>
                  </a:lnTo>
                  <a:lnTo>
                    <a:pt x="600" y="277"/>
                  </a:lnTo>
                  <a:lnTo>
                    <a:pt x="616" y="282"/>
                  </a:lnTo>
                  <a:lnTo>
                    <a:pt x="620" y="287"/>
                  </a:lnTo>
                  <a:lnTo>
                    <a:pt x="623" y="294"/>
                  </a:lnTo>
                  <a:lnTo>
                    <a:pt x="625" y="302"/>
                  </a:lnTo>
                  <a:lnTo>
                    <a:pt x="626" y="312"/>
                  </a:lnTo>
                  <a:lnTo>
                    <a:pt x="627" y="317"/>
                  </a:lnTo>
                  <a:lnTo>
                    <a:pt x="627" y="323"/>
                  </a:lnTo>
                  <a:lnTo>
                    <a:pt x="626" y="328"/>
                  </a:lnTo>
                  <a:lnTo>
                    <a:pt x="619" y="337"/>
                  </a:lnTo>
                  <a:lnTo>
                    <a:pt x="617" y="343"/>
                  </a:lnTo>
                  <a:lnTo>
                    <a:pt x="619" y="348"/>
                  </a:lnTo>
                  <a:lnTo>
                    <a:pt x="626" y="355"/>
                  </a:lnTo>
                  <a:lnTo>
                    <a:pt x="631" y="358"/>
                  </a:lnTo>
                  <a:lnTo>
                    <a:pt x="639" y="355"/>
                  </a:lnTo>
                  <a:lnTo>
                    <a:pt x="647" y="357"/>
                  </a:lnTo>
                  <a:lnTo>
                    <a:pt x="651" y="349"/>
                  </a:lnTo>
                  <a:lnTo>
                    <a:pt x="656" y="349"/>
                  </a:lnTo>
                  <a:lnTo>
                    <a:pt x="660" y="355"/>
                  </a:lnTo>
                  <a:lnTo>
                    <a:pt x="669" y="369"/>
                  </a:lnTo>
                  <a:lnTo>
                    <a:pt x="675" y="377"/>
                  </a:lnTo>
                  <a:lnTo>
                    <a:pt x="680" y="380"/>
                  </a:lnTo>
                  <a:lnTo>
                    <a:pt x="685" y="382"/>
                  </a:lnTo>
                  <a:lnTo>
                    <a:pt x="691" y="378"/>
                  </a:lnTo>
                  <a:lnTo>
                    <a:pt x="695" y="379"/>
                  </a:lnTo>
                  <a:lnTo>
                    <a:pt x="691" y="394"/>
                  </a:lnTo>
                  <a:lnTo>
                    <a:pt x="691" y="414"/>
                  </a:lnTo>
                  <a:lnTo>
                    <a:pt x="694" y="420"/>
                  </a:lnTo>
                  <a:lnTo>
                    <a:pt x="696" y="425"/>
                  </a:lnTo>
                  <a:lnTo>
                    <a:pt x="701" y="429"/>
                  </a:lnTo>
                  <a:lnTo>
                    <a:pt x="709" y="435"/>
                  </a:lnTo>
                  <a:lnTo>
                    <a:pt x="712" y="447"/>
                  </a:lnTo>
                  <a:lnTo>
                    <a:pt x="711" y="450"/>
                  </a:lnTo>
                  <a:lnTo>
                    <a:pt x="707" y="458"/>
                  </a:lnTo>
                  <a:lnTo>
                    <a:pt x="711" y="462"/>
                  </a:lnTo>
                  <a:lnTo>
                    <a:pt x="719" y="460"/>
                  </a:lnTo>
                  <a:lnTo>
                    <a:pt x="721" y="458"/>
                  </a:lnTo>
                  <a:lnTo>
                    <a:pt x="729" y="454"/>
                  </a:lnTo>
                  <a:lnTo>
                    <a:pt x="734" y="455"/>
                  </a:lnTo>
                  <a:lnTo>
                    <a:pt x="739" y="458"/>
                  </a:lnTo>
                  <a:lnTo>
                    <a:pt x="746" y="465"/>
                  </a:lnTo>
                  <a:lnTo>
                    <a:pt x="759" y="477"/>
                  </a:lnTo>
                  <a:lnTo>
                    <a:pt x="760" y="480"/>
                  </a:lnTo>
                  <a:lnTo>
                    <a:pt x="761" y="502"/>
                  </a:lnTo>
                  <a:lnTo>
                    <a:pt x="760" y="522"/>
                  </a:lnTo>
                  <a:lnTo>
                    <a:pt x="762" y="527"/>
                  </a:lnTo>
                  <a:lnTo>
                    <a:pt x="766" y="530"/>
                  </a:lnTo>
                  <a:lnTo>
                    <a:pt x="771" y="532"/>
                  </a:lnTo>
                  <a:lnTo>
                    <a:pt x="777" y="534"/>
                  </a:lnTo>
                  <a:lnTo>
                    <a:pt x="785" y="540"/>
                  </a:lnTo>
                  <a:lnTo>
                    <a:pt x="792" y="554"/>
                  </a:lnTo>
                  <a:lnTo>
                    <a:pt x="795" y="563"/>
                  </a:lnTo>
                  <a:lnTo>
                    <a:pt x="792" y="574"/>
                  </a:lnTo>
                  <a:lnTo>
                    <a:pt x="792" y="584"/>
                  </a:lnTo>
                  <a:lnTo>
                    <a:pt x="787" y="598"/>
                  </a:lnTo>
                  <a:lnTo>
                    <a:pt x="786" y="605"/>
                  </a:lnTo>
                  <a:lnTo>
                    <a:pt x="784" y="609"/>
                  </a:lnTo>
                  <a:lnTo>
                    <a:pt x="776" y="617"/>
                  </a:lnTo>
                  <a:lnTo>
                    <a:pt x="772" y="623"/>
                  </a:lnTo>
                  <a:lnTo>
                    <a:pt x="771" y="637"/>
                  </a:lnTo>
                  <a:lnTo>
                    <a:pt x="767" y="650"/>
                  </a:lnTo>
                  <a:lnTo>
                    <a:pt x="767" y="658"/>
                  </a:lnTo>
                  <a:lnTo>
                    <a:pt x="769" y="668"/>
                  </a:lnTo>
                  <a:lnTo>
                    <a:pt x="772" y="674"/>
                  </a:lnTo>
                  <a:lnTo>
                    <a:pt x="776" y="673"/>
                  </a:lnTo>
                  <a:lnTo>
                    <a:pt x="781" y="669"/>
                  </a:lnTo>
                  <a:lnTo>
                    <a:pt x="787" y="660"/>
                  </a:lnTo>
                  <a:lnTo>
                    <a:pt x="802" y="650"/>
                  </a:lnTo>
                  <a:lnTo>
                    <a:pt x="807" y="649"/>
                  </a:lnTo>
                  <a:lnTo>
                    <a:pt x="814" y="653"/>
                  </a:lnTo>
                  <a:lnTo>
                    <a:pt x="819" y="663"/>
                  </a:lnTo>
                  <a:lnTo>
                    <a:pt x="824" y="675"/>
                  </a:lnTo>
                  <a:lnTo>
                    <a:pt x="825" y="684"/>
                  </a:lnTo>
                  <a:lnTo>
                    <a:pt x="826" y="692"/>
                  </a:lnTo>
                  <a:lnTo>
                    <a:pt x="826" y="705"/>
                  </a:lnTo>
                  <a:lnTo>
                    <a:pt x="831" y="73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49" name="Málaga" descr="{&quot;Key&quot;:&quot;málaga&quot;,&quot;Name&quot;:&quot;Málaga&quot;,&quot;Value&quot;:1.0,&quot;Formula&quot;:&quot;&quot;,&quot;Text&quot;:&quot;1&quot;,&quot;HasValue&quot;:true}">
              <a:extLst>
                <a:ext uri="{FF2B5EF4-FFF2-40B4-BE49-F238E27FC236}">
                  <a16:creationId xmlns:a16="http://schemas.microsoft.com/office/drawing/2014/main" id="{94B7AC3E-FECC-5C52-DFB7-5EC2C9929C15}"/>
                </a:ext>
              </a:extLst>
            </p:cNvPr>
            <p:cNvSpPr>
              <a:spLocks/>
            </p:cNvSpPr>
            <p:nvPr/>
          </p:nvSpPr>
          <p:spPr bwMode="auto">
            <a:xfrm>
              <a:off x="2571967" y="5219678"/>
              <a:ext cx="702719" cy="468951"/>
            </a:xfrm>
            <a:custGeom>
              <a:avLst/>
              <a:gdLst>
                <a:gd name="T0" fmla="*/ 731 w 1020"/>
                <a:gd name="T1" fmla="*/ 109 h 679"/>
                <a:gd name="T2" fmla="*/ 740 w 1020"/>
                <a:gd name="T3" fmla="*/ 167 h 679"/>
                <a:gd name="T4" fmla="*/ 809 w 1020"/>
                <a:gd name="T5" fmla="*/ 229 h 679"/>
                <a:gd name="T6" fmla="*/ 986 w 1020"/>
                <a:gd name="T7" fmla="*/ 293 h 679"/>
                <a:gd name="T8" fmla="*/ 1011 w 1020"/>
                <a:gd name="T9" fmla="*/ 357 h 679"/>
                <a:gd name="T10" fmla="*/ 980 w 1020"/>
                <a:gd name="T11" fmla="*/ 365 h 679"/>
                <a:gd name="T12" fmla="*/ 912 w 1020"/>
                <a:gd name="T13" fmla="*/ 383 h 679"/>
                <a:gd name="T14" fmla="*/ 846 w 1020"/>
                <a:gd name="T15" fmla="*/ 370 h 679"/>
                <a:gd name="T16" fmla="*/ 781 w 1020"/>
                <a:gd name="T17" fmla="*/ 390 h 679"/>
                <a:gd name="T18" fmla="*/ 667 w 1020"/>
                <a:gd name="T19" fmla="*/ 384 h 679"/>
                <a:gd name="T20" fmla="*/ 651 w 1020"/>
                <a:gd name="T21" fmla="*/ 394 h 679"/>
                <a:gd name="T22" fmla="*/ 625 w 1020"/>
                <a:gd name="T23" fmla="*/ 434 h 679"/>
                <a:gd name="T24" fmla="*/ 616 w 1020"/>
                <a:gd name="T25" fmla="*/ 455 h 679"/>
                <a:gd name="T26" fmla="*/ 565 w 1020"/>
                <a:gd name="T27" fmla="*/ 488 h 679"/>
                <a:gd name="T28" fmla="*/ 531 w 1020"/>
                <a:gd name="T29" fmla="*/ 530 h 679"/>
                <a:gd name="T30" fmla="*/ 514 w 1020"/>
                <a:gd name="T31" fmla="*/ 539 h 679"/>
                <a:gd name="T32" fmla="*/ 468 w 1020"/>
                <a:gd name="T33" fmla="*/ 543 h 679"/>
                <a:gd name="T34" fmla="*/ 390 w 1020"/>
                <a:gd name="T35" fmla="*/ 534 h 679"/>
                <a:gd name="T36" fmla="*/ 379 w 1020"/>
                <a:gd name="T37" fmla="*/ 542 h 679"/>
                <a:gd name="T38" fmla="*/ 302 w 1020"/>
                <a:gd name="T39" fmla="*/ 571 h 679"/>
                <a:gd name="T40" fmla="*/ 270 w 1020"/>
                <a:gd name="T41" fmla="*/ 590 h 679"/>
                <a:gd name="T42" fmla="*/ 240 w 1020"/>
                <a:gd name="T43" fmla="*/ 596 h 679"/>
                <a:gd name="T44" fmla="*/ 226 w 1020"/>
                <a:gd name="T45" fmla="*/ 610 h 679"/>
                <a:gd name="T46" fmla="*/ 210 w 1020"/>
                <a:gd name="T47" fmla="*/ 644 h 679"/>
                <a:gd name="T48" fmla="*/ 196 w 1020"/>
                <a:gd name="T49" fmla="*/ 679 h 679"/>
                <a:gd name="T50" fmla="*/ 159 w 1020"/>
                <a:gd name="T51" fmla="*/ 660 h 679"/>
                <a:gd name="T52" fmla="*/ 140 w 1020"/>
                <a:gd name="T53" fmla="*/ 585 h 679"/>
                <a:gd name="T54" fmla="*/ 106 w 1020"/>
                <a:gd name="T55" fmla="*/ 534 h 679"/>
                <a:gd name="T56" fmla="*/ 92 w 1020"/>
                <a:gd name="T57" fmla="*/ 523 h 679"/>
                <a:gd name="T58" fmla="*/ 52 w 1020"/>
                <a:gd name="T59" fmla="*/ 532 h 679"/>
                <a:gd name="T60" fmla="*/ 20 w 1020"/>
                <a:gd name="T61" fmla="*/ 544 h 679"/>
                <a:gd name="T62" fmla="*/ 4 w 1020"/>
                <a:gd name="T63" fmla="*/ 534 h 679"/>
                <a:gd name="T64" fmla="*/ 2 w 1020"/>
                <a:gd name="T65" fmla="*/ 517 h 679"/>
                <a:gd name="T66" fmla="*/ 54 w 1020"/>
                <a:gd name="T67" fmla="*/ 498 h 679"/>
                <a:gd name="T68" fmla="*/ 75 w 1020"/>
                <a:gd name="T69" fmla="*/ 482 h 679"/>
                <a:gd name="T70" fmla="*/ 90 w 1020"/>
                <a:gd name="T71" fmla="*/ 458 h 679"/>
                <a:gd name="T72" fmla="*/ 140 w 1020"/>
                <a:gd name="T73" fmla="*/ 437 h 679"/>
                <a:gd name="T74" fmla="*/ 159 w 1020"/>
                <a:gd name="T75" fmla="*/ 382 h 679"/>
                <a:gd name="T76" fmla="*/ 171 w 1020"/>
                <a:gd name="T77" fmla="*/ 352 h 679"/>
                <a:gd name="T78" fmla="*/ 147 w 1020"/>
                <a:gd name="T79" fmla="*/ 314 h 679"/>
                <a:gd name="T80" fmla="*/ 167 w 1020"/>
                <a:gd name="T81" fmla="*/ 287 h 679"/>
                <a:gd name="T82" fmla="*/ 191 w 1020"/>
                <a:gd name="T83" fmla="*/ 280 h 679"/>
                <a:gd name="T84" fmla="*/ 247 w 1020"/>
                <a:gd name="T85" fmla="*/ 310 h 679"/>
                <a:gd name="T86" fmla="*/ 277 w 1020"/>
                <a:gd name="T87" fmla="*/ 285 h 679"/>
                <a:gd name="T88" fmla="*/ 290 w 1020"/>
                <a:gd name="T89" fmla="*/ 245 h 679"/>
                <a:gd name="T90" fmla="*/ 257 w 1020"/>
                <a:gd name="T91" fmla="*/ 190 h 679"/>
                <a:gd name="T92" fmla="*/ 391 w 1020"/>
                <a:gd name="T93" fmla="*/ 99 h 679"/>
                <a:gd name="T94" fmla="*/ 360 w 1020"/>
                <a:gd name="T95" fmla="*/ 77 h 679"/>
                <a:gd name="T96" fmla="*/ 367 w 1020"/>
                <a:gd name="T97" fmla="*/ 70 h 679"/>
                <a:gd name="T98" fmla="*/ 380 w 1020"/>
                <a:gd name="T99" fmla="*/ 68 h 679"/>
                <a:gd name="T100" fmla="*/ 409 w 1020"/>
                <a:gd name="T101" fmla="*/ 77 h 679"/>
                <a:gd name="T102" fmla="*/ 417 w 1020"/>
                <a:gd name="T103" fmla="*/ 62 h 679"/>
                <a:gd name="T104" fmla="*/ 425 w 1020"/>
                <a:gd name="T105" fmla="*/ 59 h 679"/>
                <a:gd name="T106" fmla="*/ 460 w 1020"/>
                <a:gd name="T107" fmla="*/ 80 h 679"/>
                <a:gd name="T108" fmla="*/ 491 w 1020"/>
                <a:gd name="T109" fmla="*/ 57 h 679"/>
                <a:gd name="T110" fmla="*/ 484 w 1020"/>
                <a:gd name="T111" fmla="*/ 23 h 679"/>
                <a:gd name="T112" fmla="*/ 529 w 1020"/>
                <a:gd name="T113" fmla="*/ 15 h 679"/>
                <a:gd name="T114" fmla="*/ 560 w 1020"/>
                <a:gd name="T115" fmla="*/ 39 h 679"/>
                <a:gd name="T116" fmla="*/ 625 w 1020"/>
                <a:gd name="T117" fmla="*/ 27 h 679"/>
                <a:gd name="T118" fmla="*/ 679 w 1020"/>
                <a:gd name="T119" fmla="*/ 0 h 679"/>
                <a:gd name="T120" fmla="*/ 710 w 1020"/>
                <a:gd name="T121" fmla="*/ 52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0" h="679">
                  <a:moveTo>
                    <a:pt x="714" y="63"/>
                  </a:moveTo>
                  <a:lnTo>
                    <a:pt x="731" y="109"/>
                  </a:lnTo>
                  <a:lnTo>
                    <a:pt x="735" y="154"/>
                  </a:lnTo>
                  <a:lnTo>
                    <a:pt x="740" y="167"/>
                  </a:lnTo>
                  <a:lnTo>
                    <a:pt x="746" y="177"/>
                  </a:lnTo>
                  <a:lnTo>
                    <a:pt x="809" y="229"/>
                  </a:lnTo>
                  <a:lnTo>
                    <a:pt x="960" y="295"/>
                  </a:lnTo>
                  <a:lnTo>
                    <a:pt x="986" y="293"/>
                  </a:lnTo>
                  <a:lnTo>
                    <a:pt x="1020" y="330"/>
                  </a:lnTo>
                  <a:lnTo>
                    <a:pt x="1011" y="357"/>
                  </a:lnTo>
                  <a:lnTo>
                    <a:pt x="1015" y="377"/>
                  </a:lnTo>
                  <a:lnTo>
                    <a:pt x="980" y="365"/>
                  </a:lnTo>
                  <a:lnTo>
                    <a:pt x="952" y="370"/>
                  </a:lnTo>
                  <a:lnTo>
                    <a:pt x="912" y="383"/>
                  </a:lnTo>
                  <a:lnTo>
                    <a:pt x="860" y="368"/>
                  </a:lnTo>
                  <a:lnTo>
                    <a:pt x="846" y="370"/>
                  </a:lnTo>
                  <a:lnTo>
                    <a:pt x="830" y="383"/>
                  </a:lnTo>
                  <a:lnTo>
                    <a:pt x="781" y="390"/>
                  </a:lnTo>
                  <a:lnTo>
                    <a:pt x="766" y="393"/>
                  </a:lnTo>
                  <a:lnTo>
                    <a:pt x="667" y="384"/>
                  </a:lnTo>
                  <a:lnTo>
                    <a:pt x="657" y="387"/>
                  </a:lnTo>
                  <a:lnTo>
                    <a:pt x="651" y="394"/>
                  </a:lnTo>
                  <a:lnTo>
                    <a:pt x="632" y="427"/>
                  </a:lnTo>
                  <a:lnTo>
                    <a:pt x="625" y="434"/>
                  </a:lnTo>
                  <a:lnTo>
                    <a:pt x="619" y="445"/>
                  </a:lnTo>
                  <a:lnTo>
                    <a:pt x="616" y="455"/>
                  </a:lnTo>
                  <a:lnTo>
                    <a:pt x="600" y="483"/>
                  </a:lnTo>
                  <a:lnTo>
                    <a:pt x="565" y="488"/>
                  </a:lnTo>
                  <a:lnTo>
                    <a:pt x="550" y="518"/>
                  </a:lnTo>
                  <a:lnTo>
                    <a:pt x="531" y="530"/>
                  </a:lnTo>
                  <a:lnTo>
                    <a:pt x="525" y="534"/>
                  </a:lnTo>
                  <a:lnTo>
                    <a:pt x="514" y="539"/>
                  </a:lnTo>
                  <a:lnTo>
                    <a:pt x="490" y="544"/>
                  </a:lnTo>
                  <a:lnTo>
                    <a:pt x="468" y="543"/>
                  </a:lnTo>
                  <a:lnTo>
                    <a:pt x="402" y="535"/>
                  </a:lnTo>
                  <a:lnTo>
                    <a:pt x="390" y="534"/>
                  </a:lnTo>
                  <a:lnTo>
                    <a:pt x="385" y="537"/>
                  </a:lnTo>
                  <a:lnTo>
                    <a:pt x="379" y="542"/>
                  </a:lnTo>
                  <a:lnTo>
                    <a:pt x="340" y="569"/>
                  </a:lnTo>
                  <a:lnTo>
                    <a:pt x="302" y="571"/>
                  </a:lnTo>
                  <a:lnTo>
                    <a:pt x="276" y="588"/>
                  </a:lnTo>
                  <a:lnTo>
                    <a:pt x="270" y="590"/>
                  </a:lnTo>
                  <a:lnTo>
                    <a:pt x="249" y="593"/>
                  </a:lnTo>
                  <a:lnTo>
                    <a:pt x="240" y="596"/>
                  </a:lnTo>
                  <a:lnTo>
                    <a:pt x="234" y="600"/>
                  </a:lnTo>
                  <a:lnTo>
                    <a:pt x="226" y="610"/>
                  </a:lnTo>
                  <a:lnTo>
                    <a:pt x="211" y="637"/>
                  </a:lnTo>
                  <a:lnTo>
                    <a:pt x="210" y="644"/>
                  </a:lnTo>
                  <a:lnTo>
                    <a:pt x="201" y="669"/>
                  </a:lnTo>
                  <a:lnTo>
                    <a:pt x="196" y="679"/>
                  </a:lnTo>
                  <a:lnTo>
                    <a:pt x="182" y="652"/>
                  </a:lnTo>
                  <a:lnTo>
                    <a:pt x="159" y="660"/>
                  </a:lnTo>
                  <a:lnTo>
                    <a:pt x="151" y="612"/>
                  </a:lnTo>
                  <a:lnTo>
                    <a:pt x="140" y="585"/>
                  </a:lnTo>
                  <a:lnTo>
                    <a:pt x="120" y="563"/>
                  </a:lnTo>
                  <a:lnTo>
                    <a:pt x="106" y="534"/>
                  </a:lnTo>
                  <a:lnTo>
                    <a:pt x="100" y="527"/>
                  </a:lnTo>
                  <a:lnTo>
                    <a:pt x="92" y="523"/>
                  </a:lnTo>
                  <a:lnTo>
                    <a:pt x="72" y="524"/>
                  </a:lnTo>
                  <a:lnTo>
                    <a:pt x="52" y="532"/>
                  </a:lnTo>
                  <a:lnTo>
                    <a:pt x="31" y="544"/>
                  </a:lnTo>
                  <a:lnTo>
                    <a:pt x="20" y="544"/>
                  </a:lnTo>
                  <a:lnTo>
                    <a:pt x="12" y="540"/>
                  </a:lnTo>
                  <a:lnTo>
                    <a:pt x="4" y="534"/>
                  </a:lnTo>
                  <a:lnTo>
                    <a:pt x="0" y="525"/>
                  </a:lnTo>
                  <a:lnTo>
                    <a:pt x="2" y="517"/>
                  </a:lnTo>
                  <a:lnTo>
                    <a:pt x="7" y="513"/>
                  </a:lnTo>
                  <a:lnTo>
                    <a:pt x="54" y="498"/>
                  </a:lnTo>
                  <a:lnTo>
                    <a:pt x="69" y="489"/>
                  </a:lnTo>
                  <a:lnTo>
                    <a:pt x="75" y="482"/>
                  </a:lnTo>
                  <a:lnTo>
                    <a:pt x="85" y="463"/>
                  </a:lnTo>
                  <a:lnTo>
                    <a:pt x="90" y="458"/>
                  </a:lnTo>
                  <a:lnTo>
                    <a:pt x="124" y="447"/>
                  </a:lnTo>
                  <a:lnTo>
                    <a:pt x="140" y="437"/>
                  </a:lnTo>
                  <a:lnTo>
                    <a:pt x="149" y="424"/>
                  </a:lnTo>
                  <a:lnTo>
                    <a:pt x="159" y="382"/>
                  </a:lnTo>
                  <a:lnTo>
                    <a:pt x="170" y="367"/>
                  </a:lnTo>
                  <a:lnTo>
                    <a:pt x="171" y="352"/>
                  </a:lnTo>
                  <a:lnTo>
                    <a:pt x="152" y="328"/>
                  </a:lnTo>
                  <a:lnTo>
                    <a:pt x="147" y="314"/>
                  </a:lnTo>
                  <a:lnTo>
                    <a:pt x="151" y="304"/>
                  </a:lnTo>
                  <a:lnTo>
                    <a:pt x="167" y="287"/>
                  </a:lnTo>
                  <a:lnTo>
                    <a:pt x="175" y="282"/>
                  </a:lnTo>
                  <a:lnTo>
                    <a:pt x="191" y="280"/>
                  </a:lnTo>
                  <a:lnTo>
                    <a:pt x="229" y="312"/>
                  </a:lnTo>
                  <a:lnTo>
                    <a:pt x="247" y="310"/>
                  </a:lnTo>
                  <a:lnTo>
                    <a:pt x="264" y="302"/>
                  </a:lnTo>
                  <a:lnTo>
                    <a:pt x="277" y="285"/>
                  </a:lnTo>
                  <a:lnTo>
                    <a:pt x="287" y="267"/>
                  </a:lnTo>
                  <a:lnTo>
                    <a:pt x="290" y="245"/>
                  </a:lnTo>
                  <a:lnTo>
                    <a:pt x="282" y="224"/>
                  </a:lnTo>
                  <a:lnTo>
                    <a:pt x="257" y="190"/>
                  </a:lnTo>
                  <a:lnTo>
                    <a:pt x="382" y="114"/>
                  </a:lnTo>
                  <a:lnTo>
                    <a:pt x="391" y="99"/>
                  </a:lnTo>
                  <a:lnTo>
                    <a:pt x="366" y="85"/>
                  </a:lnTo>
                  <a:lnTo>
                    <a:pt x="360" y="77"/>
                  </a:lnTo>
                  <a:lnTo>
                    <a:pt x="362" y="73"/>
                  </a:lnTo>
                  <a:lnTo>
                    <a:pt x="367" y="70"/>
                  </a:lnTo>
                  <a:lnTo>
                    <a:pt x="374" y="68"/>
                  </a:lnTo>
                  <a:lnTo>
                    <a:pt x="380" y="68"/>
                  </a:lnTo>
                  <a:lnTo>
                    <a:pt x="404" y="78"/>
                  </a:lnTo>
                  <a:lnTo>
                    <a:pt x="409" y="77"/>
                  </a:lnTo>
                  <a:lnTo>
                    <a:pt x="414" y="72"/>
                  </a:lnTo>
                  <a:lnTo>
                    <a:pt x="417" y="62"/>
                  </a:lnTo>
                  <a:lnTo>
                    <a:pt x="421" y="59"/>
                  </a:lnTo>
                  <a:lnTo>
                    <a:pt x="425" y="59"/>
                  </a:lnTo>
                  <a:lnTo>
                    <a:pt x="450" y="83"/>
                  </a:lnTo>
                  <a:lnTo>
                    <a:pt x="460" y="80"/>
                  </a:lnTo>
                  <a:lnTo>
                    <a:pt x="481" y="67"/>
                  </a:lnTo>
                  <a:lnTo>
                    <a:pt x="491" y="57"/>
                  </a:lnTo>
                  <a:lnTo>
                    <a:pt x="492" y="44"/>
                  </a:lnTo>
                  <a:lnTo>
                    <a:pt x="484" y="23"/>
                  </a:lnTo>
                  <a:lnTo>
                    <a:pt x="492" y="12"/>
                  </a:lnTo>
                  <a:lnTo>
                    <a:pt x="529" y="15"/>
                  </a:lnTo>
                  <a:lnTo>
                    <a:pt x="551" y="15"/>
                  </a:lnTo>
                  <a:lnTo>
                    <a:pt x="560" y="39"/>
                  </a:lnTo>
                  <a:lnTo>
                    <a:pt x="592" y="45"/>
                  </a:lnTo>
                  <a:lnTo>
                    <a:pt x="625" y="27"/>
                  </a:lnTo>
                  <a:lnTo>
                    <a:pt x="644" y="0"/>
                  </a:lnTo>
                  <a:lnTo>
                    <a:pt x="679" y="0"/>
                  </a:lnTo>
                  <a:lnTo>
                    <a:pt x="685" y="43"/>
                  </a:lnTo>
                  <a:lnTo>
                    <a:pt x="710" y="52"/>
                  </a:lnTo>
                  <a:lnTo>
                    <a:pt x="714" y="63"/>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50" name="Murcia" descr="{&quot;Key&quot;:&quot;murcia&quot;,&quot;Name&quot;:&quot;Murcia&quot;,&quot;Value&quot;:1.0,&quot;Formula&quot;:&quot;&quot;,&quot;Text&quot;:&quot;1&quot;,&quot;HasValue&quot;:true}">
              <a:extLst>
                <a:ext uri="{FF2B5EF4-FFF2-40B4-BE49-F238E27FC236}">
                  <a16:creationId xmlns:a16="http://schemas.microsoft.com/office/drawing/2014/main" id="{5A04DCD1-FB28-A782-0E9F-F06BEB769FA2}"/>
                </a:ext>
              </a:extLst>
            </p:cNvPr>
            <p:cNvSpPr>
              <a:spLocks noEditPoints="1"/>
            </p:cNvSpPr>
            <p:nvPr/>
          </p:nvSpPr>
          <p:spPr bwMode="auto">
            <a:xfrm>
              <a:off x="3821559" y="4501376"/>
              <a:ext cx="626213" cy="668716"/>
            </a:xfrm>
            <a:custGeom>
              <a:avLst/>
              <a:gdLst>
                <a:gd name="T0" fmla="*/ 879 w 908"/>
                <a:gd name="T1" fmla="*/ 735 h 968"/>
                <a:gd name="T2" fmla="*/ 888 w 908"/>
                <a:gd name="T3" fmla="*/ 707 h 968"/>
                <a:gd name="T4" fmla="*/ 729 w 908"/>
                <a:gd name="T5" fmla="*/ 70 h 968"/>
                <a:gd name="T6" fmla="*/ 732 w 908"/>
                <a:gd name="T7" fmla="*/ 165 h 968"/>
                <a:gd name="T8" fmla="*/ 704 w 908"/>
                <a:gd name="T9" fmla="*/ 217 h 968"/>
                <a:gd name="T10" fmla="*/ 696 w 908"/>
                <a:gd name="T11" fmla="*/ 269 h 968"/>
                <a:gd name="T12" fmla="*/ 716 w 908"/>
                <a:gd name="T13" fmla="*/ 290 h 968"/>
                <a:gd name="T14" fmla="*/ 759 w 908"/>
                <a:gd name="T15" fmla="*/ 343 h 968"/>
                <a:gd name="T16" fmla="*/ 752 w 908"/>
                <a:gd name="T17" fmla="*/ 390 h 968"/>
                <a:gd name="T18" fmla="*/ 727 w 908"/>
                <a:gd name="T19" fmla="*/ 438 h 968"/>
                <a:gd name="T20" fmla="*/ 731 w 908"/>
                <a:gd name="T21" fmla="*/ 485 h 968"/>
                <a:gd name="T22" fmla="*/ 767 w 908"/>
                <a:gd name="T23" fmla="*/ 544 h 968"/>
                <a:gd name="T24" fmla="*/ 788 w 908"/>
                <a:gd name="T25" fmla="*/ 580 h 968"/>
                <a:gd name="T26" fmla="*/ 835 w 908"/>
                <a:gd name="T27" fmla="*/ 629 h 968"/>
                <a:gd name="T28" fmla="*/ 864 w 908"/>
                <a:gd name="T29" fmla="*/ 644 h 968"/>
                <a:gd name="T30" fmla="*/ 859 w 908"/>
                <a:gd name="T31" fmla="*/ 658 h 968"/>
                <a:gd name="T32" fmla="*/ 822 w 908"/>
                <a:gd name="T33" fmla="*/ 714 h 968"/>
                <a:gd name="T34" fmla="*/ 865 w 908"/>
                <a:gd name="T35" fmla="*/ 779 h 968"/>
                <a:gd name="T36" fmla="*/ 904 w 908"/>
                <a:gd name="T37" fmla="*/ 784 h 968"/>
                <a:gd name="T38" fmla="*/ 893 w 908"/>
                <a:gd name="T39" fmla="*/ 811 h 968"/>
                <a:gd name="T40" fmla="*/ 873 w 908"/>
                <a:gd name="T41" fmla="*/ 814 h 968"/>
                <a:gd name="T42" fmla="*/ 812 w 908"/>
                <a:gd name="T43" fmla="*/ 830 h 968"/>
                <a:gd name="T44" fmla="*/ 779 w 908"/>
                <a:gd name="T45" fmla="*/ 841 h 968"/>
                <a:gd name="T46" fmla="*/ 693 w 908"/>
                <a:gd name="T47" fmla="*/ 828 h 968"/>
                <a:gd name="T48" fmla="*/ 677 w 908"/>
                <a:gd name="T49" fmla="*/ 850 h 968"/>
                <a:gd name="T50" fmla="*/ 632 w 908"/>
                <a:gd name="T51" fmla="*/ 838 h 968"/>
                <a:gd name="T52" fmla="*/ 597 w 908"/>
                <a:gd name="T53" fmla="*/ 844 h 968"/>
                <a:gd name="T54" fmla="*/ 537 w 908"/>
                <a:gd name="T55" fmla="*/ 855 h 968"/>
                <a:gd name="T56" fmla="*/ 485 w 908"/>
                <a:gd name="T57" fmla="*/ 893 h 968"/>
                <a:gd name="T58" fmla="*/ 472 w 908"/>
                <a:gd name="T59" fmla="*/ 931 h 968"/>
                <a:gd name="T60" fmla="*/ 452 w 908"/>
                <a:gd name="T61" fmla="*/ 934 h 968"/>
                <a:gd name="T62" fmla="*/ 399 w 908"/>
                <a:gd name="T63" fmla="*/ 959 h 968"/>
                <a:gd name="T64" fmla="*/ 303 w 908"/>
                <a:gd name="T65" fmla="*/ 919 h 968"/>
                <a:gd name="T66" fmla="*/ 284 w 908"/>
                <a:gd name="T67" fmla="*/ 923 h 968"/>
                <a:gd name="T68" fmla="*/ 187 w 908"/>
                <a:gd name="T69" fmla="*/ 776 h 968"/>
                <a:gd name="T70" fmla="*/ 185 w 908"/>
                <a:gd name="T71" fmla="*/ 736 h 968"/>
                <a:gd name="T72" fmla="*/ 188 w 908"/>
                <a:gd name="T73" fmla="*/ 708 h 968"/>
                <a:gd name="T74" fmla="*/ 192 w 908"/>
                <a:gd name="T75" fmla="*/ 650 h 968"/>
                <a:gd name="T76" fmla="*/ 200 w 908"/>
                <a:gd name="T77" fmla="*/ 628 h 968"/>
                <a:gd name="T78" fmla="*/ 118 w 908"/>
                <a:gd name="T79" fmla="*/ 605 h 968"/>
                <a:gd name="T80" fmla="*/ 43 w 908"/>
                <a:gd name="T81" fmla="*/ 566 h 968"/>
                <a:gd name="T82" fmla="*/ 0 w 908"/>
                <a:gd name="T83" fmla="*/ 515 h 968"/>
                <a:gd name="T84" fmla="*/ 49 w 908"/>
                <a:gd name="T85" fmla="*/ 438 h 968"/>
                <a:gd name="T86" fmla="*/ 93 w 908"/>
                <a:gd name="T87" fmla="*/ 375 h 968"/>
                <a:gd name="T88" fmla="*/ 140 w 908"/>
                <a:gd name="T89" fmla="*/ 346 h 968"/>
                <a:gd name="T90" fmla="*/ 174 w 908"/>
                <a:gd name="T91" fmla="*/ 323 h 968"/>
                <a:gd name="T92" fmla="*/ 195 w 908"/>
                <a:gd name="T93" fmla="*/ 336 h 968"/>
                <a:gd name="T94" fmla="*/ 250 w 908"/>
                <a:gd name="T95" fmla="*/ 318 h 968"/>
                <a:gd name="T96" fmla="*/ 303 w 908"/>
                <a:gd name="T97" fmla="*/ 275 h 968"/>
                <a:gd name="T98" fmla="*/ 334 w 908"/>
                <a:gd name="T99" fmla="*/ 265 h 968"/>
                <a:gd name="T100" fmla="*/ 363 w 908"/>
                <a:gd name="T101" fmla="*/ 278 h 968"/>
                <a:gd name="T102" fmla="*/ 369 w 908"/>
                <a:gd name="T103" fmla="*/ 305 h 968"/>
                <a:gd name="T104" fmla="*/ 394 w 908"/>
                <a:gd name="T105" fmla="*/ 314 h 968"/>
                <a:gd name="T106" fmla="*/ 475 w 908"/>
                <a:gd name="T107" fmla="*/ 259 h 968"/>
                <a:gd name="T108" fmla="*/ 474 w 908"/>
                <a:gd name="T109" fmla="*/ 214 h 968"/>
                <a:gd name="T110" fmla="*/ 464 w 908"/>
                <a:gd name="T111" fmla="*/ 164 h 968"/>
                <a:gd name="T112" fmla="*/ 478 w 908"/>
                <a:gd name="T113" fmla="*/ 130 h 968"/>
                <a:gd name="T114" fmla="*/ 492 w 908"/>
                <a:gd name="T115" fmla="*/ 89 h 968"/>
                <a:gd name="T116" fmla="*/ 535 w 908"/>
                <a:gd name="T117" fmla="*/ 36 h 968"/>
                <a:gd name="T118" fmla="*/ 557 w 908"/>
                <a:gd name="T119" fmla="*/ 48 h 968"/>
                <a:gd name="T120" fmla="*/ 613 w 908"/>
                <a:gd name="T121" fmla="*/ 8 h 968"/>
                <a:gd name="T122" fmla="*/ 675 w 908"/>
                <a:gd name="T123" fmla="*/ 10 h 968"/>
                <a:gd name="T124" fmla="*/ 699 w 908"/>
                <a:gd name="T125" fmla="*/ 47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8" h="968">
                  <a:moveTo>
                    <a:pt x="886" y="743"/>
                  </a:moveTo>
                  <a:lnTo>
                    <a:pt x="893" y="769"/>
                  </a:lnTo>
                  <a:lnTo>
                    <a:pt x="882" y="755"/>
                  </a:lnTo>
                  <a:lnTo>
                    <a:pt x="879" y="735"/>
                  </a:lnTo>
                  <a:lnTo>
                    <a:pt x="881" y="712"/>
                  </a:lnTo>
                  <a:lnTo>
                    <a:pt x="878" y="692"/>
                  </a:lnTo>
                  <a:lnTo>
                    <a:pt x="882" y="695"/>
                  </a:lnTo>
                  <a:lnTo>
                    <a:pt x="888" y="707"/>
                  </a:lnTo>
                  <a:lnTo>
                    <a:pt x="891" y="710"/>
                  </a:lnTo>
                  <a:lnTo>
                    <a:pt x="886" y="727"/>
                  </a:lnTo>
                  <a:lnTo>
                    <a:pt x="886" y="743"/>
                  </a:lnTo>
                  <a:close/>
                  <a:moveTo>
                    <a:pt x="729" y="70"/>
                  </a:moveTo>
                  <a:lnTo>
                    <a:pt x="739" y="117"/>
                  </a:lnTo>
                  <a:lnTo>
                    <a:pt x="739" y="134"/>
                  </a:lnTo>
                  <a:lnTo>
                    <a:pt x="733" y="154"/>
                  </a:lnTo>
                  <a:lnTo>
                    <a:pt x="732" y="165"/>
                  </a:lnTo>
                  <a:lnTo>
                    <a:pt x="733" y="181"/>
                  </a:lnTo>
                  <a:lnTo>
                    <a:pt x="729" y="192"/>
                  </a:lnTo>
                  <a:lnTo>
                    <a:pt x="726" y="196"/>
                  </a:lnTo>
                  <a:lnTo>
                    <a:pt x="704" y="217"/>
                  </a:lnTo>
                  <a:lnTo>
                    <a:pt x="701" y="221"/>
                  </a:lnTo>
                  <a:lnTo>
                    <a:pt x="697" y="229"/>
                  </a:lnTo>
                  <a:lnTo>
                    <a:pt x="696" y="240"/>
                  </a:lnTo>
                  <a:lnTo>
                    <a:pt x="696" y="269"/>
                  </a:lnTo>
                  <a:lnTo>
                    <a:pt x="697" y="280"/>
                  </a:lnTo>
                  <a:lnTo>
                    <a:pt x="699" y="286"/>
                  </a:lnTo>
                  <a:lnTo>
                    <a:pt x="704" y="289"/>
                  </a:lnTo>
                  <a:lnTo>
                    <a:pt x="716" y="290"/>
                  </a:lnTo>
                  <a:lnTo>
                    <a:pt x="736" y="298"/>
                  </a:lnTo>
                  <a:lnTo>
                    <a:pt x="746" y="304"/>
                  </a:lnTo>
                  <a:lnTo>
                    <a:pt x="751" y="314"/>
                  </a:lnTo>
                  <a:lnTo>
                    <a:pt x="759" y="343"/>
                  </a:lnTo>
                  <a:lnTo>
                    <a:pt x="759" y="352"/>
                  </a:lnTo>
                  <a:lnTo>
                    <a:pt x="757" y="363"/>
                  </a:lnTo>
                  <a:lnTo>
                    <a:pt x="756" y="368"/>
                  </a:lnTo>
                  <a:lnTo>
                    <a:pt x="752" y="390"/>
                  </a:lnTo>
                  <a:lnTo>
                    <a:pt x="749" y="395"/>
                  </a:lnTo>
                  <a:lnTo>
                    <a:pt x="746" y="406"/>
                  </a:lnTo>
                  <a:lnTo>
                    <a:pt x="729" y="430"/>
                  </a:lnTo>
                  <a:lnTo>
                    <a:pt x="727" y="438"/>
                  </a:lnTo>
                  <a:lnTo>
                    <a:pt x="724" y="451"/>
                  </a:lnTo>
                  <a:lnTo>
                    <a:pt x="724" y="465"/>
                  </a:lnTo>
                  <a:lnTo>
                    <a:pt x="728" y="478"/>
                  </a:lnTo>
                  <a:lnTo>
                    <a:pt x="731" y="485"/>
                  </a:lnTo>
                  <a:lnTo>
                    <a:pt x="741" y="497"/>
                  </a:lnTo>
                  <a:lnTo>
                    <a:pt x="752" y="515"/>
                  </a:lnTo>
                  <a:lnTo>
                    <a:pt x="761" y="533"/>
                  </a:lnTo>
                  <a:lnTo>
                    <a:pt x="767" y="544"/>
                  </a:lnTo>
                  <a:lnTo>
                    <a:pt x="770" y="549"/>
                  </a:lnTo>
                  <a:lnTo>
                    <a:pt x="778" y="561"/>
                  </a:lnTo>
                  <a:lnTo>
                    <a:pt x="784" y="575"/>
                  </a:lnTo>
                  <a:lnTo>
                    <a:pt x="788" y="580"/>
                  </a:lnTo>
                  <a:lnTo>
                    <a:pt x="804" y="598"/>
                  </a:lnTo>
                  <a:lnTo>
                    <a:pt x="808" y="601"/>
                  </a:lnTo>
                  <a:lnTo>
                    <a:pt x="832" y="626"/>
                  </a:lnTo>
                  <a:lnTo>
                    <a:pt x="835" y="629"/>
                  </a:lnTo>
                  <a:lnTo>
                    <a:pt x="845" y="631"/>
                  </a:lnTo>
                  <a:lnTo>
                    <a:pt x="850" y="634"/>
                  </a:lnTo>
                  <a:lnTo>
                    <a:pt x="858" y="641"/>
                  </a:lnTo>
                  <a:lnTo>
                    <a:pt x="864" y="644"/>
                  </a:lnTo>
                  <a:lnTo>
                    <a:pt x="874" y="641"/>
                  </a:lnTo>
                  <a:lnTo>
                    <a:pt x="877" y="670"/>
                  </a:lnTo>
                  <a:lnTo>
                    <a:pt x="874" y="676"/>
                  </a:lnTo>
                  <a:lnTo>
                    <a:pt x="859" y="658"/>
                  </a:lnTo>
                  <a:lnTo>
                    <a:pt x="845" y="695"/>
                  </a:lnTo>
                  <a:lnTo>
                    <a:pt x="839" y="701"/>
                  </a:lnTo>
                  <a:lnTo>
                    <a:pt x="827" y="705"/>
                  </a:lnTo>
                  <a:lnTo>
                    <a:pt x="822" y="714"/>
                  </a:lnTo>
                  <a:lnTo>
                    <a:pt x="824" y="728"/>
                  </a:lnTo>
                  <a:lnTo>
                    <a:pt x="842" y="760"/>
                  </a:lnTo>
                  <a:lnTo>
                    <a:pt x="847" y="768"/>
                  </a:lnTo>
                  <a:lnTo>
                    <a:pt x="865" y="779"/>
                  </a:lnTo>
                  <a:lnTo>
                    <a:pt x="878" y="785"/>
                  </a:lnTo>
                  <a:lnTo>
                    <a:pt x="889" y="786"/>
                  </a:lnTo>
                  <a:lnTo>
                    <a:pt x="893" y="778"/>
                  </a:lnTo>
                  <a:lnTo>
                    <a:pt x="904" y="784"/>
                  </a:lnTo>
                  <a:lnTo>
                    <a:pt x="908" y="793"/>
                  </a:lnTo>
                  <a:lnTo>
                    <a:pt x="905" y="800"/>
                  </a:lnTo>
                  <a:lnTo>
                    <a:pt x="897" y="807"/>
                  </a:lnTo>
                  <a:lnTo>
                    <a:pt x="893" y="811"/>
                  </a:lnTo>
                  <a:lnTo>
                    <a:pt x="888" y="815"/>
                  </a:lnTo>
                  <a:lnTo>
                    <a:pt x="883" y="815"/>
                  </a:lnTo>
                  <a:lnTo>
                    <a:pt x="878" y="811"/>
                  </a:lnTo>
                  <a:lnTo>
                    <a:pt x="873" y="814"/>
                  </a:lnTo>
                  <a:lnTo>
                    <a:pt x="858" y="820"/>
                  </a:lnTo>
                  <a:lnTo>
                    <a:pt x="848" y="823"/>
                  </a:lnTo>
                  <a:lnTo>
                    <a:pt x="833" y="830"/>
                  </a:lnTo>
                  <a:lnTo>
                    <a:pt x="812" y="830"/>
                  </a:lnTo>
                  <a:lnTo>
                    <a:pt x="804" y="833"/>
                  </a:lnTo>
                  <a:lnTo>
                    <a:pt x="797" y="836"/>
                  </a:lnTo>
                  <a:lnTo>
                    <a:pt x="783" y="845"/>
                  </a:lnTo>
                  <a:lnTo>
                    <a:pt x="779" y="841"/>
                  </a:lnTo>
                  <a:lnTo>
                    <a:pt x="757" y="830"/>
                  </a:lnTo>
                  <a:lnTo>
                    <a:pt x="738" y="828"/>
                  </a:lnTo>
                  <a:lnTo>
                    <a:pt x="703" y="826"/>
                  </a:lnTo>
                  <a:lnTo>
                    <a:pt x="693" y="828"/>
                  </a:lnTo>
                  <a:lnTo>
                    <a:pt x="684" y="830"/>
                  </a:lnTo>
                  <a:lnTo>
                    <a:pt x="678" y="836"/>
                  </a:lnTo>
                  <a:lnTo>
                    <a:pt x="675" y="843"/>
                  </a:lnTo>
                  <a:lnTo>
                    <a:pt x="677" y="850"/>
                  </a:lnTo>
                  <a:lnTo>
                    <a:pt x="683" y="861"/>
                  </a:lnTo>
                  <a:lnTo>
                    <a:pt x="649" y="854"/>
                  </a:lnTo>
                  <a:lnTo>
                    <a:pt x="643" y="839"/>
                  </a:lnTo>
                  <a:lnTo>
                    <a:pt x="632" y="838"/>
                  </a:lnTo>
                  <a:lnTo>
                    <a:pt x="615" y="831"/>
                  </a:lnTo>
                  <a:lnTo>
                    <a:pt x="608" y="829"/>
                  </a:lnTo>
                  <a:lnTo>
                    <a:pt x="599" y="838"/>
                  </a:lnTo>
                  <a:lnTo>
                    <a:pt x="597" y="844"/>
                  </a:lnTo>
                  <a:lnTo>
                    <a:pt x="582" y="844"/>
                  </a:lnTo>
                  <a:lnTo>
                    <a:pt x="563" y="841"/>
                  </a:lnTo>
                  <a:lnTo>
                    <a:pt x="545" y="849"/>
                  </a:lnTo>
                  <a:lnTo>
                    <a:pt x="537" y="855"/>
                  </a:lnTo>
                  <a:lnTo>
                    <a:pt x="513" y="880"/>
                  </a:lnTo>
                  <a:lnTo>
                    <a:pt x="503" y="885"/>
                  </a:lnTo>
                  <a:lnTo>
                    <a:pt x="492" y="888"/>
                  </a:lnTo>
                  <a:lnTo>
                    <a:pt x="485" y="893"/>
                  </a:lnTo>
                  <a:lnTo>
                    <a:pt x="480" y="896"/>
                  </a:lnTo>
                  <a:lnTo>
                    <a:pt x="478" y="904"/>
                  </a:lnTo>
                  <a:lnTo>
                    <a:pt x="472" y="926"/>
                  </a:lnTo>
                  <a:lnTo>
                    <a:pt x="472" y="931"/>
                  </a:lnTo>
                  <a:lnTo>
                    <a:pt x="467" y="935"/>
                  </a:lnTo>
                  <a:lnTo>
                    <a:pt x="460" y="931"/>
                  </a:lnTo>
                  <a:lnTo>
                    <a:pt x="457" y="931"/>
                  </a:lnTo>
                  <a:lnTo>
                    <a:pt x="452" y="934"/>
                  </a:lnTo>
                  <a:lnTo>
                    <a:pt x="440" y="944"/>
                  </a:lnTo>
                  <a:lnTo>
                    <a:pt x="435" y="945"/>
                  </a:lnTo>
                  <a:lnTo>
                    <a:pt x="427" y="948"/>
                  </a:lnTo>
                  <a:lnTo>
                    <a:pt x="399" y="959"/>
                  </a:lnTo>
                  <a:lnTo>
                    <a:pt x="387" y="968"/>
                  </a:lnTo>
                  <a:lnTo>
                    <a:pt x="335" y="928"/>
                  </a:lnTo>
                  <a:lnTo>
                    <a:pt x="330" y="925"/>
                  </a:lnTo>
                  <a:lnTo>
                    <a:pt x="303" y="919"/>
                  </a:lnTo>
                  <a:lnTo>
                    <a:pt x="297" y="921"/>
                  </a:lnTo>
                  <a:lnTo>
                    <a:pt x="295" y="928"/>
                  </a:lnTo>
                  <a:lnTo>
                    <a:pt x="288" y="925"/>
                  </a:lnTo>
                  <a:lnTo>
                    <a:pt x="284" y="923"/>
                  </a:lnTo>
                  <a:lnTo>
                    <a:pt x="277" y="916"/>
                  </a:lnTo>
                  <a:lnTo>
                    <a:pt x="194" y="786"/>
                  </a:lnTo>
                  <a:lnTo>
                    <a:pt x="189" y="780"/>
                  </a:lnTo>
                  <a:lnTo>
                    <a:pt x="187" y="776"/>
                  </a:lnTo>
                  <a:lnTo>
                    <a:pt x="185" y="769"/>
                  </a:lnTo>
                  <a:lnTo>
                    <a:pt x="184" y="758"/>
                  </a:lnTo>
                  <a:lnTo>
                    <a:pt x="185" y="741"/>
                  </a:lnTo>
                  <a:lnTo>
                    <a:pt x="185" y="736"/>
                  </a:lnTo>
                  <a:lnTo>
                    <a:pt x="188" y="729"/>
                  </a:lnTo>
                  <a:lnTo>
                    <a:pt x="190" y="719"/>
                  </a:lnTo>
                  <a:lnTo>
                    <a:pt x="189" y="714"/>
                  </a:lnTo>
                  <a:lnTo>
                    <a:pt x="188" y="708"/>
                  </a:lnTo>
                  <a:lnTo>
                    <a:pt x="185" y="683"/>
                  </a:lnTo>
                  <a:lnTo>
                    <a:pt x="187" y="678"/>
                  </a:lnTo>
                  <a:lnTo>
                    <a:pt x="190" y="668"/>
                  </a:lnTo>
                  <a:lnTo>
                    <a:pt x="192" y="650"/>
                  </a:lnTo>
                  <a:lnTo>
                    <a:pt x="192" y="645"/>
                  </a:lnTo>
                  <a:lnTo>
                    <a:pt x="194" y="640"/>
                  </a:lnTo>
                  <a:lnTo>
                    <a:pt x="200" y="632"/>
                  </a:lnTo>
                  <a:lnTo>
                    <a:pt x="200" y="628"/>
                  </a:lnTo>
                  <a:lnTo>
                    <a:pt x="197" y="624"/>
                  </a:lnTo>
                  <a:lnTo>
                    <a:pt x="145" y="617"/>
                  </a:lnTo>
                  <a:lnTo>
                    <a:pt x="125" y="607"/>
                  </a:lnTo>
                  <a:lnTo>
                    <a:pt x="118" y="605"/>
                  </a:lnTo>
                  <a:lnTo>
                    <a:pt x="93" y="607"/>
                  </a:lnTo>
                  <a:lnTo>
                    <a:pt x="72" y="593"/>
                  </a:lnTo>
                  <a:lnTo>
                    <a:pt x="59" y="585"/>
                  </a:lnTo>
                  <a:lnTo>
                    <a:pt x="43" y="566"/>
                  </a:lnTo>
                  <a:lnTo>
                    <a:pt x="32" y="549"/>
                  </a:lnTo>
                  <a:lnTo>
                    <a:pt x="23" y="533"/>
                  </a:lnTo>
                  <a:lnTo>
                    <a:pt x="19" y="529"/>
                  </a:lnTo>
                  <a:lnTo>
                    <a:pt x="0" y="515"/>
                  </a:lnTo>
                  <a:lnTo>
                    <a:pt x="8" y="489"/>
                  </a:lnTo>
                  <a:lnTo>
                    <a:pt x="10" y="484"/>
                  </a:lnTo>
                  <a:lnTo>
                    <a:pt x="32" y="460"/>
                  </a:lnTo>
                  <a:lnTo>
                    <a:pt x="49" y="438"/>
                  </a:lnTo>
                  <a:lnTo>
                    <a:pt x="64" y="404"/>
                  </a:lnTo>
                  <a:lnTo>
                    <a:pt x="70" y="395"/>
                  </a:lnTo>
                  <a:lnTo>
                    <a:pt x="87" y="380"/>
                  </a:lnTo>
                  <a:lnTo>
                    <a:pt x="93" y="375"/>
                  </a:lnTo>
                  <a:lnTo>
                    <a:pt x="99" y="373"/>
                  </a:lnTo>
                  <a:lnTo>
                    <a:pt x="110" y="372"/>
                  </a:lnTo>
                  <a:lnTo>
                    <a:pt x="117" y="368"/>
                  </a:lnTo>
                  <a:lnTo>
                    <a:pt x="140" y="346"/>
                  </a:lnTo>
                  <a:lnTo>
                    <a:pt x="154" y="329"/>
                  </a:lnTo>
                  <a:lnTo>
                    <a:pt x="164" y="323"/>
                  </a:lnTo>
                  <a:lnTo>
                    <a:pt x="170" y="321"/>
                  </a:lnTo>
                  <a:lnTo>
                    <a:pt x="174" y="323"/>
                  </a:lnTo>
                  <a:lnTo>
                    <a:pt x="179" y="325"/>
                  </a:lnTo>
                  <a:lnTo>
                    <a:pt x="188" y="334"/>
                  </a:lnTo>
                  <a:lnTo>
                    <a:pt x="192" y="336"/>
                  </a:lnTo>
                  <a:lnTo>
                    <a:pt x="195" y="336"/>
                  </a:lnTo>
                  <a:lnTo>
                    <a:pt x="210" y="331"/>
                  </a:lnTo>
                  <a:lnTo>
                    <a:pt x="228" y="328"/>
                  </a:lnTo>
                  <a:lnTo>
                    <a:pt x="237" y="325"/>
                  </a:lnTo>
                  <a:lnTo>
                    <a:pt x="250" y="318"/>
                  </a:lnTo>
                  <a:lnTo>
                    <a:pt x="272" y="301"/>
                  </a:lnTo>
                  <a:lnTo>
                    <a:pt x="300" y="284"/>
                  </a:lnTo>
                  <a:lnTo>
                    <a:pt x="303" y="279"/>
                  </a:lnTo>
                  <a:lnTo>
                    <a:pt x="303" y="275"/>
                  </a:lnTo>
                  <a:lnTo>
                    <a:pt x="313" y="273"/>
                  </a:lnTo>
                  <a:lnTo>
                    <a:pt x="317" y="269"/>
                  </a:lnTo>
                  <a:lnTo>
                    <a:pt x="325" y="265"/>
                  </a:lnTo>
                  <a:lnTo>
                    <a:pt x="334" y="265"/>
                  </a:lnTo>
                  <a:lnTo>
                    <a:pt x="343" y="271"/>
                  </a:lnTo>
                  <a:lnTo>
                    <a:pt x="353" y="270"/>
                  </a:lnTo>
                  <a:lnTo>
                    <a:pt x="359" y="273"/>
                  </a:lnTo>
                  <a:lnTo>
                    <a:pt x="363" y="278"/>
                  </a:lnTo>
                  <a:lnTo>
                    <a:pt x="364" y="285"/>
                  </a:lnTo>
                  <a:lnTo>
                    <a:pt x="362" y="293"/>
                  </a:lnTo>
                  <a:lnTo>
                    <a:pt x="364" y="299"/>
                  </a:lnTo>
                  <a:lnTo>
                    <a:pt x="369" y="305"/>
                  </a:lnTo>
                  <a:lnTo>
                    <a:pt x="372" y="308"/>
                  </a:lnTo>
                  <a:lnTo>
                    <a:pt x="384" y="313"/>
                  </a:lnTo>
                  <a:lnTo>
                    <a:pt x="389" y="314"/>
                  </a:lnTo>
                  <a:lnTo>
                    <a:pt x="394" y="314"/>
                  </a:lnTo>
                  <a:lnTo>
                    <a:pt x="428" y="303"/>
                  </a:lnTo>
                  <a:lnTo>
                    <a:pt x="468" y="270"/>
                  </a:lnTo>
                  <a:lnTo>
                    <a:pt x="473" y="264"/>
                  </a:lnTo>
                  <a:lnTo>
                    <a:pt x="475" y="259"/>
                  </a:lnTo>
                  <a:lnTo>
                    <a:pt x="477" y="249"/>
                  </a:lnTo>
                  <a:lnTo>
                    <a:pt x="477" y="243"/>
                  </a:lnTo>
                  <a:lnTo>
                    <a:pt x="474" y="225"/>
                  </a:lnTo>
                  <a:lnTo>
                    <a:pt x="474" y="214"/>
                  </a:lnTo>
                  <a:lnTo>
                    <a:pt x="473" y="192"/>
                  </a:lnTo>
                  <a:lnTo>
                    <a:pt x="470" y="180"/>
                  </a:lnTo>
                  <a:lnTo>
                    <a:pt x="468" y="170"/>
                  </a:lnTo>
                  <a:lnTo>
                    <a:pt x="464" y="164"/>
                  </a:lnTo>
                  <a:lnTo>
                    <a:pt x="464" y="155"/>
                  </a:lnTo>
                  <a:lnTo>
                    <a:pt x="467" y="148"/>
                  </a:lnTo>
                  <a:lnTo>
                    <a:pt x="473" y="135"/>
                  </a:lnTo>
                  <a:lnTo>
                    <a:pt x="478" y="130"/>
                  </a:lnTo>
                  <a:lnTo>
                    <a:pt x="484" y="127"/>
                  </a:lnTo>
                  <a:lnTo>
                    <a:pt x="490" y="117"/>
                  </a:lnTo>
                  <a:lnTo>
                    <a:pt x="490" y="100"/>
                  </a:lnTo>
                  <a:lnTo>
                    <a:pt x="492" y="89"/>
                  </a:lnTo>
                  <a:lnTo>
                    <a:pt x="502" y="69"/>
                  </a:lnTo>
                  <a:lnTo>
                    <a:pt x="519" y="49"/>
                  </a:lnTo>
                  <a:lnTo>
                    <a:pt x="528" y="40"/>
                  </a:lnTo>
                  <a:lnTo>
                    <a:pt x="535" y="36"/>
                  </a:lnTo>
                  <a:lnTo>
                    <a:pt x="540" y="38"/>
                  </a:lnTo>
                  <a:lnTo>
                    <a:pt x="547" y="45"/>
                  </a:lnTo>
                  <a:lnTo>
                    <a:pt x="550" y="48"/>
                  </a:lnTo>
                  <a:lnTo>
                    <a:pt x="557" y="48"/>
                  </a:lnTo>
                  <a:lnTo>
                    <a:pt x="588" y="30"/>
                  </a:lnTo>
                  <a:lnTo>
                    <a:pt x="602" y="15"/>
                  </a:lnTo>
                  <a:lnTo>
                    <a:pt x="607" y="12"/>
                  </a:lnTo>
                  <a:lnTo>
                    <a:pt x="613" y="8"/>
                  </a:lnTo>
                  <a:lnTo>
                    <a:pt x="645" y="0"/>
                  </a:lnTo>
                  <a:lnTo>
                    <a:pt x="650" y="0"/>
                  </a:lnTo>
                  <a:lnTo>
                    <a:pt x="670" y="8"/>
                  </a:lnTo>
                  <a:lnTo>
                    <a:pt x="675" y="10"/>
                  </a:lnTo>
                  <a:lnTo>
                    <a:pt x="678" y="14"/>
                  </a:lnTo>
                  <a:lnTo>
                    <a:pt x="680" y="24"/>
                  </a:lnTo>
                  <a:lnTo>
                    <a:pt x="683" y="33"/>
                  </a:lnTo>
                  <a:lnTo>
                    <a:pt x="699" y="47"/>
                  </a:lnTo>
                  <a:lnTo>
                    <a:pt x="729" y="7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51" name="Navarra" descr="{&quot;Key&quot;:&quot;navarra&quot;,&quot;Name&quot;:&quot;Navarra&quot;,&quot;Value&quot;:1.0,&quot;Formula&quot;:&quot;&quot;,&quot;Text&quot;:&quot;1&quot;,&quot;HasValue&quot;:true}">
              <a:extLst>
                <a:ext uri="{FF2B5EF4-FFF2-40B4-BE49-F238E27FC236}">
                  <a16:creationId xmlns:a16="http://schemas.microsoft.com/office/drawing/2014/main" id="{4653DA46-297F-8D7C-59CE-57820D5511B9}"/>
                </a:ext>
              </a:extLst>
            </p:cNvPr>
            <p:cNvSpPr>
              <a:spLocks noEditPoints="1"/>
            </p:cNvSpPr>
            <p:nvPr/>
          </p:nvSpPr>
          <p:spPr bwMode="auto">
            <a:xfrm>
              <a:off x="3762055" y="2186370"/>
              <a:ext cx="668716" cy="728221"/>
            </a:xfrm>
            <a:custGeom>
              <a:avLst/>
              <a:gdLst>
                <a:gd name="T0" fmla="*/ 733 w 970"/>
                <a:gd name="T1" fmla="*/ 658 h 1053"/>
                <a:gd name="T2" fmla="*/ 791 w 970"/>
                <a:gd name="T3" fmla="*/ 658 h 1053"/>
                <a:gd name="T4" fmla="*/ 755 w 970"/>
                <a:gd name="T5" fmla="*/ 643 h 1053"/>
                <a:gd name="T6" fmla="*/ 781 w 970"/>
                <a:gd name="T7" fmla="*/ 642 h 1053"/>
                <a:gd name="T8" fmla="*/ 932 w 970"/>
                <a:gd name="T9" fmla="*/ 312 h 1053"/>
                <a:gd name="T10" fmla="*/ 911 w 970"/>
                <a:gd name="T11" fmla="*/ 359 h 1053"/>
                <a:gd name="T12" fmla="*/ 886 w 970"/>
                <a:gd name="T13" fmla="*/ 418 h 1053"/>
                <a:gd name="T14" fmla="*/ 815 w 970"/>
                <a:gd name="T15" fmla="*/ 463 h 1053"/>
                <a:gd name="T16" fmla="*/ 799 w 970"/>
                <a:gd name="T17" fmla="*/ 500 h 1053"/>
                <a:gd name="T18" fmla="*/ 742 w 970"/>
                <a:gd name="T19" fmla="*/ 520 h 1053"/>
                <a:gd name="T20" fmla="*/ 720 w 970"/>
                <a:gd name="T21" fmla="*/ 554 h 1053"/>
                <a:gd name="T22" fmla="*/ 686 w 970"/>
                <a:gd name="T23" fmla="*/ 570 h 1053"/>
                <a:gd name="T24" fmla="*/ 678 w 970"/>
                <a:gd name="T25" fmla="*/ 614 h 1053"/>
                <a:gd name="T26" fmla="*/ 636 w 970"/>
                <a:gd name="T27" fmla="*/ 688 h 1053"/>
                <a:gd name="T28" fmla="*/ 645 w 970"/>
                <a:gd name="T29" fmla="*/ 716 h 1053"/>
                <a:gd name="T30" fmla="*/ 610 w 970"/>
                <a:gd name="T31" fmla="*/ 783 h 1053"/>
                <a:gd name="T32" fmla="*/ 599 w 970"/>
                <a:gd name="T33" fmla="*/ 831 h 1053"/>
                <a:gd name="T34" fmla="*/ 611 w 970"/>
                <a:gd name="T35" fmla="*/ 879 h 1053"/>
                <a:gd name="T36" fmla="*/ 629 w 970"/>
                <a:gd name="T37" fmla="*/ 921 h 1053"/>
                <a:gd name="T38" fmla="*/ 656 w 970"/>
                <a:gd name="T39" fmla="*/ 944 h 1053"/>
                <a:gd name="T40" fmla="*/ 618 w 970"/>
                <a:gd name="T41" fmla="*/ 1020 h 1053"/>
                <a:gd name="T42" fmla="*/ 593 w 970"/>
                <a:gd name="T43" fmla="*/ 1051 h 1053"/>
                <a:gd name="T44" fmla="*/ 541 w 970"/>
                <a:gd name="T45" fmla="*/ 1049 h 1053"/>
                <a:gd name="T46" fmla="*/ 493 w 970"/>
                <a:gd name="T47" fmla="*/ 1028 h 1053"/>
                <a:gd name="T48" fmla="*/ 444 w 970"/>
                <a:gd name="T49" fmla="*/ 1020 h 1053"/>
                <a:gd name="T50" fmla="*/ 399 w 970"/>
                <a:gd name="T51" fmla="*/ 990 h 1053"/>
                <a:gd name="T52" fmla="*/ 331 w 970"/>
                <a:gd name="T53" fmla="*/ 958 h 1053"/>
                <a:gd name="T54" fmla="*/ 363 w 970"/>
                <a:gd name="T55" fmla="*/ 894 h 1053"/>
                <a:gd name="T56" fmla="*/ 390 w 970"/>
                <a:gd name="T57" fmla="*/ 879 h 1053"/>
                <a:gd name="T58" fmla="*/ 434 w 970"/>
                <a:gd name="T59" fmla="*/ 883 h 1053"/>
                <a:gd name="T60" fmla="*/ 445 w 970"/>
                <a:gd name="T61" fmla="*/ 860 h 1053"/>
                <a:gd name="T62" fmla="*/ 415 w 970"/>
                <a:gd name="T63" fmla="*/ 809 h 1053"/>
                <a:gd name="T64" fmla="*/ 354 w 970"/>
                <a:gd name="T65" fmla="*/ 778 h 1053"/>
                <a:gd name="T66" fmla="*/ 256 w 970"/>
                <a:gd name="T67" fmla="*/ 690 h 1053"/>
                <a:gd name="T68" fmla="*/ 216 w 970"/>
                <a:gd name="T69" fmla="*/ 651 h 1053"/>
                <a:gd name="T70" fmla="*/ 143 w 970"/>
                <a:gd name="T71" fmla="*/ 631 h 1053"/>
                <a:gd name="T72" fmla="*/ 51 w 970"/>
                <a:gd name="T73" fmla="*/ 601 h 1053"/>
                <a:gd name="T74" fmla="*/ 30 w 970"/>
                <a:gd name="T75" fmla="*/ 550 h 1053"/>
                <a:gd name="T76" fmla="*/ 1 w 970"/>
                <a:gd name="T77" fmla="*/ 539 h 1053"/>
                <a:gd name="T78" fmla="*/ 33 w 970"/>
                <a:gd name="T79" fmla="*/ 500 h 1053"/>
                <a:gd name="T80" fmla="*/ 71 w 970"/>
                <a:gd name="T81" fmla="*/ 506 h 1053"/>
                <a:gd name="T82" fmla="*/ 113 w 970"/>
                <a:gd name="T83" fmla="*/ 480 h 1053"/>
                <a:gd name="T84" fmla="*/ 101 w 970"/>
                <a:gd name="T85" fmla="*/ 431 h 1053"/>
                <a:gd name="T86" fmla="*/ 129 w 970"/>
                <a:gd name="T87" fmla="*/ 374 h 1053"/>
                <a:gd name="T88" fmla="*/ 146 w 970"/>
                <a:gd name="T89" fmla="*/ 281 h 1053"/>
                <a:gd name="T90" fmla="*/ 189 w 970"/>
                <a:gd name="T91" fmla="*/ 273 h 1053"/>
                <a:gd name="T92" fmla="*/ 243 w 970"/>
                <a:gd name="T93" fmla="*/ 245 h 1053"/>
                <a:gd name="T94" fmla="*/ 253 w 970"/>
                <a:gd name="T95" fmla="*/ 211 h 1053"/>
                <a:gd name="T96" fmla="*/ 309 w 970"/>
                <a:gd name="T97" fmla="*/ 153 h 1053"/>
                <a:gd name="T98" fmla="*/ 319 w 970"/>
                <a:gd name="T99" fmla="*/ 93 h 1053"/>
                <a:gd name="T100" fmla="*/ 342 w 970"/>
                <a:gd name="T101" fmla="*/ 61 h 1053"/>
                <a:gd name="T102" fmla="*/ 383 w 970"/>
                <a:gd name="T103" fmla="*/ 36 h 1053"/>
                <a:gd name="T104" fmla="*/ 428 w 970"/>
                <a:gd name="T105" fmla="*/ 6 h 1053"/>
                <a:gd name="T106" fmla="*/ 470 w 970"/>
                <a:gd name="T107" fmla="*/ 18 h 1053"/>
                <a:gd name="T108" fmla="*/ 498 w 970"/>
                <a:gd name="T109" fmla="*/ 44 h 1053"/>
                <a:gd name="T110" fmla="*/ 548 w 970"/>
                <a:gd name="T111" fmla="*/ 21 h 1053"/>
                <a:gd name="T112" fmla="*/ 607 w 970"/>
                <a:gd name="T113" fmla="*/ 75 h 1053"/>
                <a:gd name="T114" fmla="*/ 565 w 970"/>
                <a:gd name="T115" fmla="*/ 186 h 1053"/>
                <a:gd name="T116" fmla="*/ 631 w 970"/>
                <a:gd name="T117" fmla="*/ 196 h 1053"/>
                <a:gd name="T118" fmla="*/ 659 w 970"/>
                <a:gd name="T119" fmla="*/ 159 h 1053"/>
                <a:gd name="T120" fmla="*/ 728 w 970"/>
                <a:gd name="T121" fmla="*/ 213 h 1053"/>
                <a:gd name="T122" fmla="*/ 804 w 970"/>
                <a:gd name="T123" fmla="*/ 240 h 1053"/>
                <a:gd name="T124" fmla="*/ 948 w 970"/>
                <a:gd name="T125" fmla="*/ 268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0" h="1053">
                  <a:moveTo>
                    <a:pt x="731" y="683"/>
                  </a:moveTo>
                  <a:lnTo>
                    <a:pt x="724" y="683"/>
                  </a:lnTo>
                  <a:lnTo>
                    <a:pt x="720" y="677"/>
                  </a:lnTo>
                  <a:lnTo>
                    <a:pt x="721" y="667"/>
                  </a:lnTo>
                  <a:lnTo>
                    <a:pt x="726" y="662"/>
                  </a:lnTo>
                  <a:lnTo>
                    <a:pt x="733" y="658"/>
                  </a:lnTo>
                  <a:lnTo>
                    <a:pt x="738" y="655"/>
                  </a:lnTo>
                  <a:lnTo>
                    <a:pt x="741" y="658"/>
                  </a:lnTo>
                  <a:lnTo>
                    <a:pt x="741" y="665"/>
                  </a:lnTo>
                  <a:lnTo>
                    <a:pt x="738" y="677"/>
                  </a:lnTo>
                  <a:lnTo>
                    <a:pt x="731" y="683"/>
                  </a:lnTo>
                  <a:close/>
                  <a:moveTo>
                    <a:pt x="791" y="658"/>
                  </a:moveTo>
                  <a:lnTo>
                    <a:pt x="788" y="660"/>
                  </a:lnTo>
                  <a:lnTo>
                    <a:pt x="781" y="660"/>
                  </a:lnTo>
                  <a:lnTo>
                    <a:pt x="769" y="658"/>
                  </a:lnTo>
                  <a:lnTo>
                    <a:pt x="760" y="655"/>
                  </a:lnTo>
                  <a:lnTo>
                    <a:pt x="755" y="650"/>
                  </a:lnTo>
                  <a:lnTo>
                    <a:pt x="755" y="643"/>
                  </a:lnTo>
                  <a:lnTo>
                    <a:pt x="760" y="630"/>
                  </a:lnTo>
                  <a:lnTo>
                    <a:pt x="766" y="624"/>
                  </a:lnTo>
                  <a:lnTo>
                    <a:pt x="774" y="624"/>
                  </a:lnTo>
                  <a:lnTo>
                    <a:pt x="776" y="629"/>
                  </a:lnTo>
                  <a:lnTo>
                    <a:pt x="776" y="638"/>
                  </a:lnTo>
                  <a:lnTo>
                    <a:pt x="781" y="642"/>
                  </a:lnTo>
                  <a:lnTo>
                    <a:pt x="791" y="652"/>
                  </a:lnTo>
                  <a:lnTo>
                    <a:pt x="791" y="658"/>
                  </a:lnTo>
                  <a:close/>
                  <a:moveTo>
                    <a:pt x="970" y="294"/>
                  </a:moveTo>
                  <a:lnTo>
                    <a:pt x="956" y="294"/>
                  </a:lnTo>
                  <a:lnTo>
                    <a:pt x="936" y="305"/>
                  </a:lnTo>
                  <a:lnTo>
                    <a:pt x="932" y="312"/>
                  </a:lnTo>
                  <a:lnTo>
                    <a:pt x="931" y="317"/>
                  </a:lnTo>
                  <a:lnTo>
                    <a:pt x="931" y="321"/>
                  </a:lnTo>
                  <a:lnTo>
                    <a:pt x="929" y="326"/>
                  </a:lnTo>
                  <a:lnTo>
                    <a:pt x="914" y="346"/>
                  </a:lnTo>
                  <a:lnTo>
                    <a:pt x="912" y="353"/>
                  </a:lnTo>
                  <a:lnTo>
                    <a:pt x="911" y="359"/>
                  </a:lnTo>
                  <a:lnTo>
                    <a:pt x="911" y="371"/>
                  </a:lnTo>
                  <a:lnTo>
                    <a:pt x="909" y="394"/>
                  </a:lnTo>
                  <a:lnTo>
                    <a:pt x="902" y="406"/>
                  </a:lnTo>
                  <a:lnTo>
                    <a:pt x="896" y="411"/>
                  </a:lnTo>
                  <a:lnTo>
                    <a:pt x="890" y="415"/>
                  </a:lnTo>
                  <a:lnTo>
                    <a:pt x="886" y="418"/>
                  </a:lnTo>
                  <a:lnTo>
                    <a:pt x="882" y="428"/>
                  </a:lnTo>
                  <a:lnTo>
                    <a:pt x="870" y="433"/>
                  </a:lnTo>
                  <a:lnTo>
                    <a:pt x="856" y="446"/>
                  </a:lnTo>
                  <a:lnTo>
                    <a:pt x="849" y="452"/>
                  </a:lnTo>
                  <a:lnTo>
                    <a:pt x="841" y="455"/>
                  </a:lnTo>
                  <a:lnTo>
                    <a:pt x="815" y="463"/>
                  </a:lnTo>
                  <a:lnTo>
                    <a:pt x="811" y="466"/>
                  </a:lnTo>
                  <a:lnTo>
                    <a:pt x="810" y="473"/>
                  </a:lnTo>
                  <a:lnTo>
                    <a:pt x="810" y="483"/>
                  </a:lnTo>
                  <a:lnTo>
                    <a:pt x="806" y="493"/>
                  </a:lnTo>
                  <a:lnTo>
                    <a:pt x="804" y="498"/>
                  </a:lnTo>
                  <a:lnTo>
                    <a:pt x="799" y="500"/>
                  </a:lnTo>
                  <a:lnTo>
                    <a:pt x="787" y="500"/>
                  </a:lnTo>
                  <a:lnTo>
                    <a:pt x="781" y="499"/>
                  </a:lnTo>
                  <a:lnTo>
                    <a:pt x="749" y="504"/>
                  </a:lnTo>
                  <a:lnTo>
                    <a:pt x="745" y="508"/>
                  </a:lnTo>
                  <a:lnTo>
                    <a:pt x="744" y="513"/>
                  </a:lnTo>
                  <a:lnTo>
                    <a:pt x="742" y="520"/>
                  </a:lnTo>
                  <a:lnTo>
                    <a:pt x="737" y="524"/>
                  </a:lnTo>
                  <a:lnTo>
                    <a:pt x="735" y="527"/>
                  </a:lnTo>
                  <a:lnTo>
                    <a:pt x="744" y="530"/>
                  </a:lnTo>
                  <a:lnTo>
                    <a:pt x="740" y="538"/>
                  </a:lnTo>
                  <a:lnTo>
                    <a:pt x="726" y="546"/>
                  </a:lnTo>
                  <a:lnTo>
                    <a:pt x="720" y="554"/>
                  </a:lnTo>
                  <a:lnTo>
                    <a:pt x="716" y="560"/>
                  </a:lnTo>
                  <a:lnTo>
                    <a:pt x="715" y="566"/>
                  </a:lnTo>
                  <a:lnTo>
                    <a:pt x="707" y="571"/>
                  </a:lnTo>
                  <a:lnTo>
                    <a:pt x="702" y="573"/>
                  </a:lnTo>
                  <a:lnTo>
                    <a:pt x="692" y="570"/>
                  </a:lnTo>
                  <a:lnTo>
                    <a:pt x="686" y="570"/>
                  </a:lnTo>
                  <a:lnTo>
                    <a:pt x="682" y="574"/>
                  </a:lnTo>
                  <a:lnTo>
                    <a:pt x="679" y="579"/>
                  </a:lnTo>
                  <a:lnTo>
                    <a:pt x="675" y="586"/>
                  </a:lnTo>
                  <a:lnTo>
                    <a:pt x="671" y="598"/>
                  </a:lnTo>
                  <a:lnTo>
                    <a:pt x="673" y="603"/>
                  </a:lnTo>
                  <a:lnTo>
                    <a:pt x="678" y="614"/>
                  </a:lnTo>
                  <a:lnTo>
                    <a:pt x="678" y="619"/>
                  </a:lnTo>
                  <a:lnTo>
                    <a:pt x="674" y="628"/>
                  </a:lnTo>
                  <a:lnTo>
                    <a:pt x="666" y="640"/>
                  </a:lnTo>
                  <a:lnTo>
                    <a:pt x="651" y="654"/>
                  </a:lnTo>
                  <a:lnTo>
                    <a:pt x="640" y="674"/>
                  </a:lnTo>
                  <a:lnTo>
                    <a:pt x="636" y="688"/>
                  </a:lnTo>
                  <a:lnTo>
                    <a:pt x="635" y="695"/>
                  </a:lnTo>
                  <a:lnTo>
                    <a:pt x="635" y="701"/>
                  </a:lnTo>
                  <a:lnTo>
                    <a:pt x="638" y="705"/>
                  </a:lnTo>
                  <a:lnTo>
                    <a:pt x="641" y="708"/>
                  </a:lnTo>
                  <a:lnTo>
                    <a:pt x="644" y="713"/>
                  </a:lnTo>
                  <a:lnTo>
                    <a:pt x="645" y="716"/>
                  </a:lnTo>
                  <a:lnTo>
                    <a:pt x="644" y="723"/>
                  </a:lnTo>
                  <a:lnTo>
                    <a:pt x="628" y="743"/>
                  </a:lnTo>
                  <a:lnTo>
                    <a:pt x="616" y="760"/>
                  </a:lnTo>
                  <a:lnTo>
                    <a:pt x="613" y="770"/>
                  </a:lnTo>
                  <a:lnTo>
                    <a:pt x="610" y="778"/>
                  </a:lnTo>
                  <a:lnTo>
                    <a:pt x="610" y="783"/>
                  </a:lnTo>
                  <a:lnTo>
                    <a:pt x="606" y="795"/>
                  </a:lnTo>
                  <a:lnTo>
                    <a:pt x="605" y="803"/>
                  </a:lnTo>
                  <a:lnTo>
                    <a:pt x="600" y="813"/>
                  </a:lnTo>
                  <a:lnTo>
                    <a:pt x="598" y="820"/>
                  </a:lnTo>
                  <a:lnTo>
                    <a:pt x="598" y="826"/>
                  </a:lnTo>
                  <a:lnTo>
                    <a:pt x="599" y="831"/>
                  </a:lnTo>
                  <a:lnTo>
                    <a:pt x="601" y="838"/>
                  </a:lnTo>
                  <a:lnTo>
                    <a:pt x="608" y="846"/>
                  </a:lnTo>
                  <a:lnTo>
                    <a:pt x="609" y="851"/>
                  </a:lnTo>
                  <a:lnTo>
                    <a:pt x="610" y="858"/>
                  </a:lnTo>
                  <a:lnTo>
                    <a:pt x="610" y="873"/>
                  </a:lnTo>
                  <a:lnTo>
                    <a:pt x="611" y="879"/>
                  </a:lnTo>
                  <a:lnTo>
                    <a:pt x="610" y="889"/>
                  </a:lnTo>
                  <a:lnTo>
                    <a:pt x="611" y="895"/>
                  </a:lnTo>
                  <a:lnTo>
                    <a:pt x="614" y="899"/>
                  </a:lnTo>
                  <a:lnTo>
                    <a:pt x="623" y="906"/>
                  </a:lnTo>
                  <a:lnTo>
                    <a:pt x="628" y="916"/>
                  </a:lnTo>
                  <a:lnTo>
                    <a:pt x="629" y="921"/>
                  </a:lnTo>
                  <a:lnTo>
                    <a:pt x="635" y="930"/>
                  </a:lnTo>
                  <a:lnTo>
                    <a:pt x="639" y="933"/>
                  </a:lnTo>
                  <a:lnTo>
                    <a:pt x="644" y="934"/>
                  </a:lnTo>
                  <a:lnTo>
                    <a:pt x="650" y="935"/>
                  </a:lnTo>
                  <a:lnTo>
                    <a:pt x="654" y="938"/>
                  </a:lnTo>
                  <a:lnTo>
                    <a:pt x="656" y="944"/>
                  </a:lnTo>
                  <a:lnTo>
                    <a:pt x="654" y="958"/>
                  </a:lnTo>
                  <a:lnTo>
                    <a:pt x="650" y="964"/>
                  </a:lnTo>
                  <a:lnTo>
                    <a:pt x="639" y="980"/>
                  </a:lnTo>
                  <a:lnTo>
                    <a:pt x="629" y="996"/>
                  </a:lnTo>
                  <a:lnTo>
                    <a:pt x="621" y="1014"/>
                  </a:lnTo>
                  <a:lnTo>
                    <a:pt x="618" y="1020"/>
                  </a:lnTo>
                  <a:lnTo>
                    <a:pt x="616" y="1026"/>
                  </a:lnTo>
                  <a:lnTo>
                    <a:pt x="610" y="1035"/>
                  </a:lnTo>
                  <a:lnTo>
                    <a:pt x="605" y="1040"/>
                  </a:lnTo>
                  <a:lnTo>
                    <a:pt x="603" y="1048"/>
                  </a:lnTo>
                  <a:lnTo>
                    <a:pt x="596" y="1053"/>
                  </a:lnTo>
                  <a:lnTo>
                    <a:pt x="593" y="1051"/>
                  </a:lnTo>
                  <a:lnTo>
                    <a:pt x="583" y="1049"/>
                  </a:lnTo>
                  <a:lnTo>
                    <a:pt x="578" y="1048"/>
                  </a:lnTo>
                  <a:lnTo>
                    <a:pt x="561" y="1043"/>
                  </a:lnTo>
                  <a:lnTo>
                    <a:pt x="558" y="1043"/>
                  </a:lnTo>
                  <a:lnTo>
                    <a:pt x="550" y="1045"/>
                  </a:lnTo>
                  <a:lnTo>
                    <a:pt x="541" y="1049"/>
                  </a:lnTo>
                  <a:lnTo>
                    <a:pt x="531" y="1051"/>
                  </a:lnTo>
                  <a:lnTo>
                    <a:pt x="521" y="1051"/>
                  </a:lnTo>
                  <a:lnTo>
                    <a:pt x="511" y="1046"/>
                  </a:lnTo>
                  <a:lnTo>
                    <a:pt x="503" y="1040"/>
                  </a:lnTo>
                  <a:lnTo>
                    <a:pt x="499" y="1036"/>
                  </a:lnTo>
                  <a:lnTo>
                    <a:pt x="493" y="1028"/>
                  </a:lnTo>
                  <a:lnTo>
                    <a:pt x="484" y="1021"/>
                  </a:lnTo>
                  <a:lnTo>
                    <a:pt x="475" y="1016"/>
                  </a:lnTo>
                  <a:lnTo>
                    <a:pt x="465" y="1013"/>
                  </a:lnTo>
                  <a:lnTo>
                    <a:pt x="460" y="1014"/>
                  </a:lnTo>
                  <a:lnTo>
                    <a:pt x="449" y="1019"/>
                  </a:lnTo>
                  <a:lnTo>
                    <a:pt x="444" y="1020"/>
                  </a:lnTo>
                  <a:lnTo>
                    <a:pt x="439" y="1019"/>
                  </a:lnTo>
                  <a:lnTo>
                    <a:pt x="428" y="1014"/>
                  </a:lnTo>
                  <a:lnTo>
                    <a:pt x="419" y="1008"/>
                  </a:lnTo>
                  <a:lnTo>
                    <a:pt x="413" y="999"/>
                  </a:lnTo>
                  <a:lnTo>
                    <a:pt x="408" y="995"/>
                  </a:lnTo>
                  <a:lnTo>
                    <a:pt x="399" y="990"/>
                  </a:lnTo>
                  <a:lnTo>
                    <a:pt x="378" y="989"/>
                  </a:lnTo>
                  <a:lnTo>
                    <a:pt x="373" y="989"/>
                  </a:lnTo>
                  <a:lnTo>
                    <a:pt x="363" y="984"/>
                  </a:lnTo>
                  <a:lnTo>
                    <a:pt x="356" y="984"/>
                  </a:lnTo>
                  <a:lnTo>
                    <a:pt x="335" y="966"/>
                  </a:lnTo>
                  <a:lnTo>
                    <a:pt x="331" y="958"/>
                  </a:lnTo>
                  <a:lnTo>
                    <a:pt x="329" y="951"/>
                  </a:lnTo>
                  <a:lnTo>
                    <a:pt x="329" y="944"/>
                  </a:lnTo>
                  <a:lnTo>
                    <a:pt x="330" y="933"/>
                  </a:lnTo>
                  <a:lnTo>
                    <a:pt x="333" y="928"/>
                  </a:lnTo>
                  <a:lnTo>
                    <a:pt x="354" y="901"/>
                  </a:lnTo>
                  <a:lnTo>
                    <a:pt x="363" y="894"/>
                  </a:lnTo>
                  <a:lnTo>
                    <a:pt x="366" y="889"/>
                  </a:lnTo>
                  <a:lnTo>
                    <a:pt x="369" y="880"/>
                  </a:lnTo>
                  <a:lnTo>
                    <a:pt x="373" y="876"/>
                  </a:lnTo>
                  <a:lnTo>
                    <a:pt x="378" y="875"/>
                  </a:lnTo>
                  <a:lnTo>
                    <a:pt x="383" y="876"/>
                  </a:lnTo>
                  <a:lnTo>
                    <a:pt x="390" y="879"/>
                  </a:lnTo>
                  <a:lnTo>
                    <a:pt x="395" y="880"/>
                  </a:lnTo>
                  <a:lnTo>
                    <a:pt x="400" y="880"/>
                  </a:lnTo>
                  <a:lnTo>
                    <a:pt x="411" y="875"/>
                  </a:lnTo>
                  <a:lnTo>
                    <a:pt x="416" y="875"/>
                  </a:lnTo>
                  <a:lnTo>
                    <a:pt x="421" y="878"/>
                  </a:lnTo>
                  <a:lnTo>
                    <a:pt x="434" y="883"/>
                  </a:lnTo>
                  <a:lnTo>
                    <a:pt x="439" y="883"/>
                  </a:lnTo>
                  <a:lnTo>
                    <a:pt x="444" y="881"/>
                  </a:lnTo>
                  <a:lnTo>
                    <a:pt x="448" y="878"/>
                  </a:lnTo>
                  <a:lnTo>
                    <a:pt x="449" y="874"/>
                  </a:lnTo>
                  <a:lnTo>
                    <a:pt x="446" y="868"/>
                  </a:lnTo>
                  <a:lnTo>
                    <a:pt x="445" y="860"/>
                  </a:lnTo>
                  <a:lnTo>
                    <a:pt x="448" y="850"/>
                  </a:lnTo>
                  <a:lnTo>
                    <a:pt x="445" y="845"/>
                  </a:lnTo>
                  <a:lnTo>
                    <a:pt x="443" y="839"/>
                  </a:lnTo>
                  <a:lnTo>
                    <a:pt x="443" y="824"/>
                  </a:lnTo>
                  <a:lnTo>
                    <a:pt x="426" y="811"/>
                  </a:lnTo>
                  <a:lnTo>
                    <a:pt x="415" y="809"/>
                  </a:lnTo>
                  <a:lnTo>
                    <a:pt x="388" y="793"/>
                  </a:lnTo>
                  <a:lnTo>
                    <a:pt x="375" y="780"/>
                  </a:lnTo>
                  <a:lnTo>
                    <a:pt x="369" y="778"/>
                  </a:lnTo>
                  <a:lnTo>
                    <a:pt x="366" y="776"/>
                  </a:lnTo>
                  <a:lnTo>
                    <a:pt x="358" y="778"/>
                  </a:lnTo>
                  <a:lnTo>
                    <a:pt x="354" y="778"/>
                  </a:lnTo>
                  <a:lnTo>
                    <a:pt x="351" y="773"/>
                  </a:lnTo>
                  <a:lnTo>
                    <a:pt x="351" y="760"/>
                  </a:lnTo>
                  <a:lnTo>
                    <a:pt x="350" y="756"/>
                  </a:lnTo>
                  <a:lnTo>
                    <a:pt x="329" y="741"/>
                  </a:lnTo>
                  <a:lnTo>
                    <a:pt x="288" y="690"/>
                  </a:lnTo>
                  <a:lnTo>
                    <a:pt x="256" y="690"/>
                  </a:lnTo>
                  <a:lnTo>
                    <a:pt x="244" y="686"/>
                  </a:lnTo>
                  <a:lnTo>
                    <a:pt x="236" y="674"/>
                  </a:lnTo>
                  <a:lnTo>
                    <a:pt x="239" y="673"/>
                  </a:lnTo>
                  <a:lnTo>
                    <a:pt x="244" y="664"/>
                  </a:lnTo>
                  <a:lnTo>
                    <a:pt x="233" y="653"/>
                  </a:lnTo>
                  <a:lnTo>
                    <a:pt x="216" y="651"/>
                  </a:lnTo>
                  <a:lnTo>
                    <a:pt x="179" y="654"/>
                  </a:lnTo>
                  <a:lnTo>
                    <a:pt x="169" y="653"/>
                  </a:lnTo>
                  <a:lnTo>
                    <a:pt x="160" y="650"/>
                  </a:lnTo>
                  <a:lnTo>
                    <a:pt x="154" y="645"/>
                  </a:lnTo>
                  <a:lnTo>
                    <a:pt x="148" y="636"/>
                  </a:lnTo>
                  <a:lnTo>
                    <a:pt x="143" y="631"/>
                  </a:lnTo>
                  <a:lnTo>
                    <a:pt x="126" y="620"/>
                  </a:lnTo>
                  <a:lnTo>
                    <a:pt x="120" y="618"/>
                  </a:lnTo>
                  <a:lnTo>
                    <a:pt x="84" y="623"/>
                  </a:lnTo>
                  <a:lnTo>
                    <a:pt x="61" y="614"/>
                  </a:lnTo>
                  <a:lnTo>
                    <a:pt x="50" y="613"/>
                  </a:lnTo>
                  <a:lnTo>
                    <a:pt x="51" y="601"/>
                  </a:lnTo>
                  <a:lnTo>
                    <a:pt x="56" y="561"/>
                  </a:lnTo>
                  <a:lnTo>
                    <a:pt x="54" y="546"/>
                  </a:lnTo>
                  <a:lnTo>
                    <a:pt x="53" y="541"/>
                  </a:lnTo>
                  <a:lnTo>
                    <a:pt x="50" y="538"/>
                  </a:lnTo>
                  <a:lnTo>
                    <a:pt x="41" y="535"/>
                  </a:lnTo>
                  <a:lnTo>
                    <a:pt x="30" y="550"/>
                  </a:lnTo>
                  <a:lnTo>
                    <a:pt x="25" y="553"/>
                  </a:lnTo>
                  <a:lnTo>
                    <a:pt x="21" y="551"/>
                  </a:lnTo>
                  <a:lnTo>
                    <a:pt x="13" y="546"/>
                  </a:lnTo>
                  <a:lnTo>
                    <a:pt x="8" y="545"/>
                  </a:lnTo>
                  <a:lnTo>
                    <a:pt x="4" y="543"/>
                  </a:lnTo>
                  <a:lnTo>
                    <a:pt x="1" y="539"/>
                  </a:lnTo>
                  <a:lnTo>
                    <a:pt x="0" y="533"/>
                  </a:lnTo>
                  <a:lnTo>
                    <a:pt x="1" y="528"/>
                  </a:lnTo>
                  <a:lnTo>
                    <a:pt x="9" y="520"/>
                  </a:lnTo>
                  <a:lnTo>
                    <a:pt x="14" y="518"/>
                  </a:lnTo>
                  <a:lnTo>
                    <a:pt x="25" y="509"/>
                  </a:lnTo>
                  <a:lnTo>
                    <a:pt x="33" y="500"/>
                  </a:lnTo>
                  <a:lnTo>
                    <a:pt x="43" y="491"/>
                  </a:lnTo>
                  <a:lnTo>
                    <a:pt x="48" y="489"/>
                  </a:lnTo>
                  <a:lnTo>
                    <a:pt x="58" y="490"/>
                  </a:lnTo>
                  <a:lnTo>
                    <a:pt x="64" y="495"/>
                  </a:lnTo>
                  <a:lnTo>
                    <a:pt x="68" y="503"/>
                  </a:lnTo>
                  <a:lnTo>
                    <a:pt x="71" y="506"/>
                  </a:lnTo>
                  <a:lnTo>
                    <a:pt x="81" y="506"/>
                  </a:lnTo>
                  <a:lnTo>
                    <a:pt x="88" y="505"/>
                  </a:lnTo>
                  <a:lnTo>
                    <a:pt x="93" y="503"/>
                  </a:lnTo>
                  <a:lnTo>
                    <a:pt x="109" y="491"/>
                  </a:lnTo>
                  <a:lnTo>
                    <a:pt x="113" y="488"/>
                  </a:lnTo>
                  <a:lnTo>
                    <a:pt x="113" y="480"/>
                  </a:lnTo>
                  <a:lnTo>
                    <a:pt x="110" y="476"/>
                  </a:lnTo>
                  <a:lnTo>
                    <a:pt x="105" y="474"/>
                  </a:lnTo>
                  <a:lnTo>
                    <a:pt x="101" y="473"/>
                  </a:lnTo>
                  <a:lnTo>
                    <a:pt x="96" y="444"/>
                  </a:lnTo>
                  <a:lnTo>
                    <a:pt x="98" y="438"/>
                  </a:lnTo>
                  <a:lnTo>
                    <a:pt x="101" y="431"/>
                  </a:lnTo>
                  <a:lnTo>
                    <a:pt x="116" y="425"/>
                  </a:lnTo>
                  <a:lnTo>
                    <a:pt x="120" y="421"/>
                  </a:lnTo>
                  <a:lnTo>
                    <a:pt x="121" y="414"/>
                  </a:lnTo>
                  <a:lnTo>
                    <a:pt x="121" y="401"/>
                  </a:lnTo>
                  <a:lnTo>
                    <a:pt x="123" y="390"/>
                  </a:lnTo>
                  <a:lnTo>
                    <a:pt x="129" y="374"/>
                  </a:lnTo>
                  <a:lnTo>
                    <a:pt x="140" y="354"/>
                  </a:lnTo>
                  <a:lnTo>
                    <a:pt x="141" y="346"/>
                  </a:lnTo>
                  <a:lnTo>
                    <a:pt x="143" y="340"/>
                  </a:lnTo>
                  <a:lnTo>
                    <a:pt x="135" y="308"/>
                  </a:lnTo>
                  <a:lnTo>
                    <a:pt x="143" y="290"/>
                  </a:lnTo>
                  <a:lnTo>
                    <a:pt x="146" y="281"/>
                  </a:lnTo>
                  <a:lnTo>
                    <a:pt x="150" y="276"/>
                  </a:lnTo>
                  <a:lnTo>
                    <a:pt x="156" y="270"/>
                  </a:lnTo>
                  <a:lnTo>
                    <a:pt x="164" y="269"/>
                  </a:lnTo>
                  <a:lnTo>
                    <a:pt x="174" y="274"/>
                  </a:lnTo>
                  <a:lnTo>
                    <a:pt x="178" y="275"/>
                  </a:lnTo>
                  <a:lnTo>
                    <a:pt x="189" y="273"/>
                  </a:lnTo>
                  <a:lnTo>
                    <a:pt x="201" y="273"/>
                  </a:lnTo>
                  <a:lnTo>
                    <a:pt x="206" y="270"/>
                  </a:lnTo>
                  <a:lnTo>
                    <a:pt x="211" y="265"/>
                  </a:lnTo>
                  <a:lnTo>
                    <a:pt x="223" y="251"/>
                  </a:lnTo>
                  <a:lnTo>
                    <a:pt x="228" y="248"/>
                  </a:lnTo>
                  <a:lnTo>
                    <a:pt x="243" y="245"/>
                  </a:lnTo>
                  <a:lnTo>
                    <a:pt x="248" y="241"/>
                  </a:lnTo>
                  <a:lnTo>
                    <a:pt x="251" y="236"/>
                  </a:lnTo>
                  <a:lnTo>
                    <a:pt x="253" y="229"/>
                  </a:lnTo>
                  <a:lnTo>
                    <a:pt x="253" y="223"/>
                  </a:lnTo>
                  <a:lnTo>
                    <a:pt x="251" y="218"/>
                  </a:lnTo>
                  <a:lnTo>
                    <a:pt x="253" y="211"/>
                  </a:lnTo>
                  <a:lnTo>
                    <a:pt x="254" y="205"/>
                  </a:lnTo>
                  <a:lnTo>
                    <a:pt x="259" y="195"/>
                  </a:lnTo>
                  <a:lnTo>
                    <a:pt x="266" y="181"/>
                  </a:lnTo>
                  <a:lnTo>
                    <a:pt x="295" y="161"/>
                  </a:lnTo>
                  <a:lnTo>
                    <a:pt x="303" y="158"/>
                  </a:lnTo>
                  <a:lnTo>
                    <a:pt x="309" y="153"/>
                  </a:lnTo>
                  <a:lnTo>
                    <a:pt x="315" y="145"/>
                  </a:lnTo>
                  <a:lnTo>
                    <a:pt x="323" y="130"/>
                  </a:lnTo>
                  <a:lnTo>
                    <a:pt x="324" y="121"/>
                  </a:lnTo>
                  <a:lnTo>
                    <a:pt x="324" y="114"/>
                  </a:lnTo>
                  <a:lnTo>
                    <a:pt x="321" y="109"/>
                  </a:lnTo>
                  <a:lnTo>
                    <a:pt x="319" y="93"/>
                  </a:lnTo>
                  <a:lnTo>
                    <a:pt x="320" y="86"/>
                  </a:lnTo>
                  <a:lnTo>
                    <a:pt x="324" y="70"/>
                  </a:lnTo>
                  <a:lnTo>
                    <a:pt x="325" y="66"/>
                  </a:lnTo>
                  <a:lnTo>
                    <a:pt x="336" y="71"/>
                  </a:lnTo>
                  <a:lnTo>
                    <a:pt x="341" y="70"/>
                  </a:lnTo>
                  <a:lnTo>
                    <a:pt x="342" y="61"/>
                  </a:lnTo>
                  <a:lnTo>
                    <a:pt x="345" y="59"/>
                  </a:lnTo>
                  <a:lnTo>
                    <a:pt x="354" y="63"/>
                  </a:lnTo>
                  <a:lnTo>
                    <a:pt x="359" y="63"/>
                  </a:lnTo>
                  <a:lnTo>
                    <a:pt x="366" y="58"/>
                  </a:lnTo>
                  <a:lnTo>
                    <a:pt x="374" y="51"/>
                  </a:lnTo>
                  <a:lnTo>
                    <a:pt x="383" y="36"/>
                  </a:lnTo>
                  <a:lnTo>
                    <a:pt x="390" y="21"/>
                  </a:lnTo>
                  <a:lnTo>
                    <a:pt x="400" y="11"/>
                  </a:lnTo>
                  <a:lnTo>
                    <a:pt x="414" y="8"/>
                  </a:lnTo>
                  <a:lnTo>
                    <a:pt x="415" y="11"/>
                  </a:lnTo>
                  <a:lnTo>
                    <a:pt x="421" y="10"/>
                  </a:lnTo>
                  <a:lnTo>
                    <a:pt x="428" y="6"/>
                  </a:lnTo>
                  <a:lnTo>
                    <a:pt x="439" y="5"/>
                  </a:lnTo>
                  <a:lnTo>
                    <a:pt x="450" y="0"/>
                  </a:lnTo>
                  <a:lnTo>
                    <a:pt x="455" y="1"/>
                  </a:lnTo>
                  <a:lnTo>
                    <a:pt x="466" y="6"/>
                  </a:lnTo>
                  <a:lnTo>
                    <a:pt x="471" y="10"/>
                  </a:lnTo>
                  <a:lnTo>
                    <a:pt x="470" y="18"/>
                  </a:lnTo>
                  <a:lnTo>
                    <a:pt x="471" y="25"/>
                  </a:lnTo>
                  <a:lnTo>
                    <a:pt x="475" y="38"/>
                  </a:lnTo>
                  <a:lnTo>
                    <a:pt x="478" y="41"/>
                  </a:lnTo>
                  <a:lnTo>
                    <a:pt x="484" y="44"/>
                  </a:lnTo>
                  <a:lnTo>
                    <a:pt x="490" y="45"/>
                  </a:lnTo>
                  <a:lnTo>
                    <a:pt x="498" y="44"/>
                  </a:lnTo>
                  <a:lnTo>
                    <a:pt x="504" y="41"/>
                  </a:lnTo>
                  <a:lnTo>
                    <a:pt x="506" y="34"/>
                  </a:lnTo>
                  <a:lnTo>
                    <a:pt x="511" y="21"/>
                  </a:lnTo>
                  <a:lnTo>
                    <a:pt x="519" y="16"/>
                  </a:lnTo>
                  <a:lnTo>
                    <a:pt x="530" y="16"/>
                  </a:lnTo>
                  <a:lnTo>
                    <a:pt x="548" y="21"/>
                  </a:lnTo>
                  <a:lnTo>
                    <a:pt x="570" y="34"/>
                  </a:lnTo>
                  <a:lnTo>
                    <a:pt x="576" y="33"/>
                  </a:lnTo>
                  <a:lnTo>
                    <a:pt x="582" y="30"/>
                  </a:lnTo>
                  <a:lnTo>
                    <a:pt x="589" y="31"/>
                  </a:lnTo>
                  <a:lnTo>
                    <a:pt x="605" y="48"/>
                  </a:lnTo>
                  <a:lnTo>
                    <a:pt x="607" y="75"/>
                  </a:lnTo>
                  <a:lnTo>
                    <a:pt x="601" y="105"/>
                  </a:lnTo>
                  <a:lnTo>
                    <a:pt x="592" y="130"/>
                  </a:lnTo>
                  <a:lnTo>
                    <a:pt x="586" y="139"/>
                  </a:lnTo>
                  <a:lnTo>
                    <a:pt x="562" y="164"/>
                  </a:lnTo>
                  <a:lnTo>
                    <a:pt x="559" y="170"/>
                  </a:lnTo>
                  <a:lnTo>
                    <a:pt x="565" y="186"/>
                  </a:lnTo>
                  <a:lnTo>
                    <a:pt x="575" y="198"/>
                  </a:lnTo>
                  <a:lnTo>
                    <a:pt x="587" y="205"/>
                  </a:lnTo>
                  <a:lnTo>
                    <a:pt x="601" y="209"/>
                  </a:lnTo>
                  <a:lnTo>
                    <a:pt x="616" y="210"/>
                  </a:lnTo>
                  <a:lnTo>
                    <a:pt x="626" y="206"/>
                  </a:lnTo>
                  <a:lnTo>
                    <a:pt x="631" y="196"/>
                  </a:lnTo>
                  <a:lnTo>
                    <a:pt x="632" y="176"/>
                  </a:lnTo>
                  <a:lnTo>
                    <a:pt x="636" y="161"/>
                  </a:lnTo>
                  <a:lnTo>
                    <a:pt x="645" y="150"/>
                  </a:lnTo>
                  <a:lnTo>
                    <a:pt x="657" y="146"/>
                  </a:lnTo>
                  <a:lnTo>
                    <a:pt x="670" y="149"/>
                  </a:lnTo>
                  <a:lnTo>
                    <a:pt x="659" y="159"/>
                  </a:lnTo>
                  <a:lnTo>
                    <a:pt x="654" y="169"/>
                  </a:lnTo>
                  <a:lnTo>
                    <a:pt x="656" y="180"/>
                  </a:lnTo>
                  <a:lnTo>
                    <a:pt x="666" y="190"/>
                  </a:lnTo>
                  <a:lnTo>
                    <a:pt x="676" y="196"/>
                  </a:lnTo>
                  <a:lnTo>
                    <a:pt x="709" y="203"/>
                  </a:lnTo>
                  <a:lnTo>
                    <a:pt x="728" y="213"/>
                  </a:lnTo>
                  <a:lnTo>
                    <a:pt x="746" y="228"/>
                  </a:lnTo>
                  <a:lnTo>
                    <a:pt x="766" y="226"/>
                  </a:lnTo>
                  <a:lnTo>
                    <a:pt x="771" y="228"/>
                  </a:lnTo>
                  <a:lnTo>
                    <a:pt x="780" y="234"/>
                  </a:lnTo>
                  <a:lnTo>
                    <a:pt x="785" y="238"/>
                  </a:lnTo>
                  <a:lnTo>
                    <a:pt x="804" y="240"/>
                  </a:lnTo>
                  <a:lnTo>
                    <a:pt x="814" y="243"/>
                  </a:lnTo>
                  <a:lnTo>
                    <a:pt x="820" y="250"/>
                  </a:lnTo>
                  <a:lnTo>
                    <a:pt x="839" y="265"/>
                  </a:lnTo>
                  <a:lnTo>
                    <a:pt x="860" y="271"/>
                  </a:lnTo>
                  <a:lnTo>
                    <a:pt x="905" y="275"/>
                  </a:lnTo>
                  <a:lnTo>
                    <a:pt x="948" y="268"/>
                  </a:lnTo>
                  <a:lnTo>
                    <a:pt x="963" y="273"/>
                  </a:lnTo>
                  <a:lnTo>
                    <a:pt x="970" y="294"/>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52" name="Orense" descr="{&quot;Key&quot;:&quot;orense&quot;,&quot;Name&quot;:&quot;Orense&quot;,&quot;Value&quot;:1.0,&quot;Formula&quot;:&quot;&quot;,&quot;Text&quot;:&quot;1&quot;,&quot;HasValue&quot;:true}">
              <a:extLst>
                <a:ext uri="{FF2B5EF4-FFF2-40B4-BE49-F238E27FC236}">
                  <a16:creationId xmlns:a16="http://schemas.microsoft.com/office/drawing/2014/main" id="{B3513226-F671-192C-66F1-3678D73B6414}"/>
                </a:ext>
              </a:extLst>
            </p:cNvPr>
            <p:cNvSpPr>
              <a:spLocks/>
            </p:cNvSpPr>
            <p:nvPr/>
          </p:nvSpPr>
          <p:spPr bwMode="auto">
            <a:xfrm>
              <a:off x="1526389" y="2567482"/>
              <a:ext cx="613463" cy="399530"/>
            </a:xfrm>
            <a:custGeom>
              <a:avLst/>
              <a:gdLst>
                <a:gd name="T0" fmla="*/ 760 w 891"/>
                <a:gd name="T1" fmla="*/ 62 h 577"/>
                <a:gd name="T2" fmla="*/ 788 w 891"/>
                <a:gd name="T3" fmla="*/ 48 h 577"/>
                <a:gd name="T4" fmla="*/ 850 w 891"/>
                <a:gd name="T5" fmla="*/ 86 h 577"/>
                <a:gd name="T6" fmla="*/ 843 w 891"/>
                <a:gd name="T7" fmla="*/ 116 h 577"/>
                <a:gd name="T8" fmla="*/ 880 w 891"/>
                <a:gd name="T9" fmla="*/ 162 h 577"/>
                <a:gd name="T10" fmla="*/ 890 w 891"/>
                <a:gd name="T11" fmla="*/ 200 h 577"/>
                <a:gd name="T12" fmla="*/ 871 w 891"/>
                <a:gd name="T13" fmla="*/ 237 h 577"/>
                <a:gd name="T14" fmla="*/ 852 w 891"/>
                <a:gd name="T15" fmla="*/ 270 h 577"/>
                <a:gd name="T16" fmla="*/ 817 w 891"/>
                <a:gd name="T17" fmla="*/ 271 h 577"/>
                <a:gd name="T18" fmla="*/ 777 w 891"/>
                <a:gd name="T19" fmla="*/ 310 h 577"/>
                <a:gd name="T20" fmla="*/ 756 w 891"/>
                <a:gd name="T21" fmla="*/ 343 h 577"/>
                <a:gd name="T22" fmla="*/ 728 w 891"/>
                <a:gd name="T23" fmla="*/ 382 h 577"/>
                <a:gd name="T24" fmla="*/ 752 w 891"/>
                <a:gd name="T25" fmla="*/ 395 h 577"/>
                <a:gd name="T26" fmla="*/ 753 w 891"/>
                <a:gd name="T27" fmla="*/ 436 h 577"/>
                <a:gd name="T28" fmla="*/ 748 w 891"/>
                <a:gd name="T29" fmla="*/ 458 h 577"/>
                <a:gd name="T30" fmla="*/ 681 w 891"/>
                <a:gd name="T31" fmla="*/ 453 h 577"/>
                <a:gd name="T32" fmla="*/ 637 w 891"/>
                <a:gd name="T33" fmla="*/ 456 h 577"/>
                <a:gd name="T34" fmla="*/ 635 w 891"/>
                <a:gd name="T35" fmla="*/ 507 h 577"/>
                <a:gd name="T36" fmla="*/ 555 w 891"/>
                <a:gd name="T37" fmla="*/ 550 h 577"/>
                <a:gd name="T38" fmla="*/ 506 w 891"/>
                <a:gd name="T39" fmla="*/ 571 h 577"/>
                <a:gd name="T40" fmla="*/ 483 w 891"/>
                <a:gd name="T41" fmla="*/ 543 h 577"/>
                <a:gd name="T42" fmla="*/ 458 w 891"/>
                <a:gd name="T43" fmla="*/ 533 h 577"/>
                <a:gd name="T44" fmla="*/ 441 w 891"/>
                <a:gd name="T45" fmla="*/ 558 h 577"/>
                <a:gd name="T46" fmla="*/ 398 w 891"/>
                <a:gd name="T47" fmla="*/ 558 h 577"/>
                <a:gd name="T48" fmla="*/ 367 w 891"/>
                <a:gd name="T49" fmla="*/ 522 h 577"/>
                <a:gd name="T50" fmla="*/ 293 w 891"/>
                <a:gd name="T51" fmla="*/ 525 h 577"/>
                <a:gd name="T52" fmla="*/ 265 w 891"/>
                <a:gd name="T53" fmla="*/ 540 h 577"/>
                <a:gd name="T54" fmla="*/ 231 w 891"/>
                <a:gd name="T55" fmla="*/ 502 h 577"/>
                <a:gd name="T56" fmla="*/ 210 w 891"/>
                <a:gd name="T57" fmla="*/ 532 h 577"/>
                <a:gd name="T58" fmla="*/ 181 w 891"/>
                <a:gd name="T59" fmla="*/ 551 h 577"/>
                <a:gd name="T60" fmla="*/ 92 w 891"/>
                <a:gd name="T61" fmla="*/ 555 h 577"/>
                <a:gd name="T62" fmla="*/ 61 w 891"/>
                <a:gd name="T63" fmla="*/ 518 h 577"/>
                <a:gd name="T64" fmla="*/ 105 w 891"/>
                <a:gd name="T65" fmla="*/ 443 h 577"/>
                <a:gd name="T66" fmla="*/ 137 w 891"/>
                <a:gd name="T67" fmla="*/ 402 h 577"/>
                <a:gd name="T68" fmla="*/ 102 w 891"/>
                <a:gd name="T69" fmla="*/ 380 h 577"/>
                <a:gd name="T70" fmla="*/ 75 w 891"/>
                <a:gd name="T71" fmla="*/ 368 h 577"/>
                <a:gd name="T72" fmla="*/ 88 w 891"/>
                <a:gd name="T73" fmla="*/ 303 h 577"/>
                <a:gd name="T74" fmla="*/ 54 w 891"/>
                <a:gd name="T75" fmla="*/ 256 h 577"/>
                <a:gd name="T76" fmla="*/ 45 w 891"/>
                <a:gd name="T77" fmla="*/ 197 h 577"/>
                <a:gd name="T78" fmla="*/ 12 w 891"/>
                <a:gd name="T79" fmla="*/ 158 h 577"/>
                <a:gd name="T80" fmla="*/ 0 w 891"/>
                <a:gd name="T81" fmla="*/ 110 h 577"/>
                <a:gd name="T82" fmla="*/ 51 w 891"/>
                <a:gd name="T83" fmla="*/ 35 h 577"/>
                <a:gd name="T84" fmla="*/ 152 w 891"/>
                <a:gd name="T85" fmla="*/ 20 h 577"/>
                <a:gd name="T86" fmla="*/ 199 w 891"/>
                <a:gd name="T87" fmla="*/ 5 h 577"/>
                <a:gd name="T88" fmla="*/ 249 w 891"/>
                <a:gd name="T89" fmla="*/ 23 h 577"/>
                <a:gd name="T90" fmla="*/ 311 w 891"/>
                <a:gd name="T91" fmla="*/ 80 h 577"/>
                <a:gd name="T92" fmla="*/ 424 w 891"/>
                <a:gd name="T93" fmla="*/ 127 h 577"/>
                <a:gd name="T94" fmla="*/ 539 w 891"/>
                <a:gd name="T95" fmla="*/ 117 h 577"/>
                <a:gd name="T96" fmla="*/ 602 w 891"/>
                <a:gd name="T97" fmla="*/ 128 h 577"/>
                <a:gd name="T98" fmla="*/ 687 w 891"/>
                <a:gd name="T99" fmla="*/ 9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1" h="577">
                  <a:moveTo>
                    <a:pt x="705" y="56"/>
                  </a:moveTo>
                  <a:lnTo>
                    <a:pt x="730" y="57"/>
                  </a:lnTo>
                  <a:lnTo>
                    <a:pt x="754" y="62"/>
                  </a:lnTo>
                  <a:lnTo>
                    <a:pt x="760" y="62"/>
                  </a:lnTo>
                  <a:lnTo>
                    <a:pt x="765" y="56"/>
                  </a:lnTo>
                  <a:lnTo>
                    <a:pt x="770" y="52"/>
                  </a:lnTo>
                  <a:lnTo>
                    <a:pt x="781" y="48"/>
                  </a:lnTo>
                  <a:lnTo>
                    <a:pt x="788" y="48"/>
                  </a:lnTo>
                  <a:lnTo>
                    <a:pt x="793" y="51"/>
                  </a:lnTo>
                  <a:lnTo>
                    <a:pt x="803" y="58"/>
                  </a:lnTo>
                  <a:lnTo>
                    <a:pt x="843" y="70"/>
                  </a:lnTo>
                  <a:lnTo>
                    <a:pt x="850" y="86"/>
                  </a:lnTo>
                  <a:lnTo>
                    <a:pt x="848" y="91"/>
                  </a:lnTo>
                  <a:lnTo>
                    <a:pt x="847" y="105"/>
                  </a:lnTo>
                  <a:lnTo>
                    <a:pt x="846" y="111"/>
                  </a:lnTo>
                  <a:lnTo>
                    <a:pt x="843" y="116"/>
                  </a:lnTo>
                  <a:lnTo>
                    <a:pt x="837" y="125"/>
                  </a:lnTo>
                  <a:lnTo>
                    <a:pt x="833" y="126"/>
                  </a:lnTo>
                  <a:lnTo>
                    <a:pt x="861" y="150"/>
                  </a:lnTo>
                  <a:lnTo>
                    <a:pt x="880" y="162"/>
                  </a:lnTo>
                  <a:lnTo>
                    <a:pt x="887" y="171"/>
                  </a:lnTo>
                  <a:lnTo>
                    <a:pt x="891" y="177"/>
                  </a:lnTo>
                  <a:lnTo>
                    <a:pt x="888" y="188"/>
                  </a:lnTo>
                  <a:lnTo>
                    <a:pt x="890" y="200"/>
                  </a:lnTo>
                  <a:lnTo>
                    <a:pt x="888" y="205"/>
                  </a:lnTo>
                  <a:lnTo>
                    <a:pt x="886" y="215"/>
                  </a:lnTo>
                  <a:lnTo>
                    <a:pt x="878" y="223"/>
                  </a:lnTo>
                  <a:lnTo>
                    <a:pt x="871" y="237"/>
                  </a:lnTo>
                  <a:lnTo>
                    <a:pt x="863" y="243"/>
                  </a:lnTo>
                  <a:lnTo>
                    <a:pt x="855" y="255"/>
                  </a:lnTo>
                  <a:lnTo>
                    <a:pt x="853" y="261"/>
                  </a:lnTo>
                  <a:lnTo>
                    <a:pt x="852" y="270"/>
                  </a:lnTo>
                  <a:lnTo>
                    <a:pt x="848" y="271"/>
                  </a:lnTo>
                  <a:lnTo>
                    <a:pt x="838" y="268"/>
                  </a:lnTo>
                  <a:lnTo>
                    <a:pt x="830" y="268"/>
                  </a:lnTo>
                  <a:lnTo>
                    <a:pt x="817" y="271"/>
                  </a:lnTo>
                  <a:lnTo>
                    <a:pt x="808" y="276"/>
                  </a:lnTo>
                  <a:lnTo>
                    <a:pt x="800" y="283"/>
                  </a:lnTo>
                  <a:lnTo>
                    <a:pt x="781" y="303"/>
                  </a:lnTo>
                  <a:lnTo>
                    <a:pt x="777" y="310"/>
                  </a:lnTo>
                  <a:lnTo>
                    <a:pt x="775" y="315"/>
                  </a:lnTo>
                  <a:lnTo>
                    <a:pt x="768" y="335"/>
                  </a:lnTo>
                  <a:lnTo>
                    <a:pt x="765" y="338"/>
                  </a:lnTo>
                  <a:lnTo>
                    <a:pt x="756" y="343"/>
                  </a:lnTo>
                  <a:lnTo>
                    <a:pt x="751" y="348"/>
                  </a:lnTo>
                  <a:lnTo>
                    <a:pt x="737" y="370"/>
                  </a:lnTo>
                  <a:lnTo>
                    <a:pt x="730" y="376"/>
                  </a:lnTo>
                  <a:lnTo>
                    <a:pt x="728" y="382"/>
                  </a:lnTo>
                  <a:lnTo>
                    <a:pt x="730" y="387"/>
                  </a:lnTo>
                  <a:lnTo>
                    <a:pt x="737" y="395"/>
                  </a:lnTo>
                  <a:lnTo>
                    <a:pt x="741" y="395"/>
                  </a:lnTo>
                  <a:lnTo>
                    <a:pt x="752" y="395"/>
                  </a:lnTo>
                  <a:lnTo>
                    <a:pt x="756" y="397"/>
                  </a:lnTo>
                  <a:lnTo>
                    <a:pt x="762" y="406"/>
                  </a:lnTo>
                  <a:lnTo>
                    <a:pt x="763" y="412"/>
                  </a:lnTo>
                  <a:lnTo>
                    <a:pt x="753" y="436"/>
                  </a:lnTo>
                  <a:lnTo>
                    <a:pt x="751" y="446"/>
                  </a:lnTo>
                  <a:lnTo>
                    <a:pt x="753" y="452"/>
                  </a:lnTo>
                  <a:lnTo>
                    <a:pt x="753" y="461"/>
                  </a:lnTo>
                  <a:lnTo>
                    <a:pt x="748" y="458"/>
                  </a:lnTo>
                  <a:lnTo>
                    <a:pt x="735" y="467"/>
                  </a:lnTo>
                  <a:lnTo>
                    <a:pt x="716" y="476"/>
                  </a:lnTo>
                  <a:lnTo>
                    <a:pt x="698" y="468"/>
                  </a:lnTo>
                  <a:lnTo>
                    <a:pt x="681" y="453"/>
                  </a:lnTo>
                  <a:lnTo>
                    <a:pt x="663" y="442"/>
                  </a:lnTo>
                  <a:lnTo>
                    <a:pt x="655" y="443"/>
                  </a:lnTo>
                  <a:lnTo>
                    <a:pt x="646" y="450"/>
                  </a:lnTo>
                  <a:lnTo>
                    <a:pt x="637" y="456"/>
                  </a:lnTo>
                  <a:lnTo>
                    <a:pt x="633" y="460"/>
                  </a:lnTo>
                  <a:lnTo>
                    <a:pt x="632" y="471"/>
                  </a:lnTo>
                  <a:lnTo>
                    <a:pt x="636" y="495"/>
                  </a:lnTo>
                  <a:lnTo>
                    <a:pt x="635" y="507"/>
                  </a:lnTo>
                  <a:lnTo>
                    <a:pt x="622" y="523"/>
                  </a:lnTo>
                  <a:lnTo>
                    <a:pt x="605" y="535"/>
                  </a:lnTo>
                  <a:lnTo>
                    <a:pt x="565" y="548"/>
                  </a:lnTo>
                  <a:lnTo>
                    <a:pt x="555" y="550"/>
                  </a:lnTo>
                  <a:lnTo>
                    <a:pt x="535" y="550"/>
                  </a:lnTo>
                  <a:lnTo>
                    <a:pt x="527" y="551"/>
                  </a:lnTo>
                  <a:lnTo>
                    <a:pt x="520" y="556"/>
                  </a:lnTo>
                  <a:lnTo>
                    <a:pt x="506" y="571"/>
                  </a:lnTo>
                  <a:lnTo>
                    <a:pt x="498" y="577"/>
                  </a:lnTo>
                  <a:lnTo>
                    <a:pt x="496" y="566"/>
                  </a:lnTo>
                  <a:lnTo>
                    <a:pt x="491" y="553"/>
                  </a:lnTo>
                  <a:lnTo>
                    <a:pt x="483" y="543"/>
                  </a:lnTo>
                  <a:lnTo>
                    <a:pt x="476" y="541"/>
                  </a:lnTo>
                  <a:lnTo>
                    <a:pt x="471" y="540"/>
                  </a:lnTo>
                  <a:lnTo>
                    <a:pt x="462" y="533"/>
                  </a:lnTo>
                  <a:lnTo>
                    <a:pt x="458" y="533"/>
                  </a:lnTo>
                  <a:lnTo>
                    <a:pt x="453" y="537"/>
                  </a:lnTo>
                  <a:lnTo>
                    <a:pt x="452" y="547"/>
                  </a:lnTo>
                  <a:lnTo>
                    <a:pt x="450" y="552"/>
                  </a:lnTo>
                  <a:lnTo>
                    <a:pt x="441" y="558"/>
                  </a:lnTo>
                  <a:lnTo>
                    <a:pt x="430" y="562"/>
                  </a:lnTo>
                  <a:lnTo>
                    <a:pt x="417" y="565"/>
                  </a:lnTo>
                  <a:lnTo>
                    <a:pt x="408" y="563"/>
                  </a:lnTo>
                  <a:lnTo>
                    <a:pt x="398" y="558"/>
                  </a:lnTo>
                  <a:lnTo>
                    <a:pt x="398" y="551"/>
                  </a:lnTo>
                  <a:lnTo>
                    <a:pt x="407" y="527"/>
                  </a:lnTo>
                  <a:lnTo>
                    <a:pt x="377" y="526"/>
                  </a:lnTo>
                  <a:lnTo>
                    <a:pt x="367" y="522"/>
                  </a:lnTo>
                  <a:lnTo>
                    <a:pt x="352" y="511"/>
                  </a:lnTo>
                  <a:lnTo>
                    <a:pt x="343" y="508"/>
                  </a:lnTo>
                  <a:lnTo>
                    <a:pt x="328" y="516"/>
                  </a:lnTo>
                  <a:lnTo>
                    <a:pt x="293" y="525"/>
                  </a:lnTo>
                  <a:lnTo>
                    <a:pt x="278" y="523"/>
                  </a:lnTo>
                  <a:lnTo>
                    <a:pt x="273" y="526"/>
                  </a:lnTo>
                  <a:lnTo>
                    <a:pt x="268" y="535"/>
                  </a:lnTo>
                  <a:lnTo>
                    <a:pt x="265" y="540"/>
                  </a:lnTo>
                  <a:lnTo>
                    <a:pt x="247" y="540"/>
                  </a:lnTo>
                  <a:lnTo>
                    <a:pt x="243" y="517"/>
                  </a:lnTo>
                  <a:lnTo>
                    <a:pt x="242" y="497"/>
                  </a:lnTo>
                  <a:lnTo>
                    <a:pt x="231" y="502"/>
                  </a:lnTo>
                  <a:lnTo>
                    <a:pt x="228" y="510"/>
                  </a:lnTo>
                  <a:lnTo>
                    <a:pt x="226" y="522"/>
                  </a:lnTo>
                  <a:lnTo>
                    <a:pt x="220" y="532"/>
                  </a:lnTo>
                  <a:lnTo>
                    <a:pt x="210" y="532"/>
                  </a:lnTo>
                  <a:lnTo>
                    <a:pt x="201" y="531"/>
                  </a:lnTo>
                  <a:lnTo>
                    <a:pt x="193" y="535"/>
                  </a:lnTo>
                  <a:lnTo>
                    <a:pt x="186" y="542"/>
                  </a:lnTo>
                  <a:lnTo>
                    <a:pt x="181" y="551"/>
                  </a:lnTo>
                  <a:lnTo>
                    <a:pt x="162" y="570"/>
                  </a:lnTo>
                  <a:lnTo>
                    <a:pt x="137" y="577"/>
                  </a:lnTo>
                  <a:lnTo>
                    <a:pt x="90" y="575"/>
                  </a:lnTo>
                  <a:lnTo>
                    <a:pt x="92" y="555"/>
                  </a:lnTo>
                  <a:lnTo>
                    <a:pt x="91" y="545"/>
                  </a:lnTo>
                  <a:lnTo>
                    <a:pt x="87" y="540"/>
                  </a:lnTo>
                  <a:lnTo>
                    <a:pt x="67" y="531"/>
                  </a:lnTo>
                  <a:lnTo>
                    <a:pt x="61" y="518"/>
                  </a:lnTo>
                  <a:lnTo>
                    <a:pt x="62" y="505"/>
                  </a:lnTo>
                  <a:lnTo>
                    <a:pt x="67" y="491"/>
                  </a:lnTo>
                  <a:lnTo>
                    <a:pt x="88" y="458"/>
                  </a:lnTo>
                  <a:lnTo>
                    <a:pt x="105" y="443"/>
                  </a:lnTo>
                  <a:lnTo>
                    <a:pt x="121" y="432"/>
                  </a:lnTo>
                  <a:lnTo>
                    <a:pt x="130" y="425"/>
                  </a:lnTo>
                  <a:lnTo>
                    <a:pt x="136" y="416"/>
                  </a:lnTo>
                  <a:lnTo>
                    <a:pt x="137" y="402"/>
                  </a:lnTo>
                  <a:lnTo>
                    <a:pt x="132" y="391"/>
                  </a:lnTo>
                  <a:lnTo>
                    <a:pt x="123" y="383"/>
                  </a:lnTo>
                  <a:lnTo>
                    <a:pt x="113" y="378"/>
                  </a:lnTo>
                  <a:lnTo>
                    <a:pt x="102" y="380"/>
                  </a:lnTo>
                  <a:lnTo>
                    <a:pt x="92" y="385"/>
                  </a:lnTo>
                  <a:lnTo>
                    <a:pt x="83" y="387"/>
                  </a:lnTo>
                  <a:lnTo>
                    <a:pt x="76" y="381"/>
                  </a:lnTo>
                  <a:lnTo>
                    <a:pt x="75" y="368"/>
                  </a:lnTo>
                  <a:lnTo>
                    <a:pt x="76" y="337"/>
                  </a:lnTo>
                  <a:lnTo>
                    <a:pt x="71" y="326"/>
                  </a:lnTo>
                  <a:lnTo>
                    <a:pt x="66" y="318"/>
                  </a:lnTo>
                  <a:lnTo>
                    <a:pt x="88" y="303"/>
                  </a:lnTo>
                  <a:lnTo>
                    <a:pt x="90" y="276"/>
                  </a:lnTo>
                  <a:lnTo>
                    <a:pt x="99" y="250"/>
                  </a:lnTo>
                  <a:lnTo>
                    <a:pt x="59" y="260"/>
                  </a:lnTo>
                  <a:lnTo>
                    <a:pt x="54" y="256"/>
                  </a:lnTo>
                  <a:lnTo>
                    <a:pt x="41" y="241"/>
                  </a:lnTo>
                  <a:lnTo>
                    <a:pt x="37" y="233"/>
                  </a:lnTo>
                  <a:lnTo>
                    <a:pt x="37" y="225"/>
                  </a:lnTo>
                  <a:lnTo>
                    <a:pt x="45" y="197"/>
                  </a:lnTo>
                  <a:lnTo>
                    <a:pt x="36" y="195"/>
                  </a:lnTo>
                  <a:lnTo>
                    <a:pt x="31" y="191"/>
                  </a:lnTo>
                  <a:lnTo>
                    <a:pt x="14" y="163"/>
                  </a:lnTo>
                  <a:lnTo>
                    <a:pt x="12" y="158"/>
                  </a:lnTo>
                  <a:lnTo>
                    <a:pt x="14" y="146"/>
                  </a:lnTo>
                  <a:lnTo>
                    <a:pt x="14" y="142"/>
                  </a:lnTo>
                  <a:lnTo>
                    <a:pt x="5" y="123"/>
                  </a:lnTo>
                  <a:lnTo>
                    <a:pt x="0" y="110"/>
                  </a:lnTo>
                  <a:lnTo>
                    <a:pt x="2" y="70"/>
                  </a:lnTo>
                  <a:lnTo>
                    <a:pt x="1" y="65"/>
                  </a:lnTo>
                  <a:lnTo>
                    <a:pt x="22" y="66"/>
                  </a:lnTo>
                  <a:lnTo>
                    <a:pt x="51" y="35"/>
                  </a:lnTo>
                  <a:lnTo>
                    <a:pt x="71" y="28"/>
                  </a:lnTo>
                  <a:lnTo>
                    <a:pt x="94" y="5"/>
                  </a:lnTo>
                  <a:lnTo>
                    <a:pt x="109" y="22"/>
                  </a:lnTo>
                  <a:lnTo>
                    <a:pt x="152" y="20"/>
                  </a:lnTo>
                  <a:lnTo>
                    <a:pt x="180" y="27"/>
                  </a:lnTo>
                  <a:lnTo>
                    <a:pt x="182" y="25"/>
                  </a:lnTo>
                  <a:lnTo>
                    <a:pt x="194" y="6"/>
                  </a:lnTo>
                  <a:lnTo>
                    <a:pt x="199" y="5"/>
                  </a:lnTo>
                  <a:lnTo>
                    <a:pt x="212" y="7"/>
                  </a:lnTo>
                  <a:lnTo>
                    <a:pt x="229" y="0"/>
                  </a:lnTo>
                  <a:lnTo>
                    <a:pt x="245" y="16"/>
                  </a:lnTo>
                  <a:lnTo>
                    <a:pt x="249" y="23"/>
                  </a:lnTo>
                  <a:lnTo>
                    <a:pt x="249" y="31"/>
                  </a:lnTo>
                  <a:lnTo>
                    <a:pt x="247" y="55"/>
                  </a:lnTo>
                  <a:lnTo>
                    <a:pt x="266" y="56"/>
                  </a:lnTo>
                  <a:lnTo>
                    <a:pt x="311" y="80"/>
                  </a:lnTo>
                  <a:lnTo>
                    <a:pt x="327" y="95"/>
                  </a:lnTo>
                  <a:lnTo>
                    <a:pt x="347" y="95"/>
                  </a:lnTo>
                  <a:lnTo>
                    <a:pt x="402" y="132"/>
                  </a:lnTo>
                  <a:lnTo>
                    <a:pt x="424" y="127"/>
                  </a:lnTo>
                  <a:lnTo>
                    <a:pt x="455" y="137"/>
                  </a:lnTo>
                  <a:lnTo>
                    <a:pt x="512" y="108"/>
                  </a:lnTo>
                  <a:lnTo>
                    <a:pt x="519" y="100"/>
                  </a:lnTo>
                  <a:lnTo>
                    <a:pt x="539" y="117"/>
                  </a:lnTo>
                  <a:lnTo>
                    <a:pt x="544" y="118"/>
                  </a:lnTo>
                  <a:lnTo>
                    <a:pt x="566" y="115"/>
                  </a:lnTo>
                  <a:lnTo>
                    <a:pt x="595" y="122"/>
                  </a:lnTo>
                  <a:lnTo>
                    <a:pt x="602" y="128"/>
                  </a:lnTo>
                  <a:lnTo>
                    <a:pt x="631" y="190"/>
                  </a:lnTo>
                  <a:lnTo>
                    <a:pt x="660" y="113"/>
                  </a:lnTo>
                  <a:lnTo>
                    <a:pt x="667" y="103"/>
                  </a:lnTo>
                  <a:lnTo>
                    <a:pt x="687" y="90"/>
                  </a:lnTo>
                  <a:lnTo>
                    <a:pt x="705" y="56"/>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53" name="Palencia" descr="{&quot;Key&quot;:&quot;palencia&quot;,&quot;Name&quot;:&quot;Palencia&quot;,&quot;Value&quot;:1.0,&quot;Formula&quot;:&quot;&quot;,&quot;Text&quot;:&quot;1&quot;,&quot;HasValue&quot;:true}">
              <a:extLst>
                <a:ext uri="{FF2B5EF4-FFF2-40B4-BE49-F238E27FC236}">
                  <a16:creationId xmlns:a16="http://schemas.microsoft.com/office/drawing/2014/main" id="{6859DFE6-6DEC-8C23-F226-8F8242B06776}"/>
                </a:ext>
              </a:extLst>
            </p:cNvPr>
            <p:cNvSpPr>
              <a:spLocks noEditPoints="1"/>
            </p:cNvSpPr>
            <p:nvPr/>
          </p:nvSpPr>
          <p:spPr bwMode="auto">
            <a:xfrm>
              <a:off x="2792983" y="2320963"/>
              <a:ext cx="433532" cy="668716"/>
            </a:xfrm>
            <a:custGeom>
              <a:avLst/>
              <a:gdLst>
                <a:gd name="T0" fmla="*/ 514 w 629"/>
                <a:gd name="T1" fmla="*/ 668 h 968"/>
                <a:gd name="T2" fmla="*/ 537 w 629"/>
                <a:gd name="T3" fmla="*/ 668 h 968"/>
                <a:gd name="T4" fmla="*/ 529 w 629"/>
                <a:gd name="T5" fmla="*/ 691 h 968"/>
                <a:gd name="T6" fmla="*/ 513 w 629"/>
                <a:gd name="T7" fmla="*/ 236 h 968"/>
                <a:gd name="T8" fmla="*/ 489 w 629"/>
                <a:gd name="T9" fmla="*/ 226 h 968"/>
                <a:gd name="T10" fmla="*/ 434 w 629"/>
                <a:gd name="T11" fmla="*/ 271 h 968"/>
                <a:gd name="T12" fmla="*/ 413 w 629"/>
                <a:gd name="T13" fmla="*/ 276 h 968"/>
                <a:gd name="T14" fmla="*/ 406 w 629"/>
                <a:gd name="T15" fmla="*/ 338 h 968"/>
                <a:gd name="T16" fmla="*/ 416 w 629"/>
                <a:gd name="T17" fmla="*/ 379 h 968"/>
                <a:gd name="T18" fmla="*/ 403 w 629"/>
                <a:gd name="T19" fmla="*/ 446 h 968"/>
                <a:gd name="T20" fmla="*/ 386 w 629"/>
                <a:gd name="T21" fmla="*/ 488 h 968"/>
                <a:gd name="T22" fmla="*/ 416 w 629"/>
                <a:gd name="T23" fmla="*/ 504 h 968"/>
                <a:gd name="T24" fmla="*/ 456 w 629"/>
                <a:gd name="T25" fmla="*/ 690 h 968"/>
                <a:gd name="T26" fmla="*/ 525 w 629"/>
                <a:gd name="T27" fmla="*/ 761 h 968"/>
                <a:gd name="T28" fmla="*/ 585 w 629"/>
                <a:gd name="T29" fmla="*/ 768 h 968"/>
                <a:gd name="T30" fmla="*/ 616 w 629"/>
                <a:gd name="T31" fmla="*/ 796 h 968"/>
                <a:gd name="T32" fmla="*/ 629 w 629"/>
                <a:gd name="T33" fmla="*/ 819 h 968"/>
                <a:gd name="T34" fmla="*/ 580 w 629"/>
                <a:gd name="T35" fmla="*/ 846 h 968"/>
                <a:gd name="T36" fmla="*/ 571 w 629"/>
                <a:gd name="T37" fmla="*/ 876 h 968"/>
                <a:gd name="T38" fmla="*/ 549 w 629"/>
                <a:gd name="T39" fmla="*/ 948 h 968"/>
                <a:gd name="T40" fmla="*/ 486 w 629"/>
                <a:gd name="T41" fmla="*/ 941 h 968"/>
                <a:gd name="T42" fmla="*/ 396 w 629"/>
                <a:gd name="T43" fmla="*/ 961 h 968"/>
                <a:gd name="T44" fmla="*/ 324 w 629"/>
                <a:gd name="T45" fmla="*/ 968 h 968"/>
                <a:gd name="T46" fmla="*/ 281 w 629"/>
                <a:gd name="T47" fmla="*/ 923 h 968"/>
                <a:gd name="T48" fmla="*/ 211 w 629"/>
                <a:gd name="T49" fmla="*/ 873 h 968"/>
                <a:gd name="T50" fmla="*/ 185 w 629"/>
                <a:gd name="T51" fmla="*/ 874 h 968"/>
                <a:gd name="T52" fmla="*/ 133 w 629"/>
                <a:gd name="T53" fmla="*/ 926 h 968"/>
                <a:gd name="T54" fmla="*/ 44 w 629"/>
                <a:gd name="T55" fmla="*/ 840 h 968"/>
                <a:gd name="T56" fmla="*/ 34 w 629"/>
                <a:gd name="T57" fmla="*/ 790 h 968"/>
                <a:gd name="T58" fmla="*/ 45 w 629"/>
                <a:gd name="T59" fmla="*/ 756 h 968"/>
                <a:gd name="T60" fmla="*/ 59 w 629"/>
                <a:gd name="T61" fmla="*/ 723 h 968"/>
                <a:gd name="T62" fmla="*/ 5 w 629"/>
                <a:gd name="T63" fmla="*/ 619 h 968"/>
                <a:gd name="T64" fmla="*/ 26 w 629"/>
                <a:gd name="T65" fmla="*/ 538 h 968"/>
                <a:gd name="T66" fmla="*/ 78 w 629"/>
                <a:gd name="T67" fmla="*/ 403 h 968"/>
                <a:gd name="T68" fmla="*/ 71 w 629"/>
                <a:gd name="T69" fmla="*/ 289 h 968"/>
                <a:gd name="T70" fmla="*/ 78 w 629"/>
                <a:gd name="T71" fmla="*/ 256 h 968"/>
                <a:gd name="T72" fmla="*/ 54 w 629"/>
                <a:gd name="T73" fmla="*/ 230 h 968"/>
                <a:gd name="T74" fmla="*/ 70 w 629"/>
                <a:gd name="T75" fmla="*/ 149 h 968"/>
                <a:gd name="T76" fmla="*/ 95 w 629"/>
                <a:gd name="T77" fmla="*/ 120 h 968"/>
                <a:gd name="T78" fmla="*/ 126 w 629"/>
                <a:gd name="T79" fmla="*/ 58 h 968"/>
                <a:gd name="T80" fmla="*/ 179 w 629"/>
                <a:gd name="T81" fmla="*/ 26 h 968"/>
                <a:gd name="T82" fmla="*/ 256 w 629"/>
                <a:gd name="T83" fmla="*/ 21 h 968"/>
                <a:gd name="T84" fmla="*/ 298 w 629"/>
                <a:gd name="T85" fmla="*/ 9 h 968"/>
                <a:gd name="T86" fmla="*/ 329 w 629"/>
                <a:gd name="T87" fmla="*/ 3 h 968"/>
                <a:gd name="T88" fmla="*/ 361 w 629"/>
                <a:gd name="T89" fmla="*/ 39 h 968"/>
                <a:gd name="T90" fmla="*/ 437 w 629"/>
                <a:gd name="T91" fmla="*/ 76 h 968"/>
                <a:gd name="T92" fmla="*/ 442 w 629"/>
                <a:gd name="T93" fmla="*/ 114 h 968"/>
                <a:gd name="T94" fmla="*/ 448 w 629"/>
                <a:gd name="T95" fmla="*/ 153 h 968"/>
                <a:gd name="T96" fmla="*/ 468 w 629"/>
                <a:gd name="T97" fmla="*/ 150 h 968"/>
                <a:gd name="T98" fmla="*/ 495 w 629"/>
                <a:gd name="T99" fmla="*/ 150 h 968"/>
                <a:gd name="T100" fmla="*/ 487 w 629"/>
                <a:gd name="T101" fmla="*/ 166 h 968"/>
                <a:gd name="T102" fmla="*/ 467 w 629"/>
                <a:gd name="T103" fmla="*/ 176 h 968"/>
                <a:gd name="T104" fmla="*/ 489 w 629"/>
                <a:gd name="T105" fmla="*/ 198 h 968"/>
                <a:gd name="T106" fmla="*/ 517 w 629"/>
                <a:gd name="T107" fmla="*/ 20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9" h="968">
                  <a:moveTo>
                    <a:pt x="519" y="688"/>
                  </a:moveTo>
                  <a:lnTo>
                    <a:pt x="514" y="683"/>
                  </a:lnTo>
                  <a:lnTo>
                    <a:pt x="513" y="675"/>
                  </a:lnTo>
                  <a:lnTo>
                    <a:pt x="514" y="668"/>
                  </a:lnTo>
                  <a:lnTo>
                    <a:pt x="518" y="663"/>
                  </a:lnTo>
                  <a:lnTo>
                    <a:pt x="524" y="660"/>
                  </a:lnTo>
                  <a:lnTo>
                    <a:pt x="530" y="663"/>
                  </a:lnTo>
                  <a:lnTo>
                    <a:pt x="537" y="668"/>
                  </a:lnTo>
                  <a:lnTo>
                    <a:pt x="540" y="674"/>
                  </a:lnTo>
                  <a:lnTo>
                    <a:pt x="542" y="684"/>
                  </a:lnTo>
                  <a:lnTo>
                    <a:pt x="538" y="689"/>
                  </a:lnTo>
                  <a:lnTo>
                    <a:pt x="529" y="691"/>
                  </a:lnTo>
                  <a:lnTo>
                    <a:pt x="519" y="688"/>
                  </a:lnTo>
                  <a:close/>
                  <a:moveTo>
                    <a:pt x="523" y="218"/>
                  </a:moveTo>
                  <a:lnTo>
                    <a:pt x="517" y="231"/>
                  </a:lnTo>
                  <a:lnTo>
                    <a:pt x="513" y="236"/>
                  </a:lnTo>
                  <a:lnTo>
                    <a:pt x="508" y="239"/>
                  </a:lnTo>
                  <a:lnTo>
                    <a:pt x="505" y="238"/>
                  </a:lnTo>
                  <a:lnTo>
                    <a:pt x="497" y="229"/>
                  </a:lnTo>
                  <a:lnTo>
                    <a:pt x="489" y="226"/>
                  </a:lnTo>
                  <a:lnTo>
                    <a:pt x="481" y="229"/>
                  </a:lnTo>
                  <a:lnTo>
                    <a:pt x="466" y="238"/>
                  </a:lnTo>
                  <a:lnTo>
                    <a:pt x="449" y="261"/>
                  </a:lnTo>
                  <a:lnTo>
                    <a:pt x="434" y="271"/>
                  </a:lnTo>
                  <a:lnTo>
                    <a:pt x="426" y="268"/>
                  </a:lnTo>
                  <a:lnTo>
                    <a:pt x="423" y="264"/>
                  </a:lnTo>
                  <a:lnTo>
                    <a:pt x="421" y="261"/>
                  </a:lnTo>
                  <a:lnTo>
                    <a:pt x="413" y="276"/>
                  </a:lnTo>
                  <a:lnTo>
                    <a:pt x="411" y="284"/>
                  </a:lnTo>
                  <a:lnTo>
                    <a:pt x="416" y="301"/>
                  </a:lnTo>
                  <a:lnTo>
                    <a:pt x="418" y="328"/>
                  </a:lnTo>
                  <a:lnTo>
                    <a:pt x="406" y="338"/>
                  </a:lnTo>
                  <a:lnTo>
                    <a:pt x="413" y="359"/>
                  </a:lnTo>
                  <a:lnTo>
                    <a:pt x="401" y="364"/>
                  </a:lnTo>
                  <a:lnTo>
                    <a:pt x="405" y="366"/>
                  </a:lnTo>
                  <a:lnTo>
                    <a:pt x="416" y="379"/>
                  </a:lnTo>
                  <a:lnTo>
                    <a:pt x="424" y="389"/>
                  </a:lnTo>
                  <a:lnTo>
                    <a:pt x="434" y="423"/>
                  </a:lnTo>
                  <a:lnTo>
                    <a:pt x="435" y="450"/>
                  </a:lnTo>
                  <a:lnTo>
                    <a:pt x="403" y="446"/>
                  </a:lnTo>
                  <a:lnTo>
                    <a:pt x="395" y="449"/>
                  </a:lnTo>
                  <a:lnTo>
                    <a:pt x="390" y="454"/>
                  </a:lnTo>
                  <a:lnTo>
                    <a:pt x="386" y="463"/>
                  </a:lnTo>
                  <a:lnTo>
                    <a:pt x="386" y="488"/>
                  </a:lnTo>
                  <a:lnTo>
                    <a:pt x="389" y="499"/>
                  </a:lnTo>
                  <a:lnTo>
                    <a:pt x="394" y="505"/>
                  </a:lnTo>
                  <a:lnTo>
                    <a:pt x="419" y="503"/>
                  </a:lnTo>
                  <a:lnTo>
                    <a:pt x="416" y="504"/>
                  </a:lnTo>
                  <a:lnTo>
                    <a:pt x="440" y="620"/>
                  </a:lnTo>
                  <a:lnTo>
                    <a:pt x="438" y="630"/>
                  </a:lnTo>
                  <a:lnTo>
                    <a:pt x="464" y="655"/>
                  </a:lnTo>
                  <a:lnTo>
                    <a:pt x="456" y="690"/>
                  </a:lnTo>
                  <a:lnTo>
                    <a:pt x="503" y="695"/>
                  </a:lnTo>
                  <a:lnTo>
                    <a:pt x="513" y="745"/>
                  </a:lnTo>
                  <a:lnTo>
                    <a:pt x="523" y="759"/>
                  </a:lnTo>
                  <a:lnTo>
                    <a:pt x="525" y="761"/>
                  </a:lnTo>
                  <a:lnTo>
                    <a:pt x="576" y="753"/>
                  </a:lnTo>
                  <a:lnTo>
                    <a:pt x="581" y="755"/>
                  </a:lnTo>
                  <a:lnTo>
                    <a:pt x="586" y="761"/>
                  </a:lnTo>
                  <a:lnTo>
                    <a:pt x="585" y="768"/>
                  </a:lnTo>
                  <a:lnTo>
                    <a:pt x="554" y="809"/>
                  </a:lnTo>
                  <a:lnTo>
                    <a:pt x="556" y="823"/>
                  </a:lnTo>
                  <a:lnTo>
                    <a:pt x="566" y="823"/>
                  </a:lnTo>
                  <a:lnTo>
                    <a:pt x="616" y="796"/>
                  </a:lnTo>
                  <a:lnTo>
                    <a:pt x="623" y="798"/>
                  </a:lnTo>
                  <a:lnTo>
                    <a:pt x="628" y="803"/>
                  </a:lnTo>
                  <a:lnTo>
                    <a:pt x="629" y="810"/>
                  </a:lnTo>
                  <a:lnTo>
                    <a:pt x="629" y="819"/>
                  </a:lnTo>
                  <a:lnTo>
                    <a:pt x="625" y="828"/>
                  </a:lnTo>
                  <a:lnTo>
                    <a:pt x="618" y="834"/>
                  </a:lnTo>
                  <a:lnTo>
                    <a:pt x="583" y="843"/>
                  </a:lnTo>
                  <a:lnTo>
                    <a:pt x="580" y="846"/>
                  </a:lnTo>
                  <a:lnTo>
                    <a:pt x="579" y="861"/>
                  </a:lnTo>
                  <a:lnTo>
                    <a:pt x="578" y="868"/>
                  </a:lnTo>
                  <a:lnTo>
                    <a:pt x="575" y="873"/>
                  </a:lnTo>
                  <a:lnTo>
                    <a:pt x="571" y="876"/>
                  </a:lnTo>
                  <a:lnTo>
                    <a:pt x="540" y="889"/>
                  </a:lnTo>
                  <a:lnTo>
                    <a:pt x="520" y="888"/>
                  </a:lnTo>
                  <a:lnTo>
                    <a:pt x="520" y="918"/>
                  </a:lnTo>
                  <a:lnTo>
                    <a:pt x="549" y="948"/>
                  </a:lnTo>
                  <a:lnTo>
                    <a:pt x="548" y="964"/>
                  </a:lnTo>
                  <a:lnTo>
                    <a:pt x="515" y="959"/>
                  </a:lnTo>
                  <a:lnTo>
                    <a:pt x="501" y="935"/>
                  </a:lnTo>
                  <a:lnTo>
                    <a:pt x="486" y="941"/>
                  </a:lnTo>
                  <a:lnTo>
                    <a:pt x="436" y="936"/>
                  </a:lnTo>
                  <a:lnTo>
                    <a:pt x="428" y="939"/>
                  </a:lnTo>
                  <a:lnTo>
                    <a:pt x="409" y="956"/>
                  </a:lnTo>
                  <a:lnTo>
                    <a:pt x="396" y="961"/>
                  </a:lnTo>
                  <a:lnTo>
                    <a:pt x="348" y="954"/>
                  </a:lnTo>
                  <a:lnTo>
                    <a:pt x="340" y="956"/>
                  </a:lnTo>
                  <a:lnTo>
                    <a:pt x="329" y="966"/>
                  </a:lnTo>
                  <a:lnTo>
                    <a:pt x="324" y="968"/>
                  </a:lnTo>
                  <a:lnTo>
                    <a:pt x="314" y="965"/>
                  </a:lnTo>
                  <a:lnTo>
                    <a:pt x="296" y="955"/>
                  </a:lnTo>
                  <a:lnTo>
                    <a:pt x="298" y="911"/>
                  </a:lnTo>
                  <a:lnTo>
                    <a:pt x="281" y="923"/>
                  </a:lnTo>
                  <a:lnTo>
                    <a:pt x="253" y="929"/>
                  </a:lnTo>
                  <a:lnTo>
                    <a:pt x="219" y="893"/>
                  </a:lnTo>
                  <a:lnTo>
                    <a:pt x="215" y="875"/>
                  </a:lnTo>
                  <a:lnTo>
                    <a:pt x="211" y="873"/>
                  </a:lnTo>
                  <a:lnTo>
                    <a:pt x="204" y="868"/>
                  </a:lnTo>
                  <a:lnTo>
                    <a:pt x="200" y="866"/>
                  </a:lnTo>
                  <a:lnTo>
                    <a:pt x="195" y="868"/>
                  </a:lnTo>
                  <a:lnTo>
                    <a:pt x="185" y="874"/>
                  </a:lnTo>
                  <a:lnTo>
                    <a:pt x="176" y="881"/>
                  </a:lnTo>
                  <a:lnTo>
                    <a:pt x="165" y="901"/>
                  </a:lnTo>
                  <a:lnTo>
                    <a:pt x="149" y="921"/>
                  </a:lnTo>
                  <a:lnTo>
                    <a:pt x="133" y="926"/>
                  </a:lnTo>
                  <a:lnTo>
                    <a:pt x="105" y="866"/>
                  </a:lnTo>
                  <a:lnTo>
                    <a:pt x="88" y="843"/>
                  </a:lnTo>
                  <a:lnTo>
                    <a:pt x="55" y="854"/>
                  </a:lnTo>
                  <a:lnTo>
                    <a:pt x="44" y="840"/>
                  </a:lnTo>
                  <a:lnTo>
                    <a:pt x="23" y="855"/>
                  </a:lnTo>
                  <a:lnTo>
                    <a:pt x="13" y="838"/>
                  </a:lnTo>
                  <a:lnTo>
                    <a:pt x="31" y="801"/>
                  </a:lnTo>
                  <a:lnTo>
                    <a:pt x="34" y="790"/>
                  </a:lnTo>
                  <a:lnTo>
                    <a:pt x="35" y="786"/>
                  </a:lnTo>
                  <a:lnTo>
                    <a:pt x="46" y="778"/>
                  </a:lnTo>
                  <a:lnTo>
                    <a:pt x="48" y="771"/>
                  </a:lnTo>
                  <a:lnTo>
                    <a:pt x="45" y="756"/>
                  </a:lnTo>
                  <a:lnTo>
                    <a:pt x="45" y="750"/>
                  </a:lnTo>
                  <a:lnTo>
                    <a:pt x="55" y="738"/>
                  </a:lnTo>
                  <a:lnTo>
                    <a:pt x="58" y="730"/>
                  </a:lnTo>
                  <a:lnTo>
                    <a:pt x="59" y="723"/>
                  </a:lnTo>
                  <a:lnTo>
                    <a:pt x="55" y="679"/>
                  </a:lnTo>
                  <a:lnTo>
                    <a:pt x="0" y="676"/>
                  </a:lnTo>
                  <a:lnTo>
                    <a:pt x="8" y="653"/>
                  </a:lnTo>
                  <a:lnTo>
                    <a:pt x="5" y="619"/>
                  </a:lnTo>
                  <a:lnTo>
                    <a:pt x="14" y="575"/>
                  </a:lnTo>
                  <a:lnTo>
                    <a:pt x="40" y="570"/>
                  </a:lnTo>
                  <a:lnTo>
                    <a:pt x="48" y="531"/>
                  </a:lnTo>
                  <a:lnTo>
                    <a:pt x="26" y="538"/>
                  </a:lnTo>
                  <a:lnTo>
                    <a:pt x="30" y="511"/>
                  </a:lnTo>
                  <a:lnTo>
                    <a:pt x="65" y="505"/>
                  </a:lnTo>
                  <a:lnTo>
                    <a:pt x="64" y="491"/>
                  </a:lnTo>
                  <a:lnTo>
                    <a:pt x="78" y="403"/>
                  </a:lnTo>
                  <a:lnTo>
                    <a:pt x="78" y="389"/>
                  </a:lnTo>
                  <a:lnTo>
                    <a:pt x="63" y="383"/>
                  </a:lnTo>
                  <a:lnTo>
                    <a:pt x="74" y="325"/>
                  </a:lnTo>
                  <a:lnTo>
                    <a:pt x="71" y="289"/>
                  </a:lnTo>
                  <a:lnTo>
                    <a:pt x="75" y="278"/>
                  </a:lnTo>
                  <a:lnTo>
                    <a:pt x="81" y="268"/>
                  </a:lnTo>
                  <a:lnTo>
                    <a:pt x="81" y="261"/>
                  </a:lnTo>
                  <a:lnTo>
                    <a:pt x="78" y="256"/>
                  </a:lnTo>
                  <a:lnTo>
                    <a:pt x="60" y="246"/>
                  </a:lnTo>
                  <a:lnTo>
                    <a:pt x="55" y="241"/>
                  </a:lnTo>
                  <a:lnTo>
                    <a:pt x="53" y="235"/>
                  </a:lnTo>
                  <a:lnTo>
                    <a:pt x="54" y="230"/>
                  </a:lnTo>
                  <a:lnTo>
                    <a:pt x="66" y="214"/>
                  </a:lnTo>
                  <a:lnTo>
                    <a:pt x="69" y="205"/>
                  </a:lnTo>
                  <a:lnTo>
                    <a:pt x="70" y="154"/>
                  </a:lnTo>
                  <a:lnTo>
                    <a:pt x="70" y="149"/>
                  </a:lnTo>
                  <a:lnTo>
                    <a:pt x="73" y="145"/>
                  </a:lnTo>
                  <a:lnTo>
                    <a:pt x="76" y="143"/>
                  </a:lnTo>
                  <a:lnTo>
                    <a:pt x="90" y="144"/>
                  </a:lnTo>
                  <a:lnTo>
                    <a:pt x="95" y="120"/>
                  </a:lnTo>
                  <a:lnTo>
                    <a:pt x="100" y="113"/>
                  </a:lnTo>
                  <a:lnTo>
                    <a:pt x="114" y="101"/>
                  </a:lnTo>
                  <a:lnTo>
                    <a:pt x="119" y="95"/>
                  </a:lnTo>
                  <a:lnTo>
                    <a:pt x="126" y="58"/>
                  </a:lnTo>
                  <a:lnTo>
                    <a:pt x="133" y="46"/>
                  </a:lnTo>
                  <a:lnTo>
                    <a:pt x="149" y="34"/>
                  </a:lnTo>
                  <a:lnTo>
                    <a:pt x="166" y="26"/>
                  </a:lnTo>
                  <a:lnTo>
                    <a:pt x="179" y="26"/>
                  </a:lnTo>
                  <a:lnTo>
                    <a:pt x="188" y="24"/>
                  </a:lnTo>
                  <a:lnTo>
                    <a:pt x="215" y="24"/>
                  </a:lnTo>
                  <a:lnTo>
                    <a:pt x="236" y="19"/>
                  </a:lnTo>
                  <a:lnTo>
                    <a:pt x="256" y="21"/>
                  </a:lnTo>
                  <a:lnTo>
                    <a:pt x="264" y="20"/>
                  </a:lnTo>
                  <a:lnTo>
                    <a:pt x="283" y="10"/>
                  </a:lnTo>
                  <a:lnTo>
                    <a:pt x="290" y="9"/>
                  </a:lnTo>
                  <a:lnTo>
                    <a:pt x="298" y="9"/>
                  </a:lnTo>
                  <a:lnTo>
                    <a:pt x="303" y="6"/>
                  </a:lnTo>
                  <a:lnTo>
                    <a:pt x="313" y="0"/>
                  </a:lnTo>
                  <a:lnTo>
                    <a:pt x="323" y="0"/>
                  </a:lnTo>
                  <a:lnTo>
                    <a:pt x="329" y="3"/>
                  </a:lnTo>
                  <a:lnTo>
                    <a:pt x="343" y="9"/>
                  </a:lnTo>
                  <a:lnTo>
                    <a:pt x="348" y="13"/>
                  </a:lnTo>
                  <a:lnTo>
                    <a:pt x="359" y="31"/>
                  </a:lnTo>
                  <a:lnTo>
                    <a:pt x="361" y="39"/>
                  </a:lnTo>
                  <a:lnTo>
                    <a:pt x="364" y="44"/>
                  </a:lnTo>
                  <a:lnTo>
                    <a:pt x="373" y="50"/>
                  </a:lnTo>
                  <a:lnTo>
                    <a:pt x="429" y="70"/>
                  </a:lnTo>
                  <a:lnTo>
                    <a:pt x="437" y="76"/>
                  </a:lnTo>
                  <a:lnTo>
                    <a:pt x="438" y="81"/>
                  </a:lnTo>
                  <a:lnTo>
                    <a:pt x="438" y="93"/>
                  </a:lnTo>
                  <a:lnTo>
                    <a:pt x="439" y="103"/>
                  </a:lnTo>
                  <a:lnTo>
                    <a:pt x="442" y="114"/>
                  </a:lnTo>
                  <a:lnTo>
                    <a:pt x="443" y="124"/>
                  </a:lnTo>
                  <a:lnTo>
                    <a:pt x="444" y="130"/>
                  </a:lnTo>
                  <a:lnTo>
                    <a:pt x="445" y="145"/>
                  </a:lnTo>
                  <a:lnTo>
                    <a:pt x="448" y="153"/>
                  </a:lnTo>
                  <a:lnTo>
                    <a:pt x="450" y="155"/>
                  </a:lnTo>
                  <a:lnTo>
                    <a:pt x="454" y="158"/>
                  </a:lnTo>
                  <a:lnTo>
                    <a:pt x="462" y="156"/>
                  </a:lnTo>
                  <a:lnTo>
                    <a:pt x="468" y="150"/>
                  </a:lnTo>
                  <a:lnTo>
                    <a:pt x="473" y="146"/>
                  </a:lnTo>
                  <a:lnTo>
                    <a:pt x="487" y="143"/>
                  </a:lnTo>
                  <a:lnTo>
                    <a:pt x="492" y="145"/>
                  </a:lnTo>
                  <a:lnTo>
                    <a:pt x="495" y="150"/>
                  </a:lnTo>
                  <a:lnTo>
                    <a:pt x="497" y="155"/>
                  </a:lnTo>
                  <a:lnTo>
                    <a:pt x="495" y="160"/>
                  </a:lnTo>
                  <a:lnTo>
                    <a:pt x="492" y="164"/>
                  </a:lnTo>
                  <a:lnTo>
                    <a:pt x="487" y="166"/>
                  </a:lnTo>
                  <a:lnTo>
                    <a:pt x="482" y="166"/>
                  </a:lnTo>
                  <a:lnTo>
                    <a:pt x="472" y="170"/>
                  </a:lnTo>
                  <a:lnTo>
                    <a:pt x="468" y="173"/>
                  </a:lnTo>
                  <a:lnTo>
                    <a:pt x="467" y="176"/>
                  </a:lnTo>
                  <a:lnTo>
                    <a:pt x="468" y="181"/>
                  </a:lnTo>
                  <a:lnTo>
                    <a:pt x="472" y="185"/>
                  </a:lnTo>
                  <a:lnTo>
                    <a:pt x="482" y="195"/>
                  </a:lnTo>
                  <a:lnTo>
                    <a:pt x="489" y="198"/>
                  </a:lnTo>
                  <a:lnTo>
                    <a:pt x="503" y="199"/>
                  </a:lnTo>
                  <a:lnTo>
                    <a:pt x="509" y="200"/>
                  </a:lnTo>
                  <a:lnTo>
                    <a:pt x="514" y="204"/>
                  </a:lnTo>
                  <a:lnTo>
                    <a:pt x="517" y="208"/>
                  </a:lnTo>
                  <a:lnTo>
                    <a:pt x="523" y="218"/>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54" name="Pontevedra" descr="{&quot;Key&quot;:&quot;pontevedra&quot;,&quot;Name&quot;:&quot;Pontevedra&quot;,&quot;Value&quot;:1.0,&quot;Formula&quot;:&quot;&quot;,&quot;Text&quot;:&quot;1&quot;,&quot;HasValue&quot;:true}">
              <a:extLst>
                <a:ext uri="{FF2B5EF4-FFF2-40B4-BE49-F238E27FC236}">
                  <a16:creationId xmlns:a16="http://schemas.microsoft.com/office/drawing/2014/main" id="{31732DC9-20C8-5069-DF9D-8B1BE9C9B891}"/>
                </a:ext>
              </a:extLst>
            </p:cNvPr>
            <p:cNvSpPr>
              <a:spLocks/>
            </p:cNvSpPr>
            <p:nvPr/>
          </p:nvSpPr>
          <p:spPr bwMode="auto">
            <a:xfrm>
              <a:off x="1296872" y="2424388"/>
              <a:ext cx="409448" cy="500120"/>
            </a:xfrm>
            <a:custGeom>
              <a:avLst/>
              <a:gdLst>
                <a:gd name="T0" fmla="*/ 534 w 595"/>
                <a:gd name="T1" fmla="*/ 54 h 724"/>
                <a:gd name="T2" fmla="*/ 595 w 595"/>
                <a:gd name="T3" fmla="*/ 105 h 724"/>
                <a:gd name="T4" fmla="*/ 582 w 595"/>
                <a:gd name="T5" fmla="*/ 164 h 724"/>
                <a:gd name="T6" fmla="*/ 526 w 595"/>
                <a:gd name="T7" fmla="*/ 214 h 724"/>
                <a:gd name="T8" fmla="*/ 442 w 595"/>
                <a:gd name="T9" fmla="*/ 230 h 724"/>
                <a:gd name="T10" fmla="*/ 355 w 595"/>
                <a:gd name="T11" fmla="*/ 274 h 724"/>
                <a:gd name="T12" fmla="*/ 338 w 595"/>
                <a:gd name="T13" fmla="*/ 331 h 724"/>
                <a:gd name="T14" fmla="*/ 346 w 595"/>
                <a:gd name="T15" fmla="*/ 371 h 724"/>
                <a:gd name="T16" fmla="*/ 370 w 595"/>
                <a:gd name="T17" fmla="*/ 433 h 724"/>
                <a:gd name="T18" fmla="*/ 391 w 595"/>
                <a:gd name="T19" fmla="*/ 468 h 724"/>
                <a:gd name="T20" fmla="*/ 399 w 595"/>
                <a:gd name="T21" fmla="*/ 526 h 724"/>
                <a:gd name="T22" fmla="*/ 359 w 595"/>
                <a:gd name="T23" fmla="*/ 544 h 724"/>
                <a:gd name="T24" fmla="*/ 245 w 595"/>
                <a:gd name="T25" fmla="*/ 579 h 724"/>
                <a:gd name="T26" fmla="*/ 185 w 595"/>
                <a:gd name="T27" fmla="*/ 601 h 724"/>
                <a:gd name="T28" fmla="*/ 155 w 595"/>
                <a:gd name="T29" fmla="*/ 634 h 724"/>
                <a:gd name="T30" fmla="*/ 113 w 595"/>
                <a:gd name="T31" fmla="*/ 660 h 724"/>
                <a:gd name="T32" fmla="*/ 81 w 595"/>
                <a:gd name="T33" fmla="*/ 696 h 724"/>
                <a:gd name="T34" fmla="*/ 43 w 595"/>
                <a:gd name="T35" fmla="*/ 724 h 724"/>
                <a:gd name="T36" fmla="*/ 26 w 595"/>
                <a:gd name="T37" fmla="*/ 552 h 724"/>
                <a:gd name="T38" fmla="*/ 69 w 595"/>
                <a:gd name="T39" fmla="*/ 536 h 724"/>
                <a:gd name="T40" fmla="*/ 55 w 595"/>
                <a:gd name="T41" fmla="*/ 517 h 724"/>
                <a:gd name="T42" fmla="*/ 84 w 595"/>
                <a:gd name="T43" fmla="*/ 488 h 724"/>
                <a:gd name="T44" fmla="*/ 151 w 595"/>
                <a:gd name="T45" fmla="*/ 431 h 724"/>
                <a:gd name="T46" fmla="*/ 178 w 595"/>
                <a:gd name="T47" fmla="*/ 409 h 724"/>
                <a:gd name="T48" fmla="*/ 163 w 595"/>
                <a:gd name="T49" fmla="*/ 390 h 724"/>
                <a:gd name="T50" fmla="*/ 124 w 595"/>
                <a:gd name="T51" fmla="*/ 426 h 724"/>
                <a:gd name="T52" fmla="*/ 53 w 595"/>
                <a:gd name="T53" fmla="*/ 446 h 724"/>
                <a:gd name="T54" fmla="*/ 49 w 595"/>
                <a:gd name="T55" fmla="*/ 412 h 724"/>
                <a:gd name="T56" fmla="*/ 64 w 595"/>
                <a:gd name="T57" fmla="*/ 395 h 724"/>
                <a:gd name="T58" fmla="*/ 91 w 595"/>
                <a:gd name="T59" fmla="*/ 386 h 724"/>
                <a:gd name="T60" fmla="*/ 129 w 595"/>
                <a:gd name="T61" fmla="*/ 341 h 724"/>
                <a:gd name="T62" fmla="*/ 154 w 595"/>
                <a:gd name="T63" fmla="*/ 313 h 724"/>
                <a:gd name="T64" fmla="*/ 124 w 595"/>
                <a:gd name="T65" fmla="*/ 320 h 724"/>
                <a:gd name="T66" fmla="*/ 73 w 595"/>
                <a:gd name="T67" fmla="*/ 341 h 724"/>
                <a:gd name="T68" fmla="*/ 35 w 595"/>
                <a:gd name="T69" fmla="*/ 308 h 724"/>
                <a:gd name="T70" fmla="*/ 0 w 595"/>
                <a:gd name="T71" fmla="*/ 289 h 724"/>
                <a:gd name="T72" fmla="*/ 34 w 595"/>
                <a:gd name="T73" fmla="*/ 269 h 724"/>
                <a:gd name="T74" fmla="*/ 38 w 595"/>
                <a:gd name="T75" fmla="*/ 289 h 724"/>
                <a:gd name="T76" fmla="*/ 64 w 595"/>
                <a:gd name="T77" fmla="*/ 295 h 724"/>
                <a:gd name="T78" fmla="*/ 71 w 595"/>
                <a:gd name="T79" fmla="*/ 264 h 724"/>
                <a:gd name="T80" fmla="*/ 71 w 595"/>
                <a:gd name="T81" fmla="*/ 205 h 724"/>
                <a:gd name="T82" fmla="*/ 113 w 595"/>
                <a:gd name="T83" fmla="*/ 141 h 724"/>
                <a:gd name="T84" fmla="*/ 185 w 595"/>
                <a:gd name="T85" fmla="*/ 102 h 724"/>
                <a:gd name="T86" fmla="*/ 203 w 595"/>
                <a:gd name="T87" fmla="*/ 81 h 724"/>
                <a:gd name="T88" fmla="*/ 275 w 595"/>
                <a:gd name="T89" fmla="*/ 82 h 724"/>
                <a:gd name="T90" fmla="*/ 333 w 595"/>
                <a:gd name="T91" fmla="*/ 52 h 724"/>
                <a:gd name="T92" fmla="*/ 334 w 595"/>
                <a:gd name="T93" fmla="*/ 16 h 724"/>
                <a:gd name="T94" fmla="*/ 344 w 595"/>
                <a:gd name="T95" fmla="*/ 5 h 724"/>
                <a:gd name="T96" fmla="*/ 357 w 595"/>
                <a:gd name="T97" fmla="*/ 24 h 724"/>
                <a:gd name="T98" fmla="*/ 400 w 595"/>
                <a:gd name="T99" fmla="*/ 17 h 724"/>
                <a:gd name="T100" fmla="*/ 426 w 595"/>
                <a:gd name="T101"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5" h="724">
                  <a:moveTo>
                    <a:pt x="523" y="3"/>
                  </a:moveTo>
                  <a:lnTo>
                    <a:pt x="543" y="8"/>
                  </a:lnTo>
                  <a:lnTo>
                    <a:pt x="533" y="44"/>
                  </a:lnTo>
                  <a:lnTo>
                    <a:pt x="534" y="54"/>
                  </a:lnTo>
                  <a:lnTo>
                    <a:pt x="560" y="85"/>
                  </a:lnTo>
                  <a:lnTo>
                    <a:pt x="572" y="92"/>
                  </a:lnTo>
                  <a:lnTo>
                    <a:pt x="589" y="99"/>
                  </a:lnTo>
                  <a:lnTo>
                    <a:pt x="595" y="105"/>
                  </a:lnTo>
                  <a:lnTo>
                    <a:pt x="595" y="116"/>
                  </a:lnTo>
                  <a:lnTo>
                    <a:pt x="585" y="131"/>
                  </a:lnTo>
                  <a:lnTo>
                    <a:pt x="583" y="140"/>
                  </a:lnTo>
                  <a:lnTo>
                    <a:pt x="582" y="164"/>
                  </a:lnTo>
                  <a:lnTo>
                    <a:pt x="561" y="208"/>
                  </a:lnTo>
                  <a:lnTo>
                    <a:pt x="545" y="215"/>
                  </a:lnTo>
                  <a:lnTo>
                    <a:pt x="531" y="212"/>
                  </a:lnTo>
                  <a:lnTo>
                    <a:pt x="526" y="214"/>
                  </a:lnTo>
                  <a:lnTo>
                    <a:pt x="515" y="232"/>
                  </a:lnTo>
                  <a:lnTo>
                    <a:pt x="513" y="235"/>
                  </a:lnTo>
                  <a:lnTo>
                    <a:pt x="485" y="227"/>
                  </a:lnTo>
                  <a:lnTo>
                    <a:pt x="442" y="230"/>
                  </a:lnTo>
                  <a:lnTo>
                    <a:pt x="427" y="212"/>
                  </a:lnTo>
                  <a:lnTo>
                    <a:pt x="404" y="236"/>
                  </a:lnTo>
                  <a:lnTo>
                    <a:pt x="384" y="243"/>
                  </a:lnTo>
                  <a:lnTo>
                    <a:pt x="355" y="274"/>
                  </a:lnTo>
                  <a:lnTo>
                    <a:pt x="334" y="273"/>
                  </a:lnTo>
                  <a:lnTo>
                    <a:pt x="335" y="278"/>
                  </a:lnTo>
                  <a:lnTo>
                    <a:pt x="333" y="318"/>
                  </a:lnTo>
                  <a:lnTo>
                    <a:pt x="338" y="331"/>
                  </a:lnTo>
                  <a:lnTo>
                    <a:pt x="346" y="350"/>
                  </a:lnTo>
                  <a:lnTo>
                    <a:pt x="346" y="354"/>
                  </a:lnTo>
                  <a:lnTo>
                    <a:pt x="345" y="366"/>
                  </a:lnTo>
                  <a:lnTo>
                    <a:pt x="346" y="371"/>
                  </a:lnTo>
                  <a:lnTo>
                    <a:pt x="364" y="399"/>
                  </a:lnTo>
                  <a:lnTo>
                    <a:pt x="369" y="403"/>
                  </a:lnTo>
                  <a:lnTo>
                    <a:pt x="378" y="405"/>
                  </a:lnTo>
                  <a:lnTo>
                    <a:pt x="370" y="433"/>
                  </a:lnTo>
                  <a:lnTo>
                    <a:pt x="370" y="441"/>
                  </a:lnTo>
                  <a:lnTo>
                    <a:pt x="374" y="449"/>
                  </a:lnTo>
                  <a:lnTo>
                    <a:pt x="386" y="464"/>
                  </a:lnTo>
                  <a:lnTo>
                    <a:pt x="391" y="468"/>
                  </a:lnTo>
                  <a:lnTo>
                    <a:pt x="431" y="458"/>
                  </a:lnTo>
                  <a:lnTo>
                    <a:pt x="423" y="484"/>
                  </a:lnTo>
                  <a:lnTo>
                    <a:pt x="421" y="511"/>
                  </a:lnTo>
                  <a:lnTo>
                    <a:pt x="399" y="526"/>
                  </a:lnTo>
                  <a:lnTo>
                    <a:pt x="383" y="538"/>
                  </a:lnTo>
                  <a:lnTo>
                    <a:pt x="373" y="543"/>
                  </a:lnTo>
                  <a:lnTo>
                    <a:pt x="363" y="543"/>
                  </a:lnTo>
                  <a:lnTo>
                    <a:pt x="359" y="544"/>
                  </a:lnTo>
                  <a:lnTo>
                    <a:pt x="354" y="548"/>
                  </a:lnTo>
                  <a:lnTo>
                    <a:pt x="340" y="560"/>
                  </a:lnTo>
                  <a:lnTo>
                    <a:pt x="330" y="565"/>
                  </a:lnTo>
                  <a:lnTo>
                    <a:pt x="245" y="579"/>
                  </a:lnTo>
                  <a:lnTo>
                    <a:pt x="234" y="583"/>
                  </a:lnTo>
                  <a:lnTo>
                    <a:pt x="215" y="596"/>
                  </a:lnTo>
                  <a:lnTo>
                    <a:pt x="205" y="600"/>
                  </a:lnTo>
                  <a:lnTo>
                    <a:pt x="185" y="601"/>
                  </a:lnTo>
                  <a:lnTo>
                    <a:pt x="175" y="603"/>
                  </a:lnTo>
                  <a:lnTo>
                    <a:pt x="165" y="610"/>
                  </a:lnTo>
                  <a:lnTo>
                    <a:pt x="160" y="617"/>
                  </a:lnTo>
                  <a:lnTo>
                    <a:pt x="155" y="634"/>
                  </a:lnTo>
                  <a:lnTo>
                    <a:pt x="150" y="641"/>
                  </a:lnTo>
                  <a:lnTo>
                    <a:pt x="139" y="649"/>
                  </a:lnTo>
                  <a:lnTo>
                    <a:pt x="125" y="652"/>
                  </a:lnTo>
                  <a:lnTo>
                    <a:pt x="113" y="660"/>
                  </a:lnTo>
                  <a:lnTo>
                    <a:pt x="106" y="664"/>
                  </a:lnTo>
                  <a:lnTo>
                    <a:pt x="100" y="676"/>
                  </a:lnTo>
                  <a:lnTo>
                    <a:pt x="91" y="687"/>
                  </a:lnTo>
                  <a:lnTo>
                    <a:pt x="81" y="696"/>
                  </a:lnTo>
                  <a:lnTo>
                    <a:pt x="70" y="700"/>
                  </a:lnTo>
                  <a:lnTo>
                    <a:pt x="61" y="705"/>
                  </a:lnTo>
                  <a:lnTo>
                    <a:pt x="51" y="716"/>
                  </a:lnTo>
                  <a:lnTo>
                    <a:pt x="43" y="724"/>
                  </a:lnTo>
                  <a:lnTo>
                    <a:pt x="34" y="720"/>
                  </a:lnTo>
                  <a:lnTo>
                    <a:pt x="35" y="710"/>
                  </a:lnTo>
                  <a:lnTo>
                    <a:pt x="24" y="565"/>
                  </a:lnTo>
                  <a:lnTo>
                    <a:pt x="26" y="552"/>
                  </a:lnTo>
                  <a:lnTo>
                    <a:pt x="33" y="546"/>
                  </a:lnTo>
                  <a:lnTo>
                    <a:pt x="54" y="546"/>
                  </a:lnTo>
                  <a:lnTo>
                    <a:pt x="64" y="544"/>
                  </a:lnTo>
                  <a:lnTo>
                    <a:pt x="69" y="536"/>
                  </a:lnTo>
                  <a:lnTo>
                    <a:pt x="66" y="530"/>
                  </a:lnTo>
                  <a:lnTo>
                    <a:pt x="55" y="525"/>
                  </a:lnTo>
                  <a:lnTo>
                    <a:pt x="53" y="521"/>
                  </a:lnTo>
                  <a:lnTo>
                    <a:pt x="55" y="517"/>
                  </a:lnTo>
                  <a:lnTo>
                    <a:pt x="70" y="510"/>
                  </a:lnTo>
                  <a:lnTo>
                    <a:pt x="73" y="500"/>
                  </a:lnTo>
                  <a:lnTo>
                    <a:pt x="76" y="494"/>
                  </a:lnTo>
                  <a:lnTo>
                    <a:pt x="84" y="488"/>
                  </a:lnTo>
                  <a:lnTo>
                    <a:pt x="95" y="475"/>
                  </a:lnTo>
                  <a:lnTo>
                    <a:pt x="124" y="453"/>
                  </a:lnTo>
                  <a:lnTo>
                    <a:pt x="134" y="447"/>
                  </a:lnTo>
                  <a:lnTo>
                    <a:pt x="151" y="431"/>
                  </a:lnTo>
                  <a:lnTo>
                    <a:pt x="161" y="426"/>
                  </a:lnTo>
                  <a:lnTo>
                    <a:pt x="173" y="419"/>
                  </a:lnTo>
                  <a:lnTo>
                    <a:pt x="176" y="415"/>
                  </a:lnTo>
                  <a:lnTo>
                    <a:pt x="178" y="409"/>
                  </a:lnTo>
                  <a:lnTo>
                    <a:pt x="178" y="386"/>
                  </a:lnTo>
                  <a:lnTo>
                    <a:pt x="178" y="381"/>
                  </a:lnTo>
                  <a:lnTo>
                    <a:pt x="170" y="381"/>
                  </a:lnTo>
                  <a:lnTo>
                    <a:pt x="163" y="390"/>
                  </a:lnTo>
                  <a:lnTo>
                    <a:pt x="156" y="404"/>
                  </a:lnTo>
                  <a:lnTo>
                    <a:pt x="149" y="417"/>
                  </a:lnTo>
                  <a:lnTo>
                    <a:pt x="135" y="422"/>
                  </a:lnTo>
                  <a:lnTo>
                    <a:pt x="124" y="426"/>
                  </a:lnTo>
                  <a:lnTo>
                    <a:pt x="94" y="440"/>
                  </a:lnTo>
                  <a:lnTo>
                    <a:pt x="88" y="446"/>
                  </a:lnTo>
                  <a:lnTo>
                    <a:pt x="81" y="447"/>
                  </a:lnTo>
                  <a:lnTo>
                    <a:pt x="53" y="446"/>
                  </a:lnTo>
                  <a:lnTo>
                    <a:pt x="41" y="449"/>
                  </a:lnTo>
                  <a:lnTo>
                    <a:pt x="44" y="440"/>
                  </a:lnTo>
                  <a:lnTo>
                    <a:pt x="49" y="422"/>
                  </a:lnTo>
                  <a:lnTo>
                    <a:pt x="49" y="412"/>
                  </a:lnTo>
                  <a:lnTo>
                    <a:pt x="53" y="412"/>
                  </a:lnTo>
                  <a:lnTo>
                    <a:pt x="60" y="425"/>
                  </a:lnTo>
                  <a:lnTo>
                    <a:pt x="64" y="419"/>
                  </a:lnTo>
                  <a:lnTo>
                    <a:pt x="64" y="395"/>
                  </a:lnTo>
                  <a:lnTo>
                    <a:pt x="61" y="385"/>
                  </a:lnTo>
                  <a:lnTo>
                    <a:pt x="64" y="384"/>
                  </a:lnTo>
                  <a:lnTo>
                    <a:pt x="71" y="381"/>
                  </a:lnTo>
                  <a:lnTo>
                    <a:pt x="91" y="386"/>
                  </a:lnTo>
                  <a:lnTo>
                    <a:pt x="95" y="385"/>
                  </a:lnTo>
                  <a:lnTo>
                    <a:pt x="99" y="375"/>
                  </a:lnTo>
                  <a:lnTo>
                    <a:pt x="120" y="350"/>
                  </a:lnTo>
                  <a:lnTo>
                    <a:pt x="129" y="341"/>
                  </a:lnTo>
                  <a:lnTo>
                    <a:pt x="148" y="329"/>
                  </a:lnTo>
                  <a:lnTo>
                    <a:pt x="155" y="321"/>
                  </a:lnTo>
                  <a:lnTo>
                    <a:pt x="159" y="310"/>
                  </a:lnTo>
                  <a:lnTo>
                    <a:pt x="154" y="313"/>
                  </a:lnTo>
                  <a:lnTo>
                    <a:pt x="150" y="313"/>
                  </a:lnTo>
                  <a:lnTo>
                    <a:pt x="144" y="310"/>
                  </a:lnTo>
                  <a:lnTo>
                    <a:pt x="139" y="311"/>
                  </a:lnTo>
                  <a:lnTo>
                    <a:pt x="124" y="320"/>
                  </a:lnTo>
                  <a:lnTo>
                    <a:pt x="110" y="331"/>
                  </a:lnTo>
                  <a:lnTo>
                    <a:pt x="103" y="336"/>
                  </a:lnTo>
                  <a:lnTo>
                    <a:pt x="90" y="339"/>
                  </a:lnTo>
                  <a:lnTo>
                    <a:pt x="73" y="341"/>
                  </a:lnTo>
                  <a:lnTo>
                    <a:pt x="55" y="339"/>
                  </a:lnTo>
                  <a:lnTo>
                    <a:pt x="42" y="330"/>
                  </a:lnTo>
                  <a:lnTo>
                    <a:pt x="38" y="321"/>
                  </a:lnTo>
                  <a:lnTo>
                    <a:pt x="35" y="308"/>
                  </a:lnTo>
                  <a:lnTo>
                    <a:pt x="30" y="300"/>
                  </a:lnTo>
                  <a:lnTo>
                    <a:pt x="23" y="295"/>
                  </a:lnTo>
                  <a:lnTo>
                    <a:pt x="4" y="293"/>
                  </a:lnTo>
                  <a:lnTo>
                    <a:pt x="0" y="289"/>
                  </a:lnTo>
                  <a:lnTo>
                    <a:pt x="4" y="283"/>
                  </a:lnTo>
                  <a:lnTo>
                    <a:pt x="14" y="275"/>
                  </a:lnTo>
                  <a:lnTo>
                    <a:pt x="27" y="271"/>
                  </a:lnTo>
                  <a:lnTo>
                    <a:pt x="34" y="269"/>
                  </a:lnTo>
                  <a:lnTo>
                    <a:pt x="40" y="271"/>
                  </a:lnTo>
                  <a:lnTo>
                    <a:pt x="45" y="278"/>
                  </a:lnTo>
                  <a:lnTo>
                    <a:pt x="45" y="285"/>
                  </a:lnTo>
                  <a:lnTo>
                    <a:pt x="38" y="289"/>
                  </a:lnTo>
                  <a:lnTo>
                    <a:pt x="43" y="293"/>
                  </a:lnTo>
                  <a:lnTo>
                    <a:pt x="50" y="296"/>
                  </a:lnTo>
                  <a:lnTo>
                    <a:pt x="59" y="297"/>
                  </a:lnTo>
                  <a:lnTo>
                    <a:pt x="64" y="295"/>
                  </a:lnTo>
                  <a:lnTo>
                    <a:pt x="66" y="287"/>
                  </a:lnTo>
                  <a:lnTo>
                    <a:pt x="65" y="277"/>
                  </a:lnTo>
                  <a:lnTo>
                    <a:pt x="65" y="270"/>
                  </a:lnTo>
                  <a:lnTo>
                    <a:pt x="71" y="264"/>
                  </a:lnTo>
                  <a:lnTo>
                    <a:pt x="65" y="238"/>
                  </a:lnTo>
                  <a:lnTo>
                    <a:pt x="64" y="225"/>
                  </a:lnTo>
                  <a:lnTo>
                    <a:pt x="66" y="214"/>
                  </a:lnTo>
                  <a:lnTo>
                    <a:pt x="71" y="205"/>
                  </a:lnTo>
                  <a:lnTo>
                    <a:pt x="78" y="199"/>
                  </a:lnTo>
                  <a:lnTo>
                    <a:pt x="85" y="196"/>
                  </a:lnTo>
                  <a:lnTo>
                    <a:pt x="93" y="187"/>
                  </a:lnTo>
                  <a:lnTo>
                    <a:pt x="113" y="141"/>
                  </a:lnTo>
                  <a:lnTo>
                    <a:pt x="118" y="124"/>
                  </a:lnTo>
                  <a:lnTo>
                    <a:pt x="125" y="110"/>
                  </a:lnTo>
                  <a:lnTo>
                    <a:pt x="165" y="96"/>
                  </a:lnTo>
                  <a:lnTo>
                    <a:pt x="185" y="102"/>
                  </a:lnTo>
                  <a:lnTo>
                    <a:pt x="188" y="101"/>
                  </a:lnTo>
                  <a:lnTo>
                    <a:pt x="190" y="91"/>
                  </a:lnTo>
                  <a:lnTo>
                    <a:pt x="193" y="86"/>
                  </a:lnTo>
                  <a:lnTo>
                    <a:pt x="203" y="81"/>
                  </a:lnTo>
                  <a:lnTo>
                    <a:pt x="244" y="72"/>
                  </a:lnTo>
                  <a:lnTo>
                    <a:pt x="260" y="82"/>
                  </a:lnTo>
                  <a:lnTo>
                    <a:pt x="269" y="84"/>
                  </a:lnTo>
                  <a:lnTo>
                    <a:pt x="275" y="82"/>
                  </a:lnTo>
                  <a:lnTo>
                    <a:pt x="289" y="72"/>
                  </a:lnTo>
                  <a:lnTo>
                    <a:pt x="305" y="47"/>
                  </a:lnTo>
                  <a:lnTo>
                    <a:pt x="326" y="55"/>
                  </a:lnTo>
                  <a:lnTo>
                    <a:pt x="333" y="52"/>
                  </a:lnTo>
                  <a:lnTo>
                    <a:pt x="336" y="46"/>
                  </a:lnTo>
                  <a:lnTo>
                    <a:pt x="338" y="39"/>
                  </a:lnTo>
                  <a:lnTo>
                    <a:pt x="338" y="30"/>
                  </a:lnTo>
                  <a:lnTo>
                    <a:pt x="334" y="16"/>
                  </a:lnTo>
                  <a:lnTo>
                    <a:pt x="334" y="12"/>
                  </a:lnTo>
                  <a:lnTo>
                    <a:pt x="336" y="7"/>
                  </a:lnTo>
                  <a:lnTo>
                    <a:pt x="340" y="5"/>
                  </a:lnTo>
                  <a:lnTo>
                    <a:pt x="344" y="5"/>
                  </a:lnTo>
                  <a:lnTo>
                    <a:pt x="348" y="6"/>
                  </a:lnTo>
                  <a:lnTo>
                    <a:pt x="352" y="12"/>
                  </a:lnTo>
                  <a:lnTo>
                    <a:pt x="354" y="19"/>
                  </a:lnTo>
                  <a:lnTo>
                    <a:pt x="357" y="24"/>
                  </a:lnTo>
                  <a:lnTo>
                    <a:pt x="361" y="25"/>
                  </a:lnTo>
                  <a:lnTo>
                    <a:pt x="378" y="14"/>
                  </a:lnTo>
                  <a:lnTo>
                    <a:pt x="383" y="12"/>
                  </a:lnTo>
                  <a:lnTo>
                    <a:pt x="400" y="17"/>
                  </a:lnTo>
                  <a:lnTo>
                    <a:pt x="406" y="16"/>
                  </a:lnTo>
                  <a:lnTo>
                    <a:pt x="409" y="14"/>
                  </a:lnTo>
                  <a:lnTo>
                    <a:pt x="416" y="4"/>
                  </a:lnTo>
                  <a:lnTo>
                    <a:pt x="426" y="0"/>
                  </a:lnTo>
                  <a:lnTo>
                    <a:pt x="495" y="14"/>
                  </a:lnTo>
                  <a:lnTo>
                    <a:pt x="504" y="12"/>
                  </a:lnTo>
                  <a:lnTo>
                    <a:pt x="523" y="3"/>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55" name="Salamanca" descr="{&quot;Key&quot;:&quot;salamanca&quot;,&quot;Name&quot;:&quot;Salamanca&quot;,&quot;Value&quot;:1.0,&quot;Formula&quot;:&quot;&quot;,&quot;Text&quot;:&quot;1&quot;,&quot;HasValue&quot;:true}">
              <a:extLst>
                <a:ext uri="{FF2B5EF4-FFF2-40B4-BE49-F238E27FC236}">
                  <a16:creationId xmlns:a16="http://schemas.microsoft.com/office/drawing/2014/main" id="{FDF60CFC-A1EB-3212-C570-E9CF44F3EE1A}"/>
                </a:ext>
              </a:extLst>
            </p:cNvPr>
            <p:cNvSpPr>
              <a:spLocks/>
            </p:cNvSpPr>
            <p:nvPr/>
          </p:nvSpPr>
          <p:spPr bwMode="auto">
            <a:xfrm>
              <a:off x="2060512" y="3224864"/>
              <a:ext cx="706970" cy="535540"/>
            </a:xfrm>
            <a:custGeom>
              <a:avLst/>
              <a:gdLst>
                <a:gd name="T0" fmla="*/ 949 w 1024"/>
                <a:gd name="T1" fmla="*/ 93 h 775"/>
                <a:gd name="T2" fmla="*/ 1008 w 1024"/>
                <a:gd name="T3" fmla="*/ 126 h 775"/>
                <a:gd name="T4" fmla="*/ 1000 w 1024"/>
                <a:gd name="T5" fmla="*/ 192 h 775"/>
                <a:gd name="T6" fmla="*/ 1024 w 1024"/>
                <a:gd name="T7" fmla="*/ 221 h 775"/>
                <a:gd name="T8" fmla="*/ 986 w 1024"/>
                <a:gd name="T9" fmla="*/ 320 h 775"/>
                <a:gd name="T10" fmla="*/ 941 w 1024"/>
                <a:gd name="T11" fmla="*/ 413 h 775"/>
                <a:gd name="T12" fmla="*/ 793 w 1024"/>
                <a:gd name="T13" fmla="*/ 528 h 775"/>
                <a:gd name="T14" fmla="*/ 818 w 1024"/>
                <a:gd name="T15" fmla="*/ 612 h 775"/>
                <a:gd name="T16" fmla="*/ 780 w 1024"/>
                <a:gd name="T17" fmla="*/ 648 h 775"/>
                <a:gd name="T18" fmla="*/ 749 w 1024"/>
                <a:gd name="T19" fmla="*/ 608 h 775"/>
                <a:gd name="T20" fmla="*/ 700 w 1024"/>
                <a:gd name="T21" fmla="*/ 672 h 775"/>
                <a:gd name="T22" fmla="*/ 654 w 1024"/>
                <a:gd name="T23" fmla="*/ 746 h 775"/>
                <a:gd name="T24" fmla="*/ 644 w 1024"/>
                <a:gd name="T25" fmla="*/ 723 h 775"/>
                <a:gd name="T26" fmla="*/ 626 w 1024"/>
                <a:gd name="T27" fmla="*/ 705 h 775"/>
                <a:gd name="T28" fmla="*/ 583 w 1024"/>
                <a:gd name="T29" fmla="*/ 737 h 775"/>
                <a:gd name="T30" fmla="*/ 549 w 1024"/>
                <a:gd name="T31" fmla="*/ 742 h 775"/>
                <a:gd name="T32" fmla="*/ 497 w 1024"/>
                <a:gd name="T33" fmla="*/ 707 h 775"/>
                <a:gd name="T34" fmla="*/ 474 w 1024"/>
                <a:gd name="T35" fmla="*/ 687 h 775"/>
                <a:gd name="T36" fmla="*/ 484 w 1024"/>
                <a:gd name="T37" fmla="*/ 662 h 775"/>
                <a:gd name="T38" fmla="*/ 456 w 1024"/>
                <a:gd name="T39" fmla="*/ 637 h 775"/>
                <a:gd name="T40" fmla="*/ 407 w 1024"/>
                <a:gd name="T41" fmla="*/ 605 h 775"/>
                <a:gd name="T42" fmla="*/ 360 w 1024"/>
                <a:gd name="T43" fmla="*/ 625 h 775"/>
                <a:gd name="T44" fmla="*/ 326 w 1024"/>
                <a:gd name="T45" fmla="*/ 645 h 775"/>
                <a:gd name="T46" fmla="*/ 289 w 1024"/>
                <a:gd name="T47" fmla="*/ 667 h 775"/>
                <a:gd name="T48" fmla="*/ 236 w 1024"/>
                <a:gd name="T49" fmla="*/ 696 h 775"/>
                <a:gd name="T50" fmla="*/ 215 w 1024"/>
                <a:gd name="T51" fmla="*/ 740 h 775"/>
                <a:gd name="T52" fmla="*/ 159 w 1024"/>
                <a:gd name="T53" fmla="*/ 762 h 775"/>
                <a:gd name="T54" fmla="*/ 125 w 1024"/>
                <a:gd name="T55" fmla="*/ 765 h 775"/>
                <a:gd name="T56" fmla="*/ 83 w 1024"/>
                <a:gd name="T57" fmla="*/ 772 h 775"/>
                <a:gd name="T58" fmla="*/ 54 w 1024"/>
                <a:gd name="T59" fmla="*/ 767 h 775"/>
                <a:gd name="T60" fmla="*/ 44 w 1024"/>
                <a:gd name="T61" fmla="*/ 733 h 775"/>
                <a:gd name="T62" fmla="*/ 50 w 1024"/>
                <a:gd name="T63" fmla="*/ 655 h 775"/>
                <a:gd name="T64" fmla="*/ 69 w 1024"/>
                <a:gd name="T65" fmla="*/ 566 h 775"/>
                <a:gd name="T66" fmla="*/ 54 w 1024"/>
                <a:gd name="T67" fmla="*/ 517 h 775"/>
                <a:gd name="T68" fmla="*/ 65 w 1024"/>
                <a:gd name="T69" fmla="*/ 435 h 775"/>
                <a:gd name="T70" fmla="*/ 60 w 1024"/>
                <a:gd name="T71" fmla="*/ 371 h 775"/>
                <a:gd name="T72" fmla="*/ 68 w 1024"/>
                <a:gd name="T73" fmla="*/ 318 h 775"/>
                <a:gd name="T74" fmla="*/ 31 w 1024"/>
                <a:gd name="T75" fmla="*/ 260 h 775"/>
                <a:gd name="T76" fmla="*/ 6 w 1024"/>
                <a:gd name="T77" fmla="*/ 201 h 775"/>
                <a:gd name="T78" fmla="*/ 76 w 1024"/>
                <a:gd name="T79" fmla="*/ 176 h 775"/>
                <a:gd name="T80" fmla="*/ 111 w 1024"/>
                <a:gd name="T81" fmla="*/ 96 h 775"/>
                <a:gd name="T82" fmla="*/ 164 w 1024"/>
                <a:gd name="T83" fmla="*/ 26 h 775"/>
                <a:gd name="T84" fmla="*/ 255 w 1024"/>
                <a:gd name="T85" fmla="*/ 0 h 775"/>
                <a:gd name="T86" fmla="*/ 505 w 1024"/>
                <a:gd name="T87" fmla="*/ 75 h 775"/>
                <a:gd name="T88" fmla="*/ 508 w 1024"/>
                <a:gd name="T89" fmla="*/ 101 h 775"/>
                <a:gd name="T90" fmla="*/ 535 w 1024"/>
                <a:gd name="T91" fmla="*/ 102 h 775"/>
                <a:gd name="T92" fmla="*/ 566 w 1024"/>
                <a:gd name="T93" fmla="*/ 111 h 775"/>
                <a:gd name="T94" fmla="*/ 568 w 1024"/>
                <a:gd name="T95" fmla="*/ 60 h 775"/>
                <a:gd name="T96" fmla="*/ 704 w 1024"/>
                <a:gd name="T97" fmla="*/ 42 h 775"/>
                <a:gd name="T98" fmla="*/ 801 w 1024"/>
                <a:gd name="T99" fmla="*/ 92 h 775"/>
                <a:gd name="T100" fmla="*/ 879 w 1024"/>
                <a:gd name="T101" fmla="*/ 120 h 775"/>
                <a:gd name="T102" fmla="*/ 910 w 1024"/>
                <a:gd name="T103" fmla="*/ 135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4" h="775">
                  <a:moveTo>
                    <a:pt x="916" y="88"/>
                  </a:moveTo>
                  <a:lnTo>
                    <a:pt x="931" y="78"/>
                  </a:lnTo>
                  <a:lnTo>
                    <a:pt x="936" y="78"/>
                  </a:lnTo>
                  <a:lnTo>
                    <a:pt x="941" y="81"/>
                  </a:lnTo>
                  <a:lnTo>
                    <a:pt x="949" y="93"/>
                  </a:lnTo>
                  <a:lnTo>
                    <a:pt x="953" y="97"/>
                  </a:lnTo>
                  <a:lnTo>
                    <a:pt x="960" y="100"/>
                  </a:lnTo>
                  <a:lnTo>
                    <a:pt x="973" y="98"/>
                  </a:lnTo>
                  <a:lnTo>
                    <a:pt x="980" y="101"/>
                  </a:lnTo>
                  <a:lnTo>
                    <a:pt x="1008" y="126"/>
                  </a:lnTo>
                  <a:lnTo>
                    <a:pt x="996" y="148"/>
                  </a:lnTo>
                  <a:lnTo>
                    <a:pt x="993" y="161"/>
                  </a:lnTo>
                  <a:lnTo>
                    <a:pt x="995" y="186"/>
                  </a:lnTo>
                  <a:lnTo>
                    <a:pt x="996" y="190"/>
                  </a:lnTo>
                  <a:lnTo>
                    <a:pt x="1000" y="192"/>
                  </a:lnTo>
                  <a:lnTo>
                    <a:pt x="1011" y="195"/>
                  </a:lnTo>
                  <a:lnTo>
                    <a:pt x="1015" y="197"/>
                  </a:lnTo>
                  <a:lnTo>
                    <a:pt x="1019" y="202"/>
                  </a:lnTo>
                  <a:lnTo>
                    <a:pt x="1021" y="208"/>
                  </a:lnTo>
                  <a:lnTo>
                    <a:pt x="1024" y="221"/>
                  </a:lnTo>
                  <a:lnTo>
                    <a:pt x="1023" y="233"/>
                  </a:lnTo>
                  <a:lnTo>
                    <a:pt x="1019" y="242"/>
                  </a:lnTo>
                  <a:lnTo>
                    <a:pt x="1006" y="256"/>
                  </a:lnTo>
                  <a:lnTo>
                    <a:pt x="1015" y="286"/>
                  </a:lnTo>
                  <a:lnTo>
                    <a:pt x="986" y="320"/>
                  </a:lnTo>
                  <a:lnTo>
                    <a:pt x="989" y="347"/>
                  </a:lnTo>
                  <a:lnTo>
                    <a:pt x="988" y="356"/>
                  </a:lnTo>
                  <a:lnTo>
                    <a:pt x="978" y="375"/>
                  </a:lnTo>
                  <a:lnTo>
                    <a:pt x="956" y="390"/>
                  </a:lnTo>
                  <a:lnTo>
                    <a:pt x="941" y="413"/>
                  </a:lnTo>
                  <a:lnTo>
                    <a:pt x="875" y="461"/>
                  </a:lnTo>
                  <a:lnTo>
                    <a:pt x="863" y="501"/>
                  </a:lnTo>
                  <a:lnTo>
                    <a:pt x="848" y="516"/>
                  </a:lnTo>
                  <a:lnTo>
                    <a:pt x="829" y="526"/>
                  </a:lnTo>
                  <a:lnTo>
                    <a:pt x="793" y="528"/>
                  </a:lnTo>
                  <a:lnTo>
                    <a:pt x="790" y="528"/>
                  </a:lnTo>
                  <a:lnTo>
                    <a:pt x="793" y="553"/>
                  </a:lnTo>
                  <a:lnTo>
                    <a:pt x="835" y="553"/>
                  </a:lnTo>
                  <a:lnTo>
                    <a:pt x="821" y="603"/>
                  </a:lnTo>
                  <a:lnTo>
                    <a:pt x="818" y="612"/>
                  </a:lnTo>
                  <a:lnTo>
                    <a:pt x="811" y="618"/>
                  </a:lnTo>
                  <a:lnTo>
                    <a:pt x="791" y="621"/>
                  </a:lnTo>
                  <a:lnTo>
                    <a:pt x="795" y="641"/>
                  </a:lnTo>
                  <a:lnTo>
                    <a:pt x="789" y="647"/>
                  </a:lnTo>
                  <a:lnTo>
                    <a:pt x="780" y="648"/>
                  </a:lnTo>
                  <a:lnTo>
                    <a:pt x="773" y="642"/>
                  </a:lnTo>
                  <a:lnTo>
                    <a:pt x="759" y="627"/>
                  </a:lnTo>
                  <a:lnTo>
                    <a:pt x="758" y="613"/>
                  </a:lnTo>
                  <a:lnTo>
                    <a:pt x="755" y="608"/>
                  </a:lnTo>
                  <a:lnTo>
                    <a:pt x="749" y="608"/>
                  </a:lnTo>
                  <a:lnTo>
                    <a:pt x="735" y="612"/>
                  </a:lnTo>
                  <a:lnTo>
                    <a:pt x="695" y="643"/>
                  </a:lnTo>
                  <a:lnTo>
                    <a:pt x="691" y="651"/>
                  </a:lnTo>
                  <a:lnTo>
                    <a:pt x="693" y="658"/>
                  </a:lnTo>
                  <a:lnTo>
                    <a:pt x="700" y="672"/>
                  </a:lnTo>
                  <a:lnTo>
                    <a:pt x="703" y="682"/>
                  </a:lnTo>
                  <a:lnTo>
                    <a:pt x="703" y="692"/>
                  </a:lnTo>
                  <a:lnTo>
                    <a:pt x="700" y="700"/>
                  </a:lnTo>
                  <a:lnTo>
                    <a:pt x="674" y="738"/>
                  </a:lnTo>
                  <a:lnTo>
                    <a:pt x="654" y="746"/>
                  </a:lnTo>
                  <a:lnTo>
                    <a:pt x="643" y="745"/>
                  </a:lnTo>
                  <a:lnTo>
                    <a:pt x="639" y="741"/>
                  </a:lnTo>
                  <a:lnTo>
                    <a:pt x="638" y="737"/>
                  </a:lnTo>
                  <a:lnTo>
                    <a:pt x="643" y="728"/>
                  </a:lnTo>
                  <a:lnTo>
                    <a:pt x="644" y="723"/>
                  </a:lnTo>
                  <a:lnTo>
                    <a:pt x="644" y="717"/>
                  </a:lnTo>
                  <a:lnTo>
                    <a:pt x="641" y="712"/>
                  </a:lnTo>
                  <a:lnTo>
                    <a:pt x="636" y="705"/>
                  </a:lnTo>
                  <a:lnTo>
                    <a:pt x="631" y="703"/>
                  </a:lnTo>
                  <a:lnTo>
                    <a:pt x="626" y="705"/>
                  </a:lnTo>
                  <a:lnTo>
                    <a:pt x="614" y="711"/>
                  </a:lnTo>
                  <a:lnTo>
                    <a:pt x="596" y="716"/>
                  </a:lnTo>
                  <a:lnTo>
                    <a:pt x="588" y="722"/>
                  </a:lnTo>
                  <a:lnTo>
                    <a:pt x="585" y="726"/>
                  </a:lnTo>
                  <a:lnTo>
                    <a:pt x="583" y="737"/>
                  </a:lnTo>
                  <a:lnTo>
                    <a:pt x="580" y="742"/>
                  </a:lnTo>
                  <a:lnTo>
                    <a:pt x="576" y="746"/>
                  </a:lnTo>
                  <a:lnTo>
                    <a:pt x="571" y="748"/>
                  </a:lnTo>
                  <a:lnTo>
                    <a:pt x="564" y="748"/>
                  </a:lnTo>
                  <a:lnTo>
                    <a:pt x="549" y="742"/>
                  </a:lnTo>
                  <a:lnTo>
                    <a:pt x="529" y="732"/>
                  </a:lnTo>
                  <a:lnTo>
                    <a:pt x="521" y="726"/>
                  </a:lnTo>
                  <a:lnTo>
                    <a:pt x="517" y="721"/>
                  </a:lnTo>
                  <a:lnTo>
                    <a:pt x="510" y="715"/>
                  </a:lnTo>
                  <a:lnTo>
                    <a:pt x="497" y="707"/>
                  </a:lnTo>
                  <a:lnTo>
                    <a:pt x="477" y="700"/>
                  </a:lnTo>
                  <a:lnTo>
                    <a:pt x="470" y="696"/>
                  </a:lnTo>
                  <a:lnTo>
                    <a:pt x="469" y="692"/>
                  </a:lnTo>
                  <a:lnTo>
                    <a:pt x="472" y="690"/>
                  </a:lnTo>
                  <a:lnTo>
                    <a:pt x="474" y="687"/>
                  </a:lnTo>
                  <a:lnTo>
                    <a:pt x="476" y="678"/>
                  </a:lnTo>
                  <a:lnTo>
                    <a:pt x="480" y="673"/>
                  </a:lnTo>
                  <a:lnTo>
                    <a:pt x="481" y="670"/>
                  </a:lnTo>
                  <a:lnTo>
                    <a:pt x="484" y="665"/>
                  </a:lnTo>
                  <a:lnTo>
                    <a:pt x="484" y="662"/>
                  </a:lnTo>
                  <a:lnTo>
                    <a:pt x="481" y="658"/>
                  </a:lnTo>
                  <a:lnTo>
                    <a:pt x="469" y="655"/>
                  </a:lnTo>
                  <a:lnTo>
                    <a:pt x="462" y="651"/>
                  </a:lnTo>
                  <a:lnTo>
                    <a:pt x="457" y="646"/>
                  </a:lnTo>
                  <a:lnTo>
                    <a:pt x="456" y="637"/>
                  </a:lnTo>
                  <a:lnTo>
                    <a:pt x="446" y="635"/>
                  </a:lnTo>
                  <a:lnTo>
                    <a:pt x="441" y="632"/>
                  </a:lnTo>
                  <a:lnTo>
                    <a:pt x="432" y="622"/>
                  </a:lnTo>
                  <a:lnTo>
                    <a:pt x="426" y="617"/>
                  </a:lnTo>
                  <a:lnTo>
                    <a:pt x="407" y="605"/>
                  </a:lnTo>
                  <a:lnTo>
                    <a:pt x="397" y="603"/>
                  </a:lnTo>
                  <a:lnTo>
                    <a:pt x="391" y="603"/>
                  </a:lnTo>
                  <a:lnTo>
                    <a:pt x="386" y="607"/>
                  </a:lnTo>
                  <a:lnTo>
                    <a:pt x="367" y="621"/>
                  </a:lnTo>
                  <a:lnTo>
                    <a:pt x="360" y="625"/>
                  </a:lnTo>
                  <a:lnTo>
                    <a:pt x="352" y="626"/>
                  </a:lnTo>
                  <a:lnTo>
                    <a:pt x="342" y="628"/>
                  </a:lnTo>
                  <a:lnTo>
                    <a:pt x="337" y="631"/>
                  </a:lnTo>
                  <a:lnTo>
                    <a:pt x="329" y="640"/>
                  </a:lnTo>
                  <a:lnTo>
                    <a:pt x="326" y="645"/>
                  </a:lnTo>
                  <a:lnTo>
                    <a:pt x="321" y="655"/>
                  </a:lnTo>
                  <a:lnTo>
                    <a:pt x="316" y="658"/>
                  </a:lnTo>
                  <a:lnTo>
                    <a:pt x="299" y="661"/>
                  </a:lnTo>
                  <a:lnTo>
                    <a:pt x="294" y="663"/>
                  </a:lnTo>
                  <a:lnTo>
                    <a:pt x="289" y="667"/>
                  </a:lnTo>
                  <a:lnTo>
                    <a:pt x="278" y="680"/>
                  </a:lnTo>
                  <a:lnTo>
                    <a:pt x="256" y="687"/>
                  </a:lnTo>
                  <a:lnTo>
                    <a:pt x="253" y="690"/>
                  </a:lnTo>
                  <a:lnTo>
                    <a:pt x="241" y="693"/>
                  </a:lnTo>
                  <a:lnTo>
                    <a:pt x="236" y="696"/>
                  </a:lnTo>
                  <a:lnTo>
                    <a:pt x="219" y="710"/>
                  </a:lnTo>
                  <a:lnTo>
                    <a:pt x="213" y="718"/>
                  </a:lnTo>
                  <a:lnTo>
                    <a:pt x="213" y="723"/>
                  </a:lnTo>
                  <a:lnTo>
                    <a:pt x="216" y="733"/>
                  </a:lnTo>
                  <a:lnTo>
                    <a:pt x="215" y="740"/>
                  </a:lnTo>
                  <a:lnTo>
                    <a:pt x="214" y="743"/>
                  </a:lnTo>
                  <a:lnTo>
                    <a:pt x="210" y="748"/>
                  </a:lnTo>
                  <a:lnTo>
                    <a:pt x="206" y="752"/>
                  </a:lnTo>
                  <a:lnTo>
                    <a:pt x="198" y="755"/>
                  </a:lnTo>
                  <a:lnTo>
                    <a:pt x="159" y="762"/>
                  </a:lnTo>
                  <a:lnTo>
                    <a:pt x="151" y="765"/>
                  </a:lnTo>
                  <a:lnTo>
                    <a:pt x="146" y="768"/>
                  </a:lnTo>
                  <a:lnTo>
                    <a:pt x="140" y="771"/>
                  </a:lnTo>
                  <a:lnTo>
                    <a:pt x="135" y="771"/>
                  </a:lnTo>
                  <a:lnTo>
                    <a:pt x="125" y="765"/>
                  </a:lnTo>
                  <a:lnTo>
                    <a:pt x="120" y="765"/>
                  </a:lnTo>
                  <a:lnTo>
                    <a:pt x="101" y="775"/>
                  </a:lnTo>
                  <a:lnTo>
                    <a:pt x="91" y="773"/>
                  </a:lnTo>
                  <a:lnTo>
                    <a:pt x="88" y="772"/>
                  </a:lnTo>
                  <a:lnTo>
                    <a:pt x="83" y="772"/>
                  </a:lnTo>
                  <a:lnTo>
                    <a:pt x="76" y="775"/>
                  </a:lnTo>
                  <a:lnTo>
                    <a:pt x="71" y="775"/>
                  </a:lnTo>
                  <a:lnTo>
                    <a:pt x="65" y="773"/>
                  </a:lnTo>
                  <a:lnTo>
                    <a:pt x="60" y="771"/>
                  </a:lnTo>
                  <a:lnTo>
                    <a:pt x="54" y="767"/>
                  </a:lnTo>
                  <a:lnTo>
                    <a:pt x="44" y="755"/>
                  </a:lnTo>
                  <a:lnTo>
                    <a:pt x="38" y="750"/>
                  </a:lnTo>
                  <a:lnTo>
                    <a:pt x="38" y="743"/>
                  </a:lnTo>
                  <a:lnTo>
                    <a:pt x="40" y="738"/>
                  </a:lnTo>
                  <a:lnTo>
                    <a:pt x="44" y="733"/>
                  </a:lnTo>
                  <a:lnTo>
                    <a:pt x="68" y="716"/>
                  </a:lnTo>
                  <a:lnTo>
                    <a:pt x="73" y="711"/>
                  </a:lnTo>
                  <a:lnTo>
                    <a:pt x="81" y="693"/>
                  </a:lnTo>
                  <a:lnTo>
                    <a:pt x="64" y="676"/>
                  </a:lnTo>
                  <a:lnTo>
                    <a:pt x="50" y="655"/>
                  </a:lnTo>
                  <a:lnTo>
                    <a:pt x="48" y="631"/>
                  </a:lnTo>
                  <a:lnTo>
                    <a:pt x="58" y="606"/>
                  </a:lnTo>
                  <a:lnTo>
                    <a:pt x="70" y="587"/>
                  </a:lnTo>
                  <a:lnTo>
                    <a:pt x="71" y="578"/>
                  </a:lnTo>
                  <a:lnTo>
                    <a:pt x="69" y="566"/>
                  </a:lnTo>
                  <a:lnTo>
                    <a:pt x="63" y="556"/>
                  </a:lnTo>
                  <a:lnTo>
                    <a:pt x="56" y="548"/>
                  </a:lnTo>
                  <a:lnTo>
                    <a:pt x="53" y="542"/>
                  </a:lnTo>
                  <a:lnTo>
                    <a:pt x="51" y="528"/>
                  </a:lnTo>
                  <a:lnTo>
                    <a:pt x="54" y="517"/>
                  </a:lnTo>
                  <a:lnTo>
                    <a:pt x="68" y="493"/>
                  </a:lnTo>
                  <a:lnTo>
                    <a:pt x="71" y="481"/>
                  </a:lnTo>
                  <a:lnTo>
                    <a:pt x="71" y="472"/>
                  </a:lnTo>
                  <a:lnTo>
                    <a:pt x="70" y="460"/>
                  </a:lnTo>
                  <a:lnTo>
                    <a:pt x="65" y="435"/>
                  </a:lnTo>
                  <a:lnTo>
                    <a:pt x="59" y="411"/>
                  </a:lnTo>
                  <a:lnTo>
                    <a:pt x="58" y="401"/>
                  </a:lnTo>
                  <a:lnTo>
                    <a:pt x="58" y="386"/>
                  </a:lnTo>
                  <a:lnTo>
                    <a:pt x="58" y="380"/>
                  </a:lnTo>
                  <a:lnTo>
                    <a:pt x="60" y="371"/>
                  </a:lnTo>
                  <a:lnTo>
                    <a:pt x="58" y="358"/>
                  </a:lnTo>
                  <a:lnTo>
                    <a:pt x="59" y="340"/>
                  </a:lnTo>
                  <a:lnTo>
                    <a:pt x="68" y="337"/>
                  </a:lnTo>
                  <a:lnTo>
                    <a:pt x="70" y="328"/>
                  </a:lnTo>
                  <a:lnTo>
                    <a:pt x="68" y="318"/>
                  </a:lnTo>
                  <a:lnTo>
                    <a:pt x="61" y="313"/>
                  </a:lnTo>
                  <a:lnTo>
                    <a:pt x="53" y="312"/>
                  </a:lnTo>
                  <a:lnTo>
                    <a:pt x="49" y="306"/>
                  </a:lnTo>
                  <a:lnTo>
                    <a:pt x="44" y="290"/>
                  </a:lnTo>
                  <a:lnTo>
                    <a:pt x="31" y="260"/>
                  </a:lnTo>
                  <a:lnTo>
                    <a:pt x="24" y="247"/>
                  </a:lnTo>
                  <a:lnTo>
                    <a:pt x="6" y="228"/>
                  </a:lnTo>
                  <a:lnTo>
                    <a:pt x="1" y="220"/>
                  </a:lnTo>
                  <a:lnTo>
                    <a:pt x="0" y="211"/>
                  </a:lnTo>
                  <a:lnTo>
                    <a:pt x="6" y="201"/>
                  </a:lnTo>
                  <a:lnTo>
                    <a:pt x="8" y="187"/>
                  </a:lnTo>
                  <a:lnTo>
                    <a:pt x="20" y="181"/>
                  </a:lnTo>
                  <a:lnTo>
                    <a:pt x="54" y="185"/>
                  </a:lnTo>
                  <a:lnTo>
                    <a:pt x="69" y="183"/>
                  </a:lnTo>
                  <a:lnTo>
                    <a:pt x="76" y="176"/>
                  </a:lnTo>
                  <a:lnTo>
                    <a:pt x="99" y="142"/>
                  </a:lnTo>
                  <a:lnTo>
                    <a:pt x="103" y="130"/>
                  </a:lnTo>
                  <a:lnTo>
                    <a:pt x="101" y="111"/>
                  </a:lnTo>
                  <a:lnTo>
                    <a:pt x="104" y="106"/>
                  </a:lnTo>
                  <a:lnTo>
                    <a:pt x="111" y="96"/>
                  </a:lnTo>
                  <a:lnTo>
                    <a:pt x="130" y="80"/>
                  </a:lnTo>
                  <a:lnTo>
                    <a:pt x="134" y="73"/>
                  </a:lnTo>
                  <a:lnTo>
                    <a:pt x="138" y="62"/>
                  </a:lnTo>
                  <a:lnTo>
                    <a:pt x="158" y="32"/>
                  </a:lnTo>
                  <a:lnTo>
                    <a:pt x="164" y="26"/>
                  </a:lnTo>
                  <a:lnTo>
                    <a:pt x="174" y="23"/>
                  </a:lnTo>
                  <a:lnTo>
                    <a:pt x="210" y="23"/>
                  </a:lnTo>
                  <a:lnTo>
                    <a:pt x="215" y="20"/>
                  </a:lnTo>
                  <a:lnTo>
                    <a:pt x="248" y="6"/>
                  </a:lnTo>
                  <a:lnTo>
                    <a:pt x="255" y="0"/>
                  </a:lnTo>
                  <a:lnTo>
                    <a:pt x="344" y="16"/>
                  </a:lnTo>
                  <a:lnTo>
                    <a:pt x="451" y="77"/>
                  </a:lnTo>
                  <a:lnTo>
                    <a:pt x="461" y="66"/>
                  </a:lnTo>
                  <a:lnTo>
                    <a:pt x="491" y="70"/>
                  </a:lnTo>
                  <a:lnTo>
                    <a:pt x="505" y="75"/>
                  </a:lnTo>
                  <a:lnTo>
                    <a:pt x="508" y="78"/>
                  </a:lnTo>
                  <a:lnTo>
                    <a:pt x="510" y="83"/>
                  </a:lnTo>
                  <a:lnTo>
                    <a:pt x="510" y="88"/>
                  </a:lnTo>
                  <a:lnTo>
                    <a:pt x="506" y="98"/>
                  </a:lnTo>
                  <a:lnTo>
                    <a:pt x="508" y="101"/>
                  </a:lnTo>
                  <a:lnTo>
                    <a:pt x="518" y="111"/>
                  </a:lnTo>
                  <a:lnTo>
                    <a:pt x="523" y="113"/>
                  </a:lnTo>
                  <a:lnTo>
                    <a:pt x="526" y="112"/>
                  </a:lnTo>
                  <a:lnTo>
                    <a:pt x="533" y="103"/>
                  </a:lnTo>
                  <a:lnTo>
                    <a:pt x="535" y="102"/>
                  </a:lnTo>
                  <a:lnTo>
                    <a:pt x="539" y="102"/>
                  </a:lnTo>
                  <a:lnTo>
                    <a:pt x="545" y="116"/>
                  </a:lnTo>
                  <a:lnTo>
                    <a:pt x="551" y="118"/>
                  </a:lnTo>
                  <a:lnTo>
                    <a:pt x="560" y="117"/>
                  </a:lnTo>
                  <a:lnTo>
                    <a:pt x="566" y="111"/>
                  </a:lnTo>
                  <a:lnTo>
                    <a:pt x="570" y="103"/>
                  </a:lnTo>
                  <a:lnTo>
                    <a:pt x="570" y="98"/>
                  </a:lnTo>
                  <a:lnTo>
                    <a:pt x="568" y="90"/>
                  </a:lnTo>
                  <a:lnTo>
                    <a:pt x="566" y="72"/>
                  </a:lnTo>
                  <a:lnTo>
                    <a:pt x="568" y="60"/>
                  </a:lnTo>
                  <a:lnTo>
                    <a:pt x="574" y="51"/>
                  </a:lnTo>
                  <a:lnTo>
                    <a:pt x="584" y="50"/>
                  </a:lnTo>
                  <a:lnTo>
                    <a:pt x="628" y="63"/>
                  </a:lnTo>
                  <a:lnTo>
                    <a:pt x="683" y="55"/>
                  </a:lnTo>
                  <a:lnTo>
                    <a:pt x="704" y="42"/>
                  </a:lnTo>
                  <a:lnTo>
                    <a:pt x="710" y="43"/>
                  </a:lnTo>
                  <a:lnTo>
                    <a:pt x="728" y="63"/>
                  </a:lnTo>
                  <a:lnTo>
                    <a:pt x="738" y="68"/>
                  </a:lnTo>
                  <a:lnTo>
                    <a:pt x="773" y="71"/>
                  </a:lnTo>
                  <a:lnTo>
                    <a:pt x="801" y="92"/>
                  </a:lnTo>
                  <a:lnTo>
                    <a:pt x="851" y="86"/>
                  </a:lnTo>
                  <a:lnTo>
                    <a:pt x="854" y="113"/>
                  </a:lnTo>
                  <a:lnTo>
                    <a:pt x="856" y="115"/>
                  </a:lnTo>
                  <a:lnTo>
                    <a:pt x="875" y="117"/>
                  </a:lnTo>
                  <a:lnTo>
                    <a:pt x="879" y="120"/>
                  </a:lnTo>
                  <a:lnTo>
                    <a:pt x="890" y="133"/>
                  </a:lnTo>
                  <a:lnTo>
                    <a:pt x="894" y="136"/>
                  </a:lnTo>
                  <a:lnTo>
                    <a:pt x="899" y="137"/>
                  </a:lnTo>
                  <a:lnTo>
                    <a:pt x="905" y="137"/>
                  </a:lnTo>
                  <a:lnTo>
                    <a:pt x="910" y="135"/>
                  </a:lnTo>
                  <a:lnTo>
                    <a:pt x="912" y="131"/>
                  </a:lnTo>
                  <a:lnTo>
                    <a:pt x="914" y="126"/>
                  </a:lnTo>
                  <a:lnTo>
                    <a:pt x="916" y="88"/>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56" name="Segovia" descr="{&quot;Key&quot;:&quot;segovia&quot;,&quot;Name&quot;:&quot;Segovia&quot;,&quot;Value&quot;:1.0,&quot;Formula&quot;:&quot;&quot;,&quot;Text&quot;:&quot;1&quot;,&quot;HasValue&quot;:true}">
              <a:extLst>
                <a:ext uri="{FF2B5EF4-FFF2-40B4-BE49-F238E27FC236}">
                  <a16:creationId xmlns:a16="http://schemas.microsoft.com/office/drawing/2014/main" id="{7F10E4A1-7BAD-A7F7-5668-C852DCB8D988}"/>
                </a:ext>
              </a:extLst>
            </p:cNvPr>
            <p:cNvSpPr>
              <a:spLocks/>
            </p:cNvSpPr>
            <p:nvPr/>
          </p:nvSpPr>
          <p:spPr bwMode="auto">
            <a:xfrm>
              <a:off x="2913409" y="3081770"/>
              <a:ext cx="579460" cy="483119"/>
            </a:xfrm>
            <a:custGeom>
              <a:avLst/>
              <a:gdLst>
                <a:gd name="T0" fmla="*/ 655 w 840"/>
                <a:gd name="T1" fmla="*/ 27 h 699"/>
                <a:gd name="T2" fmla="*/ 688 w 840"/>
                <a:gd name="T3" fmla="*/ 44 h 699"/>
                <a:gd name="T4" fmla="*/ 707 w 840"/>
                <a:gd name="T5" fmla="*/ 44 h 699"/>
                <a:gd name="T6" fmla="*/ 716 w 840"/>
                <a:gd name="T7" fmla="*/ 70 h 699"/>
                <a:gd name="T8" fmla="*/ 758 w 840"/>
                <a:gd name="T9" fmla="*/ 90 h 699"/>
                <a:gd name="T10" fmla="*/ 759 w 840"/>
                <a:gd name="T11" fmla="*/ 132 h 699"/>
                <a:gd name="T12" fmla="*/ 840 w 840"/>
                <a:gd name="T13" fmla="*/ 209 h 699"/>
                <a:gd name="T14" fmla="*/ 795 w 840"/>
                <a:gd name="T15" fmla="*/ 235 h 699"/>
                <a:gd name="T16" fmla="*/ 734 w 840"/>
                <a:gd name="T17" fmla="*/ 243 h 699"/>
                <a:gd name="T18" fmla="*/ 725 w 840"/>
                <a:gd name="T19" fmla="*/ 252 h 699"/>
                <a:gd name="T20" fmla="*/ 723 w 840"/>
                <a:gd name="T21" fmla="*/ 274 h 699"/>
                <a:gd name="T22" fmla="*/ 663 w 840"/>
                <a:gd name="T23" fmla="*/ 312 h 699"/>
                <a:gd name="T24" fmla="*/ 623 w 840"/>
                <a:gd name="T25" fmla="*/ 318 h 699"/>
                <a:gd name="T26" fmla="*/ 591 w 840"/>
                <a:gd name="T27" fmla="*/ 344 h 699"/>
                <a:gd name="T28" fmla="*/ 546 w 840"/>
                <a:gd name="T29" fmla="*/ 385 h 699"/>
                <a:gd name="T30" fmla="*/ 528 w 840"/>
                <a:gd name="T31" fmla="*/ 410 h 699"/>
                <a:gd name="T32" fmla="*/ 504 w 840"/>
                <a:gd name="T33" fmla="*/ 440 h 699"/>
                <a:gd name="T34" fmla="*/ 445 w 840"/>
                <a:gd name="T35" fmla="*/ 468 h 699"/>
                <a:gd name="T36" fmla="*/ 425 w 840"/>
                <a:gd name="T37" fmla="*/ 498 h 699"/>
                <a:gd name="T38" fmla="*/ 424 w 840"/>
                <a:gd name="T39" fmla="*/ 524 h 699"/>
                <a:gd name="T40" fmla="*/ 415 w 840"/>
                <a:gd name="T41" fmla="*/ 548 h 699"/>
                <a:gd name="T42" fmla="*/ 410 w 840"/>
                <a:gd name="T43" fmla="*/ 575 h 699"/>
                <a:gd name="T44" fmla="*/ 385 w 840"/>
                <a:gd name="T45" fmla="*/ 593 h 699"/>
                <a:gd name="T46" fmla="*/ 370 w 840"/>
                <a:gd name="T47" fmla="*/ 589 h 699"/>
                <a:gd name="T48" fmla="*/ 346 w 840"/>
                <a:gd name="T49" fmla="*/ 600 h 699"/>
                <a:gd name="T50" fmla="*/ 306 w 840"/>
                <a:gd name="T51" fmla="*/ 660 h 699"/>
                <a:gd name="T52" fmla="*/ 251 w 840"/>
                <a:gd name="T53" fmla="*/ 652 h 699"/>
                <a:gd name="T54" fmla="*/ 220 w 840"/>
                <a:gd name="T55" fmla="*/ 664 h 699"/>
                <a:gd name="T56" fmla="*/ 164 w 840"/>
                <a:gd name="T57" fmla="*/ 699 h 699"/>
                <a:gd name="T58" fmla="*/ 133 w 840"/>
                <a:gd name="T59" fmla="*/ 590 h 699"/>
                <a:gd name="T60" fmla="*/ 126 w 840"/>
                <a:gd name="T61" fmla="*/ 560 h 699"/>
                <a:gd name="T62" fmla="*/ 93 w 840"/>
                <a:gd name="T63" fmla="*/ 560 h 699"/>
                <a:gd name="T64" fmla="*/ 93 w 840"/>
                <a:gd name="T65" fmla="*/ 532 h 699"/>
                <a:gd name="T66" fmla="*/ 84 w 840"/>
                <a:gd name="T67" fmla="*/ 470 h 699"/>
                <a:gd name="T68" fmla="*/ 69 w 840"/>
                <a:gd name="T69" fmla="*/ 459 h 699"/>
                <a:gd name="T70" fmla="*/ 46 w 840"/>
                <a:gd name="T71" fmla="*/ 419 h 699"/>
                <a:gd name="T72" fmla="*/ 0 w 840"/>
                <a:gd name="T73" fmla="*/ 364 h 699"/>
                <a:gd name="T74" fmla="*/ 35 w 840"/>
                <a:gd name="T75" fmla="*/ 268 h 699"/>
                <a:gd name="T76" fmla="*/ 65 w 840"/>
                <a:gd name="T77" fmla="*/ 194 h 699"/>
                <a:gd name="T78" fmla="*/ 135 w 840"/>
                <a:gd name="T79" fmla="*/ 217 h 699"/>
                <a:gd name="T80" fmla="*/ 122 w 840"/>
                <a:gd name="T81" fmla="*/ 184 h 699"/>
                <a:gd name="T82" fmla="*/ 110 w 840"/>
                <a:gd name="T83" fmla="*/ 129 h 699"/>
                <a:gd name="T84" fmla="*/ 194 w 840"/>
                <a:gd name="T85" fmla="*/ 107 h 699"/>
                <a:gd name="T86" fmla="*/ 304 w 840"/>
                <a:gd name="T87" fmla="*/ 79 h 699"/>
                <a:gd name="T88" fmla="*/ 396 w 840"/>
                <a:gd name="T89" fmla="*/ 42 h 699"/>
                <a:gd name="T90" fmla="*/ 457 w 840"/>
                <a:gd name="T91" fmla="*/ 27 h 699"/>
                <a:gd name="T92" fmla="*/ 515 w 840"/>
                <a:gd name="T93" fmla="*/ 60 h 699"/>
                <a:gd name="T94" fmla="*/ 546 w 840"/>
                <a:gd name="T95" fmla="*/ 58 h 699"/>
                <a:gd name="T96" fmla="*/ 564 w 840"/>
                <a:gd name="T97" fmla="*/ 39 h 699"/>
                <a:gd name="T98" fmla="*/ 577 w 840"/>
                <a:gd name="T99" fmla="*/ 18 h 699"/>
                <a:gd name="T100" fmla="*/ 632 w 840"/>
                <a:gd name="T101" fmla="*/ 13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0" h="699">
                  <a:moveTo>
                    <a:pt x="650" y="4"/>
                  </a:moveTo>
                  <a:lnTo>
                    <a:pt x="653" y="20"/>
                  </a:lnTo>
                  <a:lnTo>
                    <a:pt x="655" y="27"/>
                  </a:lnTo>
                  <a:lnTo>
                    <a:pt x="660" y="32"/>
                  </a:lnTo>
                  <a:lnTo>
                    <a:pt x="683" y="45"/>
                  </a:lnTo>
                  <a:lnTo>
                    <a:pt x="688" y="44"/>
                  </a:lnTo>
                  <a:lnTo>
                    <a:pt x="698" y="39"/>
                  </a:lnTo>
                  <a:lnTo>
                    <a:pt x="701" y="40"/>
                  </a:lnTo>
                  <a:lnTo>
                    <a:pt x="707" y="44"/>
                  </a:lnTo>
                  <a:lnTo>
                    <a:pt x="714" y="49"/>
                  </a:lnTo>
                  <a:lnTo>
                    <a:pt x="715" y="53"/>
                  </a:lnTo>
                  <a:lnTo>
                    <a:pt x="716" y="70"/>
                  </a:lnTo>
                  <a:lnTo>
                    <a:pt x="720" y="77"/>
                  </a:lnTo>
                  <a:lnTo>
                    <a:pt x="739" y="88"/>
                  </a:lnTo>
                  <a:lnTo>
                    <a:pt x="758" y="90"/>
                  </a:lnTo>
                  <a:lnTo>
                    <a:pt x="761" y="94"/>
                  </a:lnTo>
                  <a:lnTo>
                    <a:pt x="764" y="100"/>
                  </a:lnTo>
                  <a:lnTo>
                    <a:pt x="759" y="132"/>
                  </a:lnTo>
                  <a:lnTo>
                    <a:pt x="760" y="145"/>
                  </a:lnTo>
                  <a:lnTo>
                    <a:pt x="766" y="153"/>
                  </a:lnTo>
                  <a:lnTo>
                    <a:pt x="840" y="209"/>
                  </a:lnTo>
                  <a:lnTo>
                    <a:pt x="829" y="215"/>
                  </a:lnTo>
                  <a:lnTo>
                    <a:pt x="813" y="234"/>
                  </a:lnTo>
                  <a:lnTo>
                    <a:pt x="795" y="235"/>
                  </a:lnTo>
                  <a:lnTo>
                    <a:pt x="789" y="239"/>
                  </a:lnTo>
                  <a:lnTo>
                    <a:pt x="763" y="244"/>
                  </a:lnTo>
                  <a:lnTo>
                    <a:pt x="734" y="243"/>
                  </a:lnTo>
                  <a:lnTo>
                    <a:pt x="719" y="237"/>
                  </a:lnTo>
                  <a:lnTo>
                    <a:pt x="718" y="238"/>
                  </a:lnTo>
                  <a:lnTo>
                    <a:pt x="725" y="252"/>
                  </a:lnTo>
                  <a:lnTo>
                    <a:pt x="725" y="257"/>
                  </a:lnTo>
                  <a:lnTo>
                    <a:pt x="724" y="268"/>
                  </a:lnTo>
                  <a:lnTo>
                    <a:pt x="723" y="274"/>
                  </a:lnTo>
                  <a:lnTo>
                    <a:pt x="718" y="275"/>
                  </a:lnTo>
                  <a:lnTo>
                    <a:pt x="705" y="279"/>
                  </a:lnTo>
                  <a:lnTo>
                    <a:pt x="663" y="312"/>
                  </a:lnTo>
                  <a:lnTo>
                    <a:pt x="658" y="313"/>
                  </a:lnTo>
                  <a:lnTo>
                    <a:pt x="648" y="312"/>
                  </a:lnTo>
                  <a:lnTo>
                    <a:pt x="623" y="318"/>
                  </a:lnTo>
                  <a:lnTo>
                    <a:pt x="605" y="328"/>
                  </a:lnTo>
                  <a:lnTo>
                    <a:pt x="599" y="334"/>
                  </a:lnTo>
                  <a:lnTo>
                    <a:pt x="591" y="344"/>
                  </a:lnTo>
                  <a:lnTo>
                    <a:pt x="581" y="358"/>
                  </a:lnTo>
                  <a:lnTo>
                    <a:pt x="570" y="369"/>
                  </a:lnTo>
                  <a:lnTo>
                    <a:pt x="546" y="385"/>
                  </a:lnTo>
                  <a:lnTo>
                    <a:pt x="539" y="393"/>
                  </a:lnTo>
                  <a:lnTo>
                    <a:pt x="533" y="399"/>
                  </a:lnTo>
                  <a:lnTo>
                    <a:pt x="528" y="410"/>
                  </a:lnTo>
                  <a:lnTo>
                    <a:pt x="521" y="422"/>
                  </a:lnTo>
                  <a:lnTo>
                    <a:pt x="514" y="433"/>
                  </a:lnTo>
                  <a:lnTo>
                    <a:pt x="504" y="440"/>
                  </a:lnTo>
                  <a:lnTo>
                    <a:pt x="456" y="457"/>
                  </a:lnTo>
                  <a:lnTo>
                    <a:pt x="450" y="462"/>
                  </a:lnTo>
                  <a:lnTo>
                    <a:pt x="445" y="468"/>
                  </a:lnTo>
                  <a:lnTo>
                    <a:pt x="440" y="475"/>
                  </a:lnTo>
                  <a:lnTo>
                    <a:pt x="433" y="485"/>
                  </a:lnTo>
                  <a:lnTo>
                    <a:pt x="425" y="498"/>
                  </a:lnTo>
                  <a:lnTo>
                    <a:pt x="423" y="509"/>
                  </a:lnTo>
                  <a:lnTo>
                    <a:pt x="424" y="519"/>
                  </a:lnTo>
                  <a:lnTo>
                    <a:pt x="424" y="524"/>
                  </a:lnTo>
                  <a:lnTo>
                    <a:pt x="423" y="530"/>
                  </a:lnTo>
                  <a:lnTo>
                    <a:pt x="416" y="543"/>
                  </a:lnTo>
                  <a:lnTo>
                    <a:pt x="415" y="548"/>
                  </a:lnTo>
                  <a:lnTo>
                    <a:pt x="415" y="559"/>
                  </a:lnTo>
                  <a:lnTo>
                    <a:pt x="414" y="564"/>
                  </a:lnTo>
                  <a:lnTo>
                    <a:pt x="410" y="575"/>
                  </a:lnTo>
                  <a:lnTo>
                    <a:pt x="405" y="585"/>
                  </a:lnTo>
                  <a:lnTo>
                    <a:pt x="399" y="590"/>
                  </a:lnTo>
                  <a:lnTo>
                    <a:pt x="385" y="593"/>
                  </a:lnTo>
                  <a:lnTo>
                    <a:pt x="380" y="593"/>
                  </a:lnTo>
                  <a:lnTo>
                    <a:pt x="376" y="590"/>
                  </a:lnTo>
                  <a:lnTo>
                    <a:pt x="370" y="589"/>
                  </a:lnTo>
                  <a:lnTo>
                    <a:pt x="363" y="589"/>
                  </a:lnTo>
                  <a:lnTo>
                    <a:pt x="351" y="595"/>
                  </a:lnTo>
                  <a:lnTo>
                    <a:pt x="346" y="600"/>
                  </a:lnTo>
                  <a:lnTo>
                    <a:pt x="325" y="633"/>
                  </a:lnTo>
                  <a:lnTo>
                    <a:pt x="323" y="637"/>
                  </a:lnTo>
                  <a:lnTo>
                    <a:pt x="306" y="660"/>
                  </a:lnTo>
                  <a:lnTo>
                    <a:pt x="294" y="654"/>
                  </a:lnTo>
                  <a:lnTo>
                    <a:pt x="260" y="650"/>
                  </a:lnTo>
                  <a:lnTo>
                    <a:pt x="251" y="652"/>
                  </a:lnTo>
                  <a:lnTo>
                    <a:pt x="243" y="657"/>
                  </a:lnTo>
                  <a:lnTo>
                    <a:pt x="230" y="654"/>
                  </a:lnTo>
                  <a:lnTo>
                    <a:pt x="220" y="664"/>
                  </a:lnTo>
                  <a:lnTo>
                    <a:pt x="218" y="682"/>
                  </a:lnTo>
                  <a:lnTo>
                    <a:pt x="205" y="690"/>
                  </a:lnTo>
                  <a:lnTo>
                    <a:pt x="164" y="699"/>
                  </a:lnTo>
                  <a:lnTo>
                    <a:pt x="150" y="613"/>
                  </a:lnTo>
                  <a:lnTo>
                    <a:pt x="145" y="604"/>
                  </a:lnTo>
                  <a:lnTo>
                    <a:pt x="133" y="590"/>
                  </a:lnTo>
                  <a:lnTo>
                    <a:pt x="130" y="579"/>
                  </a:lnTo>
                  <a:lnTo>
                    <a:pt x="128" y="565"/>
                  </a:lnTo>
                  <a:lnTo>
                    <a:pt x="126" y="560"/>
                  </a:lnTo>
                  <a:lnTo>
                    <a:pt x="121" y="555"/>
                  </a:lnTo>
                  <a:lnTo>
                    <a:pt x="113" y="554"/>
                  </a:lnTo>
                  <a:lnTo>
                    <a:pt x="93" y="560"/>
                  </a:lnTo>
                  <a:lnTo>
                    <a:pt x="86" y="555"/>
                  </a:lnTo>
                  <a:lnTo>
                    <a:pt x="85" y="548"/>
                  </a:lnTo>
                  <a:lnTo>
                    <a:pt x="93" y="532"/>
                  </a:lnTo>
                  <a:lnTo>
                    <a:pt x="94" y="522"/>
                  </a:lnTo>
                  <a:lnTo>
                    <a:pt x="85" y="494"/>
                  </a:lnTo>
                  <a:lnTo>
                    <a:pt x="84" y="470"/>
                  </a:lnTo>
                  <a:lnTo>
                    <a:pt x="81" y="465"/>
                  </a:lnTo>
                  <a:lnTo>
                    <a:pt x="77" y="463"/>
                  </a:lnTo>
                  <a:lnTo>
                    <a:pt x="69" y="459"/>
                  </a:lnTo>
                  <a:lnTo>
                    <a:pt x="62" y="454"/>
                  </a:lnTo>
                  <a:lnTo>
                    <a:pt x="57" y="448"/>
                  </a:lnTo>
                  <a:lnTo>
                    <a:pt x="46" y="419"/>
                  </a:lnTo>
                  <a:lnTo>
                    <a:pt x="40" y="409"/>
                  </a:lnTo>
                  <a:lnTo>
                    <a:pt x="9" y="380"/>
                  </a:lnTo>
                  <a:lnTo>
                    <a:pt x="0" y="364"/>
                  </a:lnTo>
                  <a:lnTo>
                    <a:pt x="7" y="317"/>
                  </a:lnTo>
                  <a:lnTo>
                    <a:pt x="35" y="284"/>
                  </a:lnTo>
                  <a:lnTo>
                    <a:pt x="35" y="268"/>
                  </a:lnTo>
                  <a:lnTo>
                    <a:pt x="75" y="225"/>
                  </a:lnTo>
                  <a:lnTo>
                    <a:pt x="60" y="212"/>
                  </a:lnTo>
                  <a:lnTo>
                    <a:pt x="65" y="194"/>
                  </a:lnTo>
                  <a:lnTo>
                    <a:pt x="87" y="208"/>
                  </a:lnTo>
                  <a:lnTo>
                    <a:pt x="100" y="195"/>
                  </a:lnTo>
                  <a:lnTo>
                    <a:pt x="135" y="217"/>
                  </a:lnTo>
                  <a:lnTo>
                    <a:pt x="135" y="208"/>
                  </a:lnTo>
                  <a:lnTo>
                    <a:pt x="134" y="203"/>
                  </a:lnTo>
                  <a:lnTo>
                    <a:pt x="122" y="184"/>
                  </a:lnTo>
                  <a:lnTo>
                    <a:pt x="121" y="179"/>
                  </a:lnTo>
                  <a:lnTo>
                    <a:pt x="121" y="163"/>
                  </a:lnTo>
                  <a:lnTo>
                    <a:pt x="110" y="129"/>
                  </a:lnTo>
                  <a:lnTo>
                    <a:pt x="126" y="129"/>
                  </a:lnTo>
                  <a:lnTo>
                    <a:pt x="170" y="105"/>
                  </a:lnTo>
                  <a:lnTo>
                    <a:pt x="194" y="107"/>
                  </a:lnTo>
                  <a:lnTo>
                    <a:pt x="216" y="98"/>
                  </a:lnTo>
                  <a:lnTo>
                    <a:pt x="256" y="98"/>
                  </a:lnTo>
                  <a:lnTo>
                    <a:pt x="304" y="79"/>
                  </a:lnTo>
                  <a:lnTo>
                    <a:pt x="321" y="77"/>
                  </a:lnTo>
                  <a:lnTo>
                    <a:pt x="387" y="52"/>
                  </a:lnTo>
                  <a:lnTo>
                    <a:pt x="396" y="42"/>
                  </a:lnTo>
                  <a:lnTo>
                    <a:pt x="401" y="32"/>
                  </a:lnTo>
                  <a:lnTo>
                    <a:pt x="406" y="0"/>
                  </a:lnTo>
                  <a:lnTo>
                    <a:pt x="457" y="27"/>
                  </a:lnTo>
                  <a:lnTo>
                    <a:pt x="487" y="62"/>
                  </a:lnTo>
                  <a:lnTo>
                    <a:pt x="487" y="63"/>
                  </a:lnTo>
                  <a:lnTo>
                    <a:pt x="515" y="60"/>
                  </a:lnTo>
                  <a:lnTo>
                    <a:pt x="524" y="92"/>
                  </a:lnTo>
                  <a:lnTo>
                    <a:pt x="546" y="93"/>
                  </a:lnTo>
                  <a:lnTo>
                    <a:pt x="546" y="58"/>
                  </a:lnTo>
                  <a:lnTo>
                    <a:pt x="547" y="52"/>
                  </a:lnTo>
                  <a:lnTo>
                    <a:pt x="551" y="45"/>
                  </a:lnTo>
                  <a:lnTo>
                    <a:pt x="564" y="39"/>
                  </a:lnTo>
                  <a:lnTo>
                    <a:pt x="567" y="35"/>
                  </a:lnTo>
                  <a:lnTo>
                    <a:pt x="574" y="22"/>
                  </a:lnTo>
                  <a:lnTo>
                    <a:pt x="577" y="18"/>
                  </a:lnTo>
                  <a:lnTo>
                    <a:pt x="591" y="10"/>
                  </a:lnTo>
                  <a:lnTo>
                    <a:pt x="605" y="8"/>
                  </a:lnTo>
                  <a:lnTo>
                    <a:pt x="632" y="13"/>
                  </a:lnTo>
                  <a:lnTo>
                    <a:pt x="650" y="4"/>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57" name="Sevilla" descr="{&quot;Key&quot;:&quot;sevilla&quot;,&quot;Name&quot;:&quot;Sevilla&quot;,&quot;Value&quot;:1.0,&quot;Formula&quot;:&quot;&quot;,&quot;Text&quot;:&quot;1&quot;,&quot;HasValue&quot;:true}">
              <a:extLst>
                <a:ext uri="{FF2B5EF4-FFF2-40B4-BE49-F238E27FC236}">
                  <a16:creationId xmlns:a16="http://schemas.microsoft.com/office/drawing/2014/main" id="{7D79DE01-F27E-224D-26D0-F36F46462A06}"/>
                </a:ext>
              </a:extLst>
            </p:cNvPr>
            <p:cNvSpPr>
              <a:spLocks/>
            </p:cNvSpPr>
            <p:nvPr/>
          </p:nvSpPr>
          <p:spPr bwMode="auto">
            <a:xfrm>
              <a:off x="2217774" y="4777646"/>
              <a:ext cx="718304" cy="651715"/>
            </a:xfrm>
            <a:custGeom>
              <a:avLst/>
              <a:gdLst>
                <a:gd name="T0" fmla="*/ 583 w 1041"/>
                <a:gd name="T1" fmla="*/ 148 h 944"/>
                <a:gd name="T2" fmla="*/ 624 w 1041"/>
                <a:gd name="T3" fmla="*/ 229 h 944"/>
                <a:gd name="T4" fmla="*/ 657 w 1041"/>
                <a:gd name="T5" fmla="*/ 271 h 944"/>
                <a:gd name="T6" fmla="*/ 676 w 1041"/>
                <a:gd name="T7" fmla="*/ 346 h 944"/>
                <a:gd name="T8" fmla="*/ 638 w 1041"/>
                <a:gd name="T9" fmla="*/ 408 h 944"/>
                <a:gd name="T10" fmla="*/ 749 w 1041"/>
                <a:gd name="T11" fmla="*/ 370 h 944"/>
                <a:gd name="T12" fmla="*/ 791 w 1041"/>
                <a:gd name="T13" fmla="*/ 351 h 944"/>
                <a:gd name="T14" fmla="*/ 858 w 1041"/>
                <a:gd name="T15" fmla="*/ 353 h 944"/>
                <a:gd name="T16" fmla="*/ 872 w 1041"/>
                <a:gd name="T17" fmla="*/ 396 h 944"/>
                <a:gd name="T18" fmla="*/ 886 w 1041"/>
                <a:gd name="T19" fmla="*/ 414 h 944"/>
                <a:gd name="T20" fmla="*/ 900 w 1041"/>
                <a:gd name="T21" fmla="*/ 489 h 944"/>
                <a:gd name="T22" fmla="*/ 947 w 1041"/>
                <a:gd name="T23" fmla="*/ 585 h 944"/>
                <a:gd name="T24" fmla="*/ 1020 w 1041"/>
                <a:gd name="T25" fmla="*/ 587 h 944"/>
                <a:gd name="T26" fmla="*/ 1041 w 1041"/>
                <a:gd name="T27" fmla="*/ 656 h 944"/>
                <a:gd name="T28" fmla="*/ 1003 w 1041"/>
                <a:gd name="T29" fmla="*/ 697 h 944"/>
                <a:gd name="T30" fmla="*/ 937 w 1041"/>
                <a:gd name="T31" fmla="*/ 700 h 944"/>
                <a:gd name="T32" fmla="*/ 921 w 1041"/>
                <a:gd name="T33" fmla="*/ 717 h 944"/>
                <a:gd name="T34" fmla="*/ 880 w 1041"/>
                <a:gd name="T35" fmla="*/ 711 h 944"/>
                <a:gd name="T36" fmla="*/ 903 w 1041"/>
                <a:gd name="T37" fmla="*/ 740 h 944"/>
                <a:gd name="T38" fmla="*/ 740 w 1041"/>
                <a:gd name="T39" fmla="*/ 862 h 944"/>
                <a:gd name="T40" fmla="*/ 685 w 1041"/>
                <a:gd name="T41" fmla="*/ 825 h 944"/>
                <a:gd name="T42" fmla="*/ 607 w 1041"/>
                <a:gd name="T43" fmla="*/ 870 h 944"/>
                <a:gd name="T44" fmla="*/ 612 w 1041"/>
                <a:gd name="T45" fmla="*/ 816 h 944"/>
                <a:gd name="T46" fmla="*/ 587 w 1041"/>
                <a:gd name="T47" fmla="*/ 802 h 944"/>
                <a:gd name="T48" fmla="*/ 576 w 1041"/>
                <a:gd name="T49" fmla="*/ 842 h 944"/>
                <a:gd name="T50" fmla="*/ 547 w 1041"/>
                <a:gd name="T51" fmla="*/ 885 h 944"/>
                <a:gd name="T52" fmla="*/ 478 w 1041"/>
                <a:gd name="T53" fmla="*/ 857 h 944"/>
                <a:gd name="T54" fmla="*/ 381 w 1041"/>
                <a:gd name="T55" fmla="*/ 895 h 944"/>
                <a:gd name="T56" fmla="*/ 327 w 1041"/>
                <a:gd name="T57" fmla="*/ 936 h 944"/>
                <a:gd name="T58" fmla="*/ 166 w 1041"/>
                <a:gd name="T59" fmla="*/ 901 h 944"/>
                <a:gd name="T60" fmla="*/ 162 w 1041"/>
                <a:gd name="T61" fmla="*/ 894 h 944"/>
                <a:gd name="T62" fmla="*/ 106 w 1041"/>
                <a:gd name="T63" fmla="*/ 900 h 944"/>
                <a:gd name="T64" fmla="*/ 83 w 1041"/>
                <a:gd name="T65" fmla="*/ 791 h 944"/>
                <a:gd name="T66" fmla="*/ 98 w 1041"/>
                <a:gd name="T67" fmla="*/ 755 h 944"/>
                <a:gd name="T68" fmla="*/ 98 w 1041"/>
                <a:gd name="T69" fmla="*/ 661 h 944"/>
                <a:gd name="T70" fmla="*/ 85 w 1041"/>
                <a:gd name="T71" fmla="*/ 605 h 944"/>
                <a:gd name="T72" fmla="*/ 96 w 1041"/>
                <a:gd name="T73" fmla="*/ 575 h 944"/>
                <a:gd name="T74" fmla="*/ 113 w 1041"/>
                <a:gd name="T75" fmla="*/ 545 h 944"/>
                <a:gd name="T76" fmla="*/ 97 w 1041"/>
                <a:gd name="T77" fmla="*/ 487 h 944"/>
                <a:gd name="T78" fmla="*/ 48 w 1041"/>
                <a:gd name="T79" fmla="*/ 399 h 944"/>
                <a:gd name="T80" fmla="*/ 5 w 1041"/>
                <a:gd name="T81" fmla="*/ 370 h 944"/>
                <a:gd name="T82" fmla="*/ 122 w 1041"/>
                <a:gd name="T83" fmla="*/ 300 h 944"/>
                <a:gd name="T84" fmla="*/ 157 w 1041"/>
                <a:gd name="T85" fmla="*/ 321 h 944"/>
                <a:gd name="T86" fmla="*/ 175 w 1041"/>
                <a:gd name="T87" fmla="*/ 321 h 944"/>
                <a:gd name="T88" fmla="*/ 192 w 1041"/>
                <a:gd name="T89" fmla="*/ 272 h 944"/>
                <a:gd name="T90" fmla="*/ 223 w 1041"/>
                <a:gd name="T91" fmla="*/ 200 h 944"/>
                <a:gd name="T92" fmla="*/ 193 w 1041"/>
                <a:gd name="T93" fmla="*/ 177 h 944"/>
                <a:gd name="T94" fmla="*/ 273 w 1041"/>
                <a:gd name="T95" fmla="*/ 141 h 944"/>
                <a:gd name="T96" fmla="*/ 321 w 1041"/>
                <a:gd name="T97" fmla="*/ 129 h 944"/>
                <a:gd name="T98" fmla="*/ 343 w 1041"/>
                <a:gd name="T99" fmla="*/ 87 h 944"/>
                <a:gd name="T100" fmla="*/ 337 w 1041"/>
                <a:gd name="T101" fmla="*/ 64 h 944"/>
                <a:gd name="T102" fmla="*/ 363 w 1041"/>
                <a:gd name="T103" fmla="*/ 36 h 944"/>
                <a:gd name="T104" fmla="*/ 385 w 1041"/>
                <a:gd name="T105" fmla="*/ 11 h 944"/>
                <a:gd name="T106" fmla="*/ 453 w 1041"/>
                <a:gd name="T107" fmla="*/ 7 h 944"/>
                <a:gd name="T108" fmla="*/ 455 w 1041"/>
                <a:gd name="T109" fmla="*/ 35 h 944"/>
                <a:gd name="T110" fmla="*/ 445 w 1041"/>
                <a:gd name="T111" fmla="*/ 67 h 944"/>
                <a:gd name="T112" fmla="*/ 477 w 1041"/>
                <a:gd name="T113" fmla="*/ 61 h 944"/>
                <a:gd name="T114" fmla="*/ 527 w 1041"/>
                <a:gd name="T115" fmla="*/ 39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1" h="944">
                  <a:moveTo>
                    <a:pt x="527" y="39"/>
                  </a:moveTo>
                  <a:lnTo>
                    <a:pt x="526" y="53"/>
                  </a:lnTo>
                  <a:lnTo>
                    <a:pt x="573" y="104"/>
                  </a:lnTo>
                  <a:lnTo>
                    <a:pt x="583" y="148"/>
                  </a:lnTo>
                  <a:lnTo>
                    <a:pt x="614" y="176"/>
                  </a:lnTo>
                  <a:lnTo>
                    <a:pt x="618" y="185"/>
                  </a:lnTo>
                  <a:lnTo>
                    <a:pt x="619" y="215"/>
                  </a:lnTo>
                  <a:lnTo>
                    <a:pt x="624" y="229"/>
                  </a:lnTo>
                  <a:lnTo>
                    <a:pt x="631" y="235"/>
                  </a:lnTo>
                  <a:lnTo>
                    <a:pt x="649" y="246"/>
                  </a:lnTo>
                  <a:lnTo>
                    <a:pt x="654" y="254"/>
                  </a:lnTo>
                  <a:lnTo>
                    <a:pt x="657" y="271"/>
                  </a:lnTo>
                  <a:lnTo>
                    <a:pt x="659" y="280"/>
                  </a:lnTo>
                  <a:lnTo>
                    <a:pt x="663" y="285"/>
                  </a:lnTo>
                  <a:lnTo>
                    <a:pt x="677" y="294"/>
                  </a:lnTo>
                  <a:lnTo>
                    <a:pt x="676" y="346"/>
                  </a:lnTo>
                  <a:lnTo>
                    <a:pt x="632" y="348"/>
                  </a:lnTo>
                  <a:lnTo>
                    <a:pt x="619" y="364"/>
                  </a:lnTo>
                  <a:lnTo>
                    <a:pt x="626" y="394"/>
                  </a:lnTo>
                  <a:lnTo>
                    <a:pt x="638" y="408"/>
                  </a:lnTo>
                  <a:lnTo>
                    <a:pt x="658" y="409"/>
                  </a:lnTo>
                  <a:lnTo>
                    <a:pt x="696" y="399"/>
                  </a:lnTo>
                  <a:lnTo>
                    <a:pt x="743" y="366"/>
                  </a:lnTo>
                  <a:lnTo>
                    <a:pt x="749" y="370"/>
                  </a:lnTo>
                  <a:lnTo>
                    <a:pt x="764" y="373"/>
                  </a:lnTo>
                  <a:lnTo>
                    <a:pt x="777" y="370"/>
                  </a:lnTo>
                  <a:lnTo>
                    <a:pt x="781" y="366"/>
                  </a:lnTo>
                  <a:lnTo>
                    <a:pt x="791" y="351"/>
                  </a:lnTo>
                  <a:lnTo>
                    <a:pt x="819" y="340"/>
                  </a:lnTo>
                  <a:lnTo>
                    <a:pt x="833" y="338"/>
                  </a:lnTo>
                  <a:lnTo>
                    <a:pt x="847" y="343"/>
                  </a:lnTo>
                  <a:lnTo>
                    <a:pt x="858" y="353"/>
                  </a:lnTo>
                  <a:lnTo>
                    <a:pt x="867" y="366"/>
                  </a:lnTo>
                  <a:lnTo>
                    <a:pt x="873" y="381"/>
                  </a:lnTo>
                  <a:lnTo>
                    <a:pt x="873" y="388"/>
                  </a:lnTo>
                  <a:lnTo>
                    <a:pt x="872" y="396"/>
                  </a:lnTo>
                  <a:lnTo>
                    <a:pt x="873" y="403"/>
                  </a:lnTo>
                  <a:lnTo>
                    <a:pt x="876" y="405"/>
                  </a:lnTo>
                  <a:lnTo>
                    <a:pt x="883" y="410"/>
                  </a:lnTo>
                  <a:lnTo>
                    <a:pt x="886" y="414"/>
                  </a:lnTo>
                  <a:lnTo>
                    <a:pt x="888" y="426"/>
                  </a:lnTo>
                  <a:lnTo>
                    <a:pt x="885" y="459"/>
                  </a:lnTo>
                  <a:lnTo>
                    <a:pt x="880" y="471"/>
                  </a:lnTo>
                  <a:lnTo>
                    <a:pt x="900" y="489"/>
                  </a:lnTo>
                  <a:lnTo>
                    <a:pt x="911" y="511"/>
                  </a:lnTo>
                  <a:lnTo>
                    <a:pt x="912" y="529"/>
                  </a:lnTo>
                  <a:lnTo>
                    <a:pt x="932" y="548"/>
                  </a:lnTo>
                  <a:lnTo>
                    <a:pt x="947" y="585"/>
                  </a:lnTo>
                  <a:lnTo>
                    <a:pt x="968" y="604"/>
                  </a:lnTo>
                  <a:lnTo>
                    <a:pt x="980" y="605"/>
                  </a:lnTo>
                  <a:lnTo>
                    <a:pt x="1010" y="583"/>
                  </a:lnTo>
                  <a:lnTo>
                    <a:pt x="1020" y="587"/>
                  </a:lnTo>
                  <a:lnTo>
                    <a:pt x="1027" y="596"/>
                  </a:lnTo>
                  <a:lnTo>
                    <a:pt x="1031" y="626"/>
                  </a:lnTo>
                  <a:lnTo>
                    <a:pt x="1038" y="641"/>
                  </a:lnTo>
                  <a:lnTo>
                    <a:pt x="1041" y="656"/>
                  </a:lnTo>
                  <a:lnTo>
                    <a:pt x="1005" y="652"/>
                  </a:lnTo>
                  <a:lnTo>
                    <a:pt x="996" y="664"/>
                  </a:lnTo>
                  <a:lnTo>
                    <a:pt x="1005" y="685"/>
                  </a:lnTo>
                  <a:lnTo>
                    <a:pt x="1003" y="697"/>
                  </a:lnTo>
                  <a:lnTo>
                    <a:pt x="993" y="707"/>
                  </a:lnTo>
                  <a:lnTo>
                    <a:pt x="972" y="721"/>
                  </a:lnTo>
                  <a:lnTo>
                    <a:pt x="962" y="724"/>
                  </a:lnTo>
                  <a:lnTo>
                    <a:pt x="937" y="700"/>
                  </a:lnTo>
                  <a:lnTo>
                    <a:pt x="933" y="700"/>
                  </a:lnTo>
                  <a:lnTo>
                    <a:pt x="930" y="702"/>
                  </a:lnTo>
                  <a:lnTo>
                    <a:pt x="926" y="712"/>
                  </a:lnTo>
                  <a:lnTo>
                    <a:pt x="921" y="717"/>
                  </a:lnTo>
                  <a:lnTo>
                    <a:pt x="916" y="719"/>
                  </a:lnTo>
                  <a:lnTo>
                    <a:pt x="892" y="709"/>
                  </a:lnTo>
                  <a:lnTo>
                    <a:pt x="886" y="709"/>
                  </a:lnTo>
                  <a:lnTo>
                    <a:pt x="880" y="711"/>
                  </a:lnTo>
                  <a:lnTo>
                    <a:pt x="875" y="714"/>
                  </a:lnTo>
                  <a:lnTo>
                    <a:pt x="872" y="717"/>
                  </a:lnTo>
                  <a:lnTo>
                    <a:pt x="878" y="726"/>
                  </a:lnTo>
                  <a:lnTo>
                    <a:pt x="903" y="740"/>
                  </a:lnTo>
                  <a:lnTo>
                    <a:pt x="895" y="755"/>
                  </a:lnTo>
                  <a:lnTo>
                    <a:pt x="770" y="831"/>
                  </a:lnTo>
                  <a:lnTo>
                    <a:pt x="751" y="854"/>
                  </a:lnTo>
                  <a:lnTo>
                    <a:pt x="740" y="862"/>
                  </a:lnTo>
                  <a:lnTo>
                    <a:pt x="727" y="869"/>
                  </a:lnTo>
                  <a:lnTo>
                    <a:pt x="717" y="869"/>
                  </a:lnTo>
                  <a:lnTo>
                    <a:pt x="710" y="864"/>
                  </a:lnTo>
                  <a:lnTo>
                    <a:pt x="685" y="825"/>
                  </a:lnTo>
                  <a:lnTo>
                    <a:pt x="678" y="821"/>
                  </a:lnTo>
                  <a:lnTo>
                    <a:pt x="675" y="822"/>
                  </a:lnTo>
                  <a:lnTo>
                    <a:pt x="613" y="867"/>
                  </a:lnTo>
                  <a:lnTo>
                    <a:pt x="607" y="870"/>
                  </a:lnTo>
                  <a:lnTo>
                    <a:pt x="601" y="862"/>
                  </a:lnTo>
                  <a:lnTo>
                    <a:pt x="601" y="850"/>
                  </a:lnTo>
                  <a:lnTo>
                    <a:pt x="611" y="829"/>
                  </a:lnTo>
                  <a:lnTo>
                    <a:pt x="612" y="816"/>
                  </a:lnTo>
                  <a:lnTo>
                    <a:pt x="608" y="809"/>
                  </a:lnTo>
                  <a:lnTo>
                    <a:pt x="602" y="804"/>
                  </a:lnTo>
                  <a:lnTo>
                    <a:pt x="595" y="802"/>
                  </a:lnTo>
                  <a:lnTo>
                    <a:pt x="587" y="802"/>
                  </a:lnTo>
                  <a:lnTo>
                    <a:pt x="577" y="806"/>
                  </a:lnTo>
                  <a:lnTo>
                    <a:pt x="575" y="810"/>
                  </a:lnTo>
                  <a:lnTo>
                    <a:pt x="573" y="817"/>
                  </a:lnTo>
                  <a:lnTo>
                    <a:pt x="576" y="842"/>
                  </a:lnTo>
                  <a:lnTo>
                    <a:pt x="575" y="851"/>
                  </a:lnTo>
                  <a:lnTo>
                    <a:pt x="568" y="865"/>
                  </a:lnTo>
                  <a:lnTo>
                    <a:pt x="558" y="876"/>
                  </a:lnTo>
                  <a:lnTo>
                    <a:pt x="547" y="885"/>
                  </a:lnTo>
                  <a:lnTo>
                    <a:pt x="535" y="889"/>
                  </a:lnTo>
                  <a:lnTo>
                    <a:pt x="523" y="887"/>
                  </a:lnTo>
                  <a:lnTo>
                    <a:pt x="492" y="862"/>
                  </a:lnTo>
                  <a:lnTo>
                    <a:pt x="478" y="857"/>
                  </a:lnTo>
                  <a:lnTo>
                    <a:pt x="465" y="866"/>
                  </a:lnTo>
                  <a:lnTo>
                    <a:pt x="451" y="890"/>
                  </a:lnTo>
                  <a:lnTo>
                    <a:pt x="402" y="889"/>
                  </a:lnTo>
                  <a:lnTo>
                    <a:pt x="381" y="895"/>
                  </a:lnTo>
                  <a:lnTo>
                    <a:pt x="368" y="905"/>
                  </a:lnTo>
                  <a:lnTo>
                    <a:pt x="361" y="920"/>
                  </a:lnTo>
                  <a:lnTo>
                    <a:pt x="355" y="944"/>
                  </a:lnTo>
                  <a:lnTo>
                    <a:pt x="327" y="936"/>
                  </a:lnTo>
                  <a:lnTo>
                    <a:pt x="310" y="942"/>
                  </a:lnTo>
                  <a:lnTo>
                    <a:pt x="236" y="932"/>
                  </a:lnTo>
                  <a:lnTo>
                    <a:pt x="207" y="912"/>
                  </a:lnTo>
                  <a:lnTo>
                    <a:pt x="166" y="901"/>
                  </a:lnTo>
                  <a:lnTo>
                    <a:pt x="171" y="901"/>
                  </a:lnTo>
                  <a:lnTo>
                    <a:pt x="186" y="881"/>
                  </a:lnTo>
                  <a:lnTo>
                    <a:pt x="176" y="889"/>
                  </a:lnTo>
                  <a:lnTo>
                    <a:pt x="162" y="894"/>
                  </a:lnTo>
                  <a:lnTo>
                    <a:pt x="147" y="894"/>
                  </a:lnTo>
                  <a:lnTo>
                    <a:pt x="137" y="885"/>
                  </a:lnTo>
                  <a:lnTo>
                    <a:pt x="113" y="895"/>
                  </a:lnTo>
                  <a:lnTo>
                    <a:pt x="106" y="900"/>
                  </a:lnTo>
                  <a:lnTo>
                    <a:pt x="85" y="880"/>
                  </a:lnTo>
                  <a:lnTo>
                    <a:pt x="98" y="844"/>
                  </a:lnTo>
                  <a:lnTo>
                    <a:pt x="83" y="800"/>
                  </a:lnTo>
                  <a:lnTo>
                    <a:pt x="83" y="791"/>
                  </a:lnTo>
                  <a:lnTo>
                    <a:pt x="83" y="782"/>
                  </a:lnTo>
                  <a:lnTo>
                    <a:pt x="86" y="775"/>
                  </a:lnTo>
                  <a:lnTo>
                    <a:pt x="97" y="759"/>
                  </a:lnTo>
                  <a:lnTo>
                    <a:pt x="98" y="755"/>
                  </a:lnTo>
                  <a:lnTo>
                    <a:pt x="98" y="732"/>
                  </a:lnTo>
                  <a:lnTo>
                    <a:pt x="103" y="711"/>
                  </a:lnTo>
                  <a:lnTo>
                    <a:pt x="97" y="670"/>
                  </a:lnTo>
                  <a:lnTo>
                    <a:pt x="98" y="661"/>
                  </a:lnTo>
                  <a:lnTo>
                    <a:pt x="106" y="642"/>
                  </a:lnTo>
                  <a:lnTo>
                    <a:pt x="106" y="632"/>
                  </a:lnTo>
                  <a:lnTo>
                    <a:pt x="102" y="622"/>
                  </a:lnTo>
                  <a:lnTo>
                    <a:pt x="85" y="605"/>
                  </a:lnTo>
                  <a:lnTo>
                    <a:pt x="83" y="597"/>
                  </a:lnTo>
                  <a:lnTo>
                    <a:pt x="87" y="591"/>
                  </a:lnTo>
                  <a:lnTo>
                    <a:pt x="95" y="584"/>
                  </a:lnTo>
                  <a:lnTo>
                    <a:pt x="96" y="575"/>
                  </a:lnTo>
                  <a:lnTo>
                    <a:pt x="92" y="556"/>
                  </a:lnTo>
                  <a:lnTo>
                    <a:pt x="95" y="550"/>
                  </a:lnTo>
                  <a:lnTo>
                    <a:pt x="100" y="547"/>
                  </a:lnTo>
                  <a:lnTo>
                    <a:pt x="113" y="545"/>
                  </a:lnTo>
                  <a:lnTo>
                    <a:pt x="118" y="541"/>
                  </a:lnTo>
                  <a:lnTo>
                    <a:pt x="121" y="535"/>
                  </a:lnTo>
                  <a:lnTo>
                    <a:pt x="120" y="529"/>
                  </a:lnTo>
                  <a:lnTo>
                    <a:pt x="97" y="487"/>
                  </a:lnTo>
                  <a:lnTo>
                    <a:pt x="86" y="452"/>
                  </a:lnTo>
                  <a:lnTo>
                    <a:pt x="72" y="432"/>
                  </a:lnTo>
                  <a:lnTo>
                    <a:pt x="76" y="412"/>
                  </a:lnTo>
                  <a:lnTo>
                    <a:pt x="48" y="399"/>
                  </a:lnTo>
                  <a:lnTo>
                    <a:pt x="13" y="400"/>
                  </a:lnTo>
                  <a:lnTo>
                    <a:pt x="0" y="392"/>
                  </a:lnTo>
                  <a:lnTo>
                    <a:pt x="2" y="375"/>
                  </a:lnTo>
                  <a:lnTo>
                    <a:pt x="5" y="370"/>
                  </a:lnTo>
                  <a:lnTo>
                    <a:pt x="16" y="361"/>
                  </a:lnTo>
                  <a:lnTo>
                    <a:pt x="35" y="327"/>
                  </a:lnTo>
                  <a:lnTo>
                    <a:pt x="46" y="321"/>
                  </a:lnTo>
                  <a:lnTo>
                    <a:pt x="122" y="300"/>
                  </a:lnTo>
                  <a:lnTo>
                    <a:pt x="147" y="300"/>
                  </a:lnTo>
                  <a:lnTo>
                    <a:pt x="152" y="305"/>
                  </a:lnTo>
                  <a:lnTo>
                    <a:pt x="155" y="317"/>
                  </a:lnTo>
                  <a:lnTo>
                    <a:pt x="157" y="321"/>
                  </a:lnTo>
                  <a:lnTo>
                    <a:pt x="161" y="324"/>
                  </a:lnTo>
                  <a:lnTo>
                    <a:pt x="167" y="325"/>
                  </a:lnTo>
                  <a:lnTo>
                    <a:pt x="171" y="325"/>
                  </a:lnTo>
                  <a:lnTo>
                    <a:pt x="175" y="321"/>
                  </a:lnTo>
                  <a:lnTo>
                    <a:pt x="176" y="315"/>
                  </a:lnTo>
                  <a:lnTo>
                    <a:pt x="175" y="286"/>
                  </a:lnTo>
                  <a:lnTo>
                    <a:pt x="182" y="276"/>
                  </a:lnTo>
                  <a:lnTo>
                    <a:pt x="192" y="272"/>
                  </a:lnTo>
                  <a:lnTo>
                    <a:pt x="213" y="280"/>
                  </a:lnTo>
                  <a:lnTo>
                    <a:pt x="226" y="271"/>
                  </a:lnTo>
                  <a:lnTo>
                    <a:pt x="213" y="241"/>
                  </a:lnTo>
                  <a:lnTo>
                    <a:pt x="223" y="200"/>
                  </a:lnTo>
                  <a:lnTo>
                    <a:pt x="220" y="197"/>
                  </a:lnTo>
                  <a:lnTo>
                    <a:pt x="207" y="196"/>
                  </a:lnTo>
                  <a:lnTo>
                    <a:pt x="202" y="199"/>
                  </a:lnTo>
                  <a:lnTo>
                    <a:pt x="193" y="177"/>
                  </a:lnTo>
                  <a:lnTo>
                    <a:pt x="200" y="170"/>
                  </a:lnTo>
                  <a:lnTo>
                    <a:pt x="217" y="156"/>
                  </a:lnTo>
                  <a:lnTo>
                    <a:pt x="231" y="150"/>
                  </a:lnTo>
                  <a:lnTo>
                    <a:pt x="273" y="141"/>
                  </a:lnTo>
                  <a:lnTo>
                    <a:pt x="283" y="140"/>
                  </a:lnTo>
                  <a:lnTo>
                    <a:pt x="307" y="135"/>
                  </a:lnTo>
                  <a:lnTo>
                    <a:pt x="315" y="132"/>
                  </a:lnTo>
                  <a:lnTo>
                    <a:pt x="321" y="129"/>
                  </a:lnTo>
                  <a:lnTo>
                    <a:pt x="327" y="121"/>
                  </a:lnTo>
                  <a:lnTo>
                    <a:pt x="333" y="105"/>
                  </a:lnTo>
                  <a:lnTo>
                    <a:pt x="342" y="92"/>
                  </a:lnTo>
                  <a:lnTo>
                    <a:pt x="343" y="87"/>
                  </a:lnTo>
                  <a:lnTo>
                    <a:pt x="343" y="82"/>
                  </a:lnTo>
                  <a:lnTo>
                    <a:pt x="342" y="77"/>
                  </a:lnTo>
                  <a:lnTo>
                    <a:pt x="337" y="69"/>
                  </a:lnTo>
                  <a:lnTo>
                    <a:pt x="337" y="64"/>
                  </a:lnTo>
                  <a:lnTo>
                    <a:pt x="341" y="54"/>
                  </a:lnTo>
                  <a:lnTo>
                    <a:pt x="345" y="49"/>
                  </a:lnTo>
                  <a:lnTo>
                    <a:pt x="350" y="45"/>
                  </a:lnTo>
                  <a:lnTo>
                    <a:pt x="363" y="36"/>
                  </a:lnTo>
                  <a:lnTo>
                    <a:pt x="371" y="29"/>
                  </a:lnTo>
                  <a:lnTo>
                    <a:pt x="376" y="20"/>
                  </a:lnTo>
                  <a:lnTo>
                    <a:pt x="380" y="16"/>
                  </a:lnTo>
                  <a:lnTo>
                    <a:pt x="385" y="11"/>
                  </a:lnTo>
                  <a:lnTo>
                    <a:pt x="401" y="5"/>
                  </a:lnTo>
                  <a:lnTo>
                    <a:pt x="438" y="0"/>
                  </a:lnTo>
                  <a:lnTo>
                    <a:pt x="446" y="1"/>
                  </a:lnTo>
                  <a:lnTo>
                    <a:pt x="453" y="7"/>
                  </a:lnTo>
                  <a:lnTo>
                    <a:pt x="462" y="17"/>
                  </a:lnTo>
                  <a:lnTo>
                    <a:pt x="466" y="26"/>
                  </a:lnTo>
                  <a:lnTo>
                    <a:pt x="463" y="30"/>
                  </a:lnTo>
                  <a:lnTo>
                    <a:pt x="455" y="35"/>
                  </a:lnTo>
                  <a:lnTo>
                    <a:pt x="450" y="37"/>
                  </a:lnTo>
                  <a:lnTo>
                    <a:pt x="442" y="42"/>
                  </a:lnTo>
                  <a:lnTo>
                    <a:pt x="442" y="52"/>
                  </a:lnTo>
                  <a:lnTo>
                    <a:pt x="445" y="67"/>
                  </a:lnTo>
                  <a:lnTo>
                    <a:pt x="448" y="71"/>
                  </a:lnTo>
                  <a:lnTo>
                    <a:pt x="455" y="72"/>
                  </a:lnTo>
                  <a:lnTo>
                    <a:pt x="465" y="70"/>
                  </a:lnTo>
                  <a:lnTo>
                    <a:pt x="477" y="61"/>
                  </a:lnTo>
                  <a:lnTo>
                    <a:pt x="488" y="50"/>
                  </a:lnTo>
                  <a:lnTo>
                    <a:pt x="492" y="45"/>
                  </a:lnTo>
                  <a:lnTo>
                    <a:pt x="503" y="37"/>
                  </a:lnTo>
                  <a:lnTo>
                    <a:pt x="527" y="39"/>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58" name="Soria" descr="{&quot;Key&quot;:&quot;soria&quot;,&quot;Name&quot;:&quot;Soria&quot;,&quot;Value&quot;:1.0,&quot;Formula&quot;:&quot;&quot;,&quot;Text&quot;:&quot;1&quot;,&quot;HasValue&quot;:true}">
              <a:extLst>
                <a:ext uri="{FF2B5EF4-FFF2-40B4-BE49-F238E27FC236}">
                  <a16:creationId xmlns:a16="http://schemas.microsoft.com/office/drawing/2014/main" id="{D272443F-9914-B0A5-9962-8CBC46C315D1}"/>
                </a:ext>
              </a:extLst>
            </p:cNvPr>
            <p:cNvSpPr>
              <a:spLocks/>
            </p:cNvSpPr>
            <p:nvPr/>
          </p:nvSpPr>
          <p:spPr bwMode="auto">
            <a:xfrm>
              <a:off x="3361109" y="2794165"/>
              <a:ext cx="671550" cy="552541"/>
            </a:xfrm>
            <a:custGeom>
              <a:avLst/>
              <a:gdLst>
                <a:gd name="T0" fmla="*/ 957 w 975"/>
                <a:gd name="T1" fmla="*/ 229 h 800"/>
                <a:gd name="T2" fmla="*/ 947 w 975"/>
                <a:gd name="T3" fmla="*/ 273 h 800"/>
                <a:gd name="T4" fmla="*/ 975 w 975"/>
                <a:gd name="T5" fmla="*/ 315 h 800"/>
                <a:gd name="T6" fmla="*/ 952 w 975"/>
                <a:gd name="T7" fmla="*/ 360 h 800"/>
                <a:gd name="T8" fmla="*/ 915 w 975"/>
                <a:gd name="T9" fmla="*/ 381 h 800"/>
                <a:gd name="T10" fmla="*/ 879 w 975"/>
                <a:gd name="T11" fmla="*/ 398 h 800"/>
                <a:gd name="T12" fmla="*/ 866 w 975"/>
                <a:gd name="T13" fmla="*/ 425 h 800"/>
                <a:gd name="T14" fmla="*/ 880 w 975"/>
                <a:gd name="T15" fmla="*/ 503 h 800"/>
                <a:gd name="T16" fmla="*/ 857 w 975"/>
                <a:gd name="T17" fmla="*/ 554 h 800"/>
                <a:gd name="T18" fmla="*/ 834 w 975"/>
                <a:gd name="T19" fmla="*/ 544 h 800"/>
                <a:gd name="T20" fmla="*/ 794 w 975"/>
                <a:gd name="T21" fmla="*/ 524 h 800"/>
                <a:gd name="T22" fmla="*/ 770 w 975"/>
                <a:gd name="T23" fmla="*/ 584 h 800"/>
                <a:gd name="T24" fmla="*/ 767 w 975"/>
                <a:gd name="T25" fmla="*/ 649 h 800"/>
                <a:gd name="T26" fmla="*/ 794 w 975"/>
                <a:gd name="T27" fmla="*/ 716 h 800"/>
                <a:gd name="T28" fmla="*/ 821 w 975"/>
                <a:gd name="T29" fmla="*/ 766 h 800"/>
                <a:gd name="T30" fmla="*/ 809 w 975"/>
                <a:gd name="T31" fmla="*/ 781 h 800"/>
                <a:gd name="T32" fmla="*/ 757 w 975"/>
                <a:gd name="T33" fmla="*/ 780 h 800"/>
                <a:gd name="T34" fmla="*/ 705 w 975"/>
                <a:gd name="T35" fmla="*/ 794 h 800"/>
                <a:gd name="T36" fmla="*/ 654 w 975"/>
                <a:gd name="T37" fmla="*/ 788 h 800"/>
                <a:gd name="T38" fmla="*/ 596 w 975"/>
                <a:gd name="T39" fmla="*/ 784 h 800"/>
                <a:gd name="T40" fmla="*/ 571 w 975"/>
                <a:gd name="T41" fmla="*/ 745 h 800"/>
                <a:gd name="T42" fmla="*/ 535 w 975"/>
                <a:gd name="T43" fmla="*/ 739 h 800"/>
                <a:gd name="T44" fmla="*/ 522 w 975"/>
                <a:gd name="T45" fmla="*/ 709 h 800"/>
                <a:gd name="T46" fmla="*/ 524 w 975"/>
                <a:gd name="T47" fmla="*/ 683 h 800"/>
                <a:gd name="T48" fmla="*/ 469 w 975"/>
                <a:gd name="T49" fmla="*/ 664 h 800"/>
                <a:gd name="T50" fmla="*/ 434 w 975"/>
                <a:gd name="T51" fmla="*/ 648 h 800"/>
                <a:gd name="T52" fmla="*/ 377 w 975"/>
                <a:gd name="T53" fmla="*/ 641 h 800"/>
                <a:gd name="T54" fmla="*/ 345 w 975"/>
                <a:gd name="T55" fmla="*/ 611 h 800"/>
                <a:gd name="T56" fmla="*/ 275 w 975"/>
                <a:gd name="T57" fmla="*/ 640 h 800"/>
                <a:gd name="T58" fmla="*/ 115 w 975"/>
                <a:gd name="T59" fmla="*/ 516 h 800"/>
                <a:gd name="T60" fmla="*/ 66 w 975"/>
                <a:gd name="T61" fmla="*/ 469 h 800"/>
                <a:gd name="T62" fmla="*/ 34 w 975"/>
                <a:gd name="T63" fmla="*/ 461 h 800"/>
                <a:gd name="T64" fmla="*/ 1 w 975"/>
                <a:gd name="T65" fmla="*/ 402 h 800"/>
                <a:gd name="T66" fmla="*/ 105 w 975"/>
                <a:gd name="T67" fmla="*/ 301 h 800"/>
                <a:gd name="T68" fmla="*/ 151 w 975"/>
                <a:gd name="T69" fmla="*/ 206 h 800"/>
                <a:gd name="T70" fmla="*/ 206 w 975"/>
                <a:gd name="T71" fmla="*/ 260 h 800"/>
                <a:gd name="T72" fmla="*/ 306 w 975"/>
                <a:gd name="T73" fmla="*/ 159 h 800"/>
                <a:gd name="T74" fmla="*/ 351 w 975"/>
                <a:gd name="T75" fmla="*/ 89 h 800"/>
                <a:gd name="T76" fmla="*/ 414 w 975"/>
                <a:gd name="T77" fmla="*/ 59 h 800"/>
                <a:gd name="T78" fmla="*/ 434 w 975"/>
                <a:gd name="T79" fmla="*/ 17 h 800"/>
                <a:gd name="T80" fmla="*/ 459 w 975"/>
                <a:gd name="T81" fmla="*/ 46 h 800"/>
                <a:gd name="T82" fmla="*/ 451 w 975"/>
                <a:gd name="T83" fmla="*/ 94 h 800"/>
                <a:gd name="T84" fmla="*/ 492 w 975"/>
                <a:gd name="T85" fmla="*/ 105 h 800"/>
                <a:gd name="T86" fmla="*/ 552 w 975"/>
                <a:gd name="T87" fmla="*/ 77 h 800"/>
                <a:gd name="T88" fmla="*/ 572 w 975"/>
                <a:gd name="T89" fmla="*/ 27 h 800"/>
                <a:gd name="T90" fmla="*/ 614 w 975"/>
                <a:gd name="T91" fmla="*/ 7 h 800"/>
                <a:gd name="T92" fmla="*/ 702 w 975"/>
                <a:gd name="T93" fmla="*/ 19 h 800"/>
                <a:gd name="T94" fmla="*/ 751 w 975"/>
                <a:gd name="T95" fmla="*/ 29 h 800"/>
                <a:gd name="T96" fmla="*/ 787 w 975"/>
                <a:gd name="T97" fmla="*/ 44 h 800"/>
                <a:gd name="T98" fmla="*/ 772 w 975"/>
                <a:gd name="T99" fmla="*/ 68 h 800"/>
                <a:gd name="T100" fmla="*/ 792 w 975"/>
                <a:gd name="T101" fmla="*/ 113 h 800"/>
                <a:gd name="T102" fmla="*/ 834 w 975"/>
                <a:gd name="T103" fmla="*/ 149 h 800"/>
                <a:gd name="T104" fmla="*/ 894 w 975"/>
                <a:gd name="T105" fmla="*/ 16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75" h="800">
                  <a:moveTo>
                    <a:pt x="935" y="140"/>
                  </a:moveTo>
                  <a:lnTo>
                    <a:pt x="938" y="176"/>
                  </a:lnTo>
                  <a:lnTo>
                    <a:pt x="946" y="200"/>
                  </a:lnTo>
                  <a:lnTo>
                    <a:pt x="957" y="216"/>
                  </a:lnTo>
                  <a:lnTo>
                    <a:pt x="957" y="223"/>
                  </a:lnTo>
                  <a:lnTo>
                    <a:pt x="957" y="229"/>
                  </a:lnTo>
                  <a:lnTo>
                    <a:pt x="952" y="240"/>
                  </a:lnTo>
                  <a:lnTo>
                    <a:pt x="949" y="245"/>
                  </a:lnTo>
                  <a:lnTo>
                    <a:pt x="942" y="255"/>
                  </a:lnTo>
                  <a:lnTo>
                    <a:pt x="941" y="263"/>
                  </a:lnTo>
                  <a:lnTo>
                    <a:pt x="944" y="268"/>
                  </a:lnTo>
                  <a:lnTo>
                    <a:pt x="947" y="273"/>
                  </a:lnTo>
                  <a:lnTo>
                    <a:pt x="956" y="286"/>
                  </a:lnTo>
                  <a:lnTo>
                    <a:pt x="961" y="296"/>
                  </a:lnTo>
                  <a:lnTo>
                    <a:pt x="962" y="301"/>
                  </a:lnTo>
                  <a:lnTo>
                    <a:pt x="965" y="306"/>
                  </a:lnTo>
                  <a:lnTo>
                    <a:pt x="969" y="308"/>
                  </a:lnTo>
                  <a:lnTo>
                    <a:pt x="975" y="315"/>
                  </a:lnTo>
                  <a:lnTo>
                    <a:pt x="974" y="325"/>
                  </a:lnTo>
                  <a:lnTo>
                    <a:pt x="971" y="331"/>
                  </a:lnTo>
                  <a:lnTo>
                    <a:pt x="967" y="339"/>
                  </a:lnTo>
                  <a:lnTo>
                    <a:pt x="962" y="351"/>
                  </a:lnTo>
                  <a:lnTo>
                    <a:pt x="957" y="358"/>
                  </a:lnTo>
                  <a:lnTo>
                    <a:pt x="952" y="360"/>
                  </a:lnTo>
                  <a:lnTo>
                    <a:pt x="947" y="360"/>
                  </a:lnTo>
                  <a:lnTo>
                    <a:pt x="942" y="361"/>
                  </a:lnTo>
                  <a:lnTo>
                    <a:pt x="936" y="365"/>
                  </a:lnTo>
                  <a:lnTo>
                    <a:pt x="930" y="371"/>
                  </a:lnTo>
                  <a:lnTo>
                    <a:pt x="925" y="376"/>
                  </a:lnTo>
                  <a:lnTo>
                    <a:pt x="915" y="381"/>
                  </a:lnTo>
                  <a:lnTo>
                    <a:pt x="905" y="394"/>
                  </a:lnTo>
                  <a:lnTo>
                    <a:pt x="901" y="399"/>
                  </a:lnTo>
                  <a:lnTo>
                    <a:pt x="899" y="401"/>
                  </a:lnTo>
                  <a:lnTo>
                    <a:pt x="894" y="403"/>
                  </a:lnTo>
                  <a:lnTo>
                    <a:pt x="884" y="399"/>
                  </a:lnTo>
                  <a:lnTo>
                    <a:pt x="879" y="398"/>
                  </a:lnTo>
                  <a:lnTo>
                    <a:pt x="872" y="398"/>
                  </a:lnTo>
                  <a:lnTo>
                    <a:pt x="866" y="403"/>
                  </a:lnTo>
                  <a:lnTo>
                    <a:pt x="862" y="408"/>
                  </a:lnTo>
                  <a:lnTo>
                    <a:pt x="861" y="413"/>
                  </a:lnTo>
                  <a:lnTo>
                    <a:pt x="862" y="423"/>
                  </a:lnTo>
                  <a:lnTo>
                    <a:pt x="866" y="425"/>
                  </a:lnTo>
                  <a:lnTo>
                    <a:pt x="869" y="446"/>
                  </a:lnTo>
                  <a:lnTo>
                    <a:pt x="867" y="473"/>
                  </a:lnTo>
                  <a:lnTo>
                    <a:pt x="870" y="484"/>
                  </a:lnTo>
                  <a:lnTo>
                    <a:pt x="872" y="493"/>
                  </a:lnTo>
                  <a:lnTo>
                    <a:pt x="877" y="498"/>
                  </a:lnTo>
                  <a:lnTo>
                    <a:pt x="880" y="503"/>
                  </a:lnTo>
                  <a:lnTo>
                    <a:pt x="882" y="509"/>
                  </a:lnTo>
                  <a:lnTo>
                    <a:pt x="886" y="540"/>
                  </a:lnTo>
                  <a:lnTo>
                    <a:pt x="882" y="544"/>
                  </a:lnTo>
                  <a:lnTo>
                    <a:pt x="877" y="545"/>
                  </a:lnTo>
                  <a:lnTo>
                    <a:pt x="867" y="549"/>
                  </a:lnTo>
                  <a:lnTo>
                    <a:pt x="857" y="554"/>
                  </a:lnTo>
                  <a:lnTo>
                    <a:pt x="847" y="561"/>
                  </a:lnTo>
                  <a:lnTo>
                    <a:pt x="844" y="563"/>
                  </a:lnTo>
                  <a:lnTo>
                    <a:pt x="839" y="563"/>
                  </a:lnTo>
                  <a:lnTo>
                    <a:pt x="835" y="560"/>
                  </a:lnTo>
                  <a:lnTo>
                    <a:pt x="834" y="556"/>
                  </a:lnTo>
                  <a:lnTo>
                    <a:pt x="834" y="544"/>
                  </a:lnTo>
                  <a:lnTo>
                    <a:pt x="834" y="534"/>
                  </a:lnTo>
                  <a:lnTo>
                    <a:pt x="831" y="529"/>
                  </a:lnTo>
                  <a:lnTo>
                    <a:pt x="827" y="526"/>
                  </a:lnTo>
                  <a:lnTo>
                    <a:pt x="817" y="523"/>
                  </a:lnTo>
                  <a:lnTo>
                    <a:pt x="800" y="520"/>
                  </a:lnTo>
                  <a:lnTo>
                    <a:pt x="794" y="524"/>
                  </a:lnTo>
                  <a:lnTo>
                    <a:pt x="791" y="529"/>
                  </a:lnTo>
                  <a:lnTo>
                    <a:pt x="790" y="534"/>
                  </a:lnTo>
                  <a:lnTo>
                    <a:pt x="787" y="553"/>
                  </a:lnTo>
                  <a:lnTo>
                    <a:pt x="785" y="569"/>
                  </a:lnTo>
                  <a:lnTo>
                    <a:pt x="779" y="580"/>
                  </a:lnTo>
                  <a:lnTo>
                    <a:pt x="770" y="584"/>
                  </a:lnTo>
                  <a:lnTo>
                    <a:pt x="767" y="586"/>
                  </a:lnTo>
                  <a:lnTo>
                    <a:pt x="764" y="591"/>
                  </a:lnTo>
                  <a:lnTo>
                    <a:pt x="760" y="605"/>
                  </a:lnTo>
                  <a:lnTo>
                    <a:pt x="760" y="630"/>
                  </a:lnTo>
                  <a:lnTo>
                    <a:pt x="766" y="644"/>
                  </a:lnTo>
                  <a:lnTo>
                    <a:pt x="767" y="649"/>
                  </a:lnTo>
                  <a:lnTo>
                    <a:pt x="772" y="676"/>
                  </a:lnTo>
                  <a:lnTo>
                    <a:pt x="774" y="704"/>
                  </a:lnTo>
                  <a:lnTo>
                    <a:pt x="775" y="710"/>
                  </a:lnTo>
                  <a:lnTo>
                    <a:pt x="779" y="714"/>
                  </a:lnTo>
                  <a:lnTo>
                    <a:pt x="784" y="715"/>
                  </a:lnTo>
                  <a:lnTo>
                    <a:pt x="794" y="716"/>
                  </a:lnTo>
                  <a:lnTo>
                    <a:pt x="800" y="716"/>
                  </a:lnTo>
                  <a:lnTo>
                    <a:pt x="810" y="720"/>
                  </a:lnTo>
                  <a:lnTo>
                    <a:pt x="821" y="730"/>
                  </a:lnTo>
                  <a:lnTo>
                    <a:pt x="826" y="736"/>
                  </a:lnTo>
                  <a:lnTo>
                    <a:pt x="826" y="748"/>
                  </a:lnTo>
                  <a:lnTo>
                    <a:pt x="821" y="766"/>
                  </a:lnTo>
                  <a:lnTo>
                    <a:pt x="822" y="780"/>
                  </a:lnTo>
                  <a:lnTo>
                    <a:pt x="824" y="784"/>
                  </a:lnTo>
                  <a:lnTo>
                    <a:pt x="822" y="789"/>
                  </a:lnTo>
                  <a:lnTo>
                    <a:pt x="820" y="790"/>
                  </a:lnTo>
                  <a:lnTo>
                    <a:pt x="815" y="789"/>
                  </a:lnTo>
                  <a:lnTo>
                    <a:pt x="809" y="781"/>
                  </a:lnTo>
                  <a:lnTo>
                    <a:pt x="805" y="778"/>
                  </a:lnTo>
                  <a:lnTo>
                    <a:pt x="791" y="769"/>
                  </a:lnTo>
                  <a:lnTo>
                    <a:pt x="784" y="761"/>
                  </a:lnTo>
                  <a:lnTo>
                    <a:pt x="780" y="760"/>
                  </a:lnTo>
                  <a:lnTo>
                    <a:pt x="775" y="763"/>
                  </a:lnTo>
                  <a:lnTo>
                    <a:pt x="757" y="780"/>
                  </a:lnTo>
                  <a:lnTo>
                    <a:pt x="747" y="781"/>
                  </a:lnTo>
                  <a:lnTo>
                    <a:pt x="735" y="780"/>
                  </a:lnTo>
                  <a:lnTo>
                    <a:pt x="725" y="781"/>
                  </a:lnTo>
                  <a:lnTo>
                    <a:pt x="717" y="785"/>
                  </a:lnTo>
                  <a:lnTo>
                    <a:pt x="711" y="791"/>
                  </a:lnTo>
                  <a:lnTo>
                    <a:pt x="705" y="794"/>
                  </a:lnTo>
                  <a:lnTo>
                    <a:pt x="696" y="798"/>
                  </a:lnTo>
                  <a:lnTo>
                    <a:pt x="682" y="800"/>
                  </a:lnTo>
                  <a:lnTo>
                    <a:pt x="675" y="799"/>
                  </a:lnTo>
                  <a:lnTo>
                    <a:pt x="665" y="793"/>
                  </a:lnTo>
                  <a:lnTo>
                    <a:pt x="660" y="790"/>
                  </a:lnTo>
                  <a:lnTo>
                    <a:pt x="654" y="788"/>
                  </a:lnTo>
                  <a:lnTo>
                    <a:pt x="647" y="790"/>
                  </a:lnTo>
                  <a:lnTo>
                    <a:pt x="629" y="799"/>
                  </a:lnTo>
                  <a:lnTo>
                    <a:pt x="621" y="799"/>
                  </a:lnTo>
                  <a:lnTo>
                    <a:pt x="606" y="793"/>
                  </a:lnTo>
                  <a:lnTo>
                    <a:pt x="601" y="788"/>
                  </a:lnTo>
                  <a:lnTo>
                    <a:pt x="596" y="784"/>
                  </a:lnTo>
                  <a:lnTo>
                    <a:pt x="594" y="778"/>
                  </a:lnTo>
                  <a:lnTo>
                    <a:pt x="591" y="768"/>
                  </a:lnTo>
                  <a:lnTo>
                    <a:pt x="589" y="763"/>
                  </a:lnTo>
                  <a:lnTo>
                    <a:pt x="575" y="755"/>
                  </a:lnTo>
                  <a:lnTo>
                    <a:pt x="572" y="749"/>
                  </a:lnTo>
                  <a:lnTo>
                    <a:pt x="571" y="745"/>
                  </a:lnTo>
                  <a:lnTo>
                    <a:pt x="566" y="735"/>
                  </a:lnTo>
                  <a:lnTo>
                    <a:pt x="561" y="731"/>
                  </a:lnTo>
                  <a:lnTo>
                    <a:pt x="556" y="733"/>
                  </a:lnTo>
                  <a:lnTo>
                    <a:pt x="550" y="736"/>
                  </a:lnTo>
                  <a:lnTo>
                    <a:pt x="541" y="740"/>
                  </a:lnTo>
                  <a:lnTo>
                    <a:pt x="535" y="739"/>
                  </a:lnTo>
                  <a:lnTo>
                    <a:pt x="531" y="736"/>
                  </a:lnTo>
                  <a:lnTo>
                    <a:pt x="530" y="733"/>
                  </a:lnTo>
                  <a:lnTo>
                    <a:pt x="534" y="725"/>
                  </a:lnTo>
                  <a:lnTo>
                    <a:pt x="535" y="720"/>
                  </a:lnTo>
                  <a:lnTo>
                    <a:pt x="531" y="715"/>
                  </a:lnTo>
                  <a:lnTo>
                    <a:pt x="522" y="709"/>
                  </a:lnTo>
                  <a:lnTo>
                    <a:pt x="517" y="706"/>
                  </a:lnTo>
                  <a:lnTo>
                    <a:pt x="519" y="703"/>
                  </a:lnTo>
                  <a:lnTo>
                    <a:pt x="527" y="696"/>
                  </a:lnTo>
                  <a:lnTo>
                    <a:pt x="531" y="688"/>
                  </a:lnTo>
                  <a:lnTo>
                    <a:pt x="527" y="684"/>
                  </a:lnTo>
                  <a:lnTo>
                    <a:pt x="524" y="683"/>
                  </a:lnTo>
                  <a:lnTo>
                    <a:pt x="514" y="685"/>
                  </a:lnTo>
                  <a:lnTo>
                    <a:pt x="509" y="683"/>
                  </a:lnTo>
                  <a:lnTo>
                    <a:pt x="501" y="674"/>
                  </a:lnTo>
                  <a:lnTo>
                    <a:pt x="492" y="669"/>
                  </a:lnTo>
                  <a:lnTo>
                    <a:pt x="479" y="668"/>
                  </a:lnTo>
                  <a:lnTo>
                    <a:pt x="469" y="664"/>
                  </a:lnTo>
                  <a:lnTo>
                    <a:pt x="462" y="661"/>
                  </a:lnTo>
                  <a:lnTo>
                    <a:pt x="456" y="651"/>
                  </a:lnTo>
                  <a:lnTo>
                    <a:pt x="452" y="646"/>
                  </a:lnTo>
                  <a:lnTo>
                    <a:pt x="445" y="645"/>
                  </a:lnTo>
                  <a:lnTo>
                    <a:pt x="439" y="645"/>
                  </a:lnTo>
                  <a:lnTo>
                    <a:pt x="434" y="648"/>
                  </a:lnTo>
                  <a:lnTo>
                    <a:pt x="429" y="651"/>
                  </a:lnTo>
                  <a:lnTo>
                    <a:pt x="422" y="655"/>
                  </a:lnTo>
                  <a:lnTo>
                    <a:pt x="409" y="655"/>
                  </a:lnTo>
                  <a:lnTo>
                    <a:pt x="387" y="650"/>
                  </a:lnTo>
                  <a:lnTo>
                    <a:pt x="381" y="646"/>
                  </a:lnTo>
                  <a:lnTo>
                    <a:pt x="377" y="641"/>
                  </a:lnTo>
                  <a:lnTo>
                    <a:pt x="374" y="631"/>
                  </a:lnTo>
                  <a:lnTo>
                    <a:pt x="371" y="620"/>
                  </a:lnTo>
                  <a:lnTo>
                    <a:pt x="369" y="615"/>
                  </a:lnTo>
                  <a:lnTo>
                    <a:pt x="359" y="610"/>
                  </a:lnTo>
                  <a:lnTo>
                    <a:pt x="351" y="609"/>
                  </a:lnTo>
                  <a:lnTo>
                    <a:pt x="345" y="611"/>
                  </a:lnTo>
                  <a:lnTo>
                    <a:pt x="340" y="614"/>
                  </a:lnTo>
                  <a:lnTo>
                    <a:pt x="334" y="621"/>
                  </a:lnTo>
                  <a:lnTo>
                    <a:pt x="332" y="626"/>
                  </a:lnTo>
                  <a:lnTo>
                    <a:pt x="324" y="632"/>
                  </a:lnTo>
                  <a:lnTo>
                    <a:pt x="311" y="635"/>
                  </a:lnTo>
                  <a:lnTo>
                    <a:pt x="275" y="640"/>
                  </a:lnTo>
                  <a:lnTo>
                    <a:pt x="255" y="640"/>
                  </a:lnTo>
                  <a:lnTo>
                    <a:pt x="191" y="625"/>
                  </a:lnTo>
                  <a:lnTo>
                    <a:pt x="117" y="569"/>
                  </a:lnTo>
                  <a:lnTo>
                    <a:pt x="111" y="561"/>
                  </a:lnTo>
                  <a:lnTo>
                    <a:pt x="110" y="548"/>
                  </a:lnTo>
                  <a:lnTo>
                    <a:pt x="115" y="516"/>
                  </a:lnTo>
                  <a:lnTo>
                    <a:pt x="112" y="510"/>
                  </a:lnTo>
                  <a:lnTo>
                    <a:pt x="109" y="506"/>
                  </a:lnTo>
                  <a:lnTo>
                    <a:pt x="90" y="504"/>
                  </a:lnTo>
                  <a:lnTo>
                    <a:pt x="71" y="493"/>
                  </a:lnTo>
                  <a:lnTo>
                    <a:pt x="67" y="486"/>
                  </a:lnTo>
                  <a:lnTo>
                    <a:pt x="66" y="469"/>
                  </a:lnTo>
                  <a:lnTo>
                    <a:pt x="65" y="465"/>
                  </a:lnTo>
                  <a:lnTo>
                    <a:pt x="59" y="460"/>
                  </a:lnTo>
                  <a:lnTo>
                    <a:pt x="52" y="456"/>
                  </a:lnTo>
                  <a:lnTo>
                    <a:pt x="49" y="455"/>
                  </a:lnTo>
                  <a:lnTo>
                    <a:pt x="39" y="460"/>
                  </a:lnTo>
                  <a:lnTo>
                    <a:pt x="34" y="461"/>
                  </a:lnTo>
                  <a:lnTo>
                    <a:pt x="11" y="447"/>
                  </a:lnTo>
                  <a:lnTo>
                    <a:pt x="6" y="442"/>
                  </a:lnTo>
                  <a:lnTo>
                    <a:pt x="4" y="436"/>
                  </a:lnTo>
                  <a:lnTo>
                    <a:pt x="1" y="420"/>
                  </a:lnTo>
                  <a:lnTo>
                    <a:pt x="0" y="409"/>
                  </a:lnTo>
                  <a:lnTo>
                    <a:pt x="1" y="402"/>
                  </a:lnTo>
                  <a:lnTo>
                    <a:pt x="5" y="399"/>
                  </a:lnTo>
                  <a:lnTo>
                    <a:pt x="9" y="397"/>
                  </a:lnTo>
                  <a:lnTo>
                    <a:pt x="46" y="411"/>
                  </a:lnTo>
                  <a:lnTo>
                    <a:pt x="84" y="336"/>
                  </a:lnTo>
                  <a:lnTo>
                    <a:pt x="102" y="334"/>
                  </a:lnTo>
                  <a:lnTo>
                    <a:pt x="105" y="301"/>
                  </a:lnTo>
                  <a:lnTo>
                    <a:pt x="124" y="296"/>
                  </a:lnTo>
                  <a:lnTo>
                    <a:pt x="145" y="281"/>
                  </a:lnTo>
                  <a:lnTo>
                    <a:pt x="147" y="276"/>
                  </a:lnTo>
                  <a:lnTo>
                    <a:pt x="142" y="230"/>
                  </a:lnTo>
                  <a:lnTo>
                    <a:pt x="142" y="214"/>
                  </a:lnTo>
                  <a:lnTo>
                    <a:pt x="151" y="206"/>
                  </a:lnTo>
                  <a:lnTo>
                    <a:pt x="161" y="207"/>
                  </a:lnTo>
                  <a:lnTo>
                    <a:pt x="170" y="219"/>
                  </a:lnTo>
                  <a:lnTo>
                    <a:pt x="175" y="225"/>
                  </a:lnTo>
                  <a:lnTo>
                    <a:pt x="190" y="231"/>
                  </a:lnTo>
                  <a:lnTo>
                    <a:pt x="194" y="235"/>
                  </a:lnTo>
                  <a:lnTo>
                    <a:pt x="206" y="260"/>
                  </a:lnTo>
                  <a:lnTo>
                    <a:pt x="260" y="192"/>
                  </a:lnTo>
                  <a:lnTo>
                    <a:pt x="276" y="189"/>
                  </a:lnTo>
                  <a:lnTo>
                    <a:pt x="292" y="190"/>
                  </a:lnTo>
                  <a:lnTo>
                    <a:pt x="300" y="165"/>
                  </a:lnTo>
                  <a:lnTo>
                    <a:pt x="302" y="161"/>
                  </a:lnTo>
                  <a:lnTo>
                    <a:pt x="306" y="159"/>
                  </a:lnTo>
                  <a:lnTo>
                    <a:pt x="311" y="159"/>
                  </a:lnTo>
                  <a:lnTo>
                    <a:pt x="316" y="157"/>
                  </a:lnTo>
                  <a:lnTo>
                    <a:pt x="319" y="151"/>
                  </a:lnTo>
                  <a:lnTo>
                    <a:pt x="321" y="134"/>
                  </a:lnTo>
                  <a:lnTo>
                    <a:pt x="339" y="92"/>
                  </a:lnTo>
                  <a:lnTo>
                    <a:pt x="351" y="89"/>
                  </a:lnTo>
                  <a:lnTo>
                    <a:pt x="372" y="95"/>
                  </a:lnTo>
                  <a:lnTo>
                    <a:pt x="390" y="87"/>
                  </a:lnTo>
                  <a:lnTo>
                    <a:pt x="405" y="77"/>
                  </a:lnTo>
                  <a:lnTo>
                    <a:pt x="411" y="70"/>
                  </a:lnTo>
                  <a:lnTo>
                    <a:pt x="415" y="64"/>
                  </a:lnTo>
                  <a:lnTo>
                    <a:pt x="414" y="59"/>
                  </a:lnTo>
                  <a:lnTo>
                    <a:pt x="414" y="52"/>
                  </a:lnTo>
                  <a:lnTo>
                    <a:pt x="415" y="42"/>
                  </a:lnTo>
                  <a:lnTo>
                    <a:pt x="417" y="36"/>
                  </a:lnTo>
                  <a:lnTo>
                    <a:pt x="420" y="30"/>
                  </a:lnTo>
                  <a:lnTo>
                    <a:pt x="426" y="22"/>
                  </a:lnTo>
                  <a:lnTo>
                    <a:pt x="434" y="17"/>
                  </a:lnTo>
                  <a:lnTo>
                    <a:pt x="449" y="16"/>
                  </a:lnTo>
                  <a:lnTo>
                    <a:pt x="454" y="17"/>
                  </a:lnTo>
                  <a:lnTo>
                    <a:pt x="459" y="20"/>
                  </a:lnTo>
                  <a:lnTo>
                    <a:pt x="460" y="25"/>
                  </a:lnTo>
                  <a:lnTo>
                    <a:pt x="461" y="36"/>
                  </a:lnTo>
                  <a:lnTo>
                    <a:pt x="459" y="46"/>
                  </a:lnTo>
                  <a:lnTo>
                    <a:pt x="456" y="51"/>
                  </a:lnTo>
                  <a:lnTo>
                    <a:pt x="449" y="57"/>
                  </a:lnTo>
                  <a:lnTo>
                    <a:pt x="441" y="79"/>
                  </a:lnTo>
                  <a:lnTo>
                    <a:pt x="441" y="85"/>
                  </a:lnTo>
                  <a:lnTo>
                    <a:pt x="444" y="89"/>
                  </a:lnTo>
                  <a:lnTo>
                    <a:pt x="451" y="94"/>
                  </a:lnTo>
                  <a:lnTo>
                    <a:pt x="460" y="94"/>
                  </a:lnTo>
                  <a:lnTo>
                    <a:pt x="467" y="95"/>
                  </a:lnTo>
                  <a:lnTo>
                    <a:pt x="472" y="97"/>
                  </a:lnTo>
                  <a:lnTo>
                    <a:pt x="484" y="105"/>
                  </a:lnTo>
                  <a:lnTo>
                    <a:pt x="490" y="106"/>
                  </a:lnTo>
                  <a:lnTo>
                    <a:pt x="492" y="105"/>
                  </a:lnTo>
                  <a:lnTo>
                    <a:pt x="512" y="104"/>
                  </a:lnTo>
                  <a:lnTo>
                    <a:pt x="529" y="106"/>
                  </a:lnTo>
                  <a:lnTo>
                    <a:pt x="539" y="106"/>
                  </a:lnTo>
                  <a:lnTo>
                    <a:pt x="541" y="99"/>
                  </a:lnTo>
                  <a:lnTo>
                    <a:pt x="547" y="89"/>
                  </a:lnTo>
                  <a:lnTo>
                    <a:pt x="552" y="77"/>
                  </a:lnTo>
                  <a:lnTo>
                    <a:pt x="555" y="71"/>
                  </a:lnTo>
                  <a:lnTo>
                    <a:pt x="559" y="66"/>
                  </a:lnTo>
                  <a:lnTo>
                    <a:pt x="567" y="59"/>
                  </a:lnTo>
                  <a:lnTo>
                    <a:pt x="570" y="55"/>
                  </a:lnTo>
                  <a:lnTo>
                    <a:pt x="571" y="44"/>
                  </a:lnTo>
                  <a:lnTo>
                    <a:pt x="572" y="27"/>
                  </a:lnTo>
                  <a:lnTo>
                    <a:pt x="574" y="24"/>
                  </a:lnTo>
                  <a:lnTo>
                    <a:pt x="577" y="22"/>
                  </a:lnTo>
                  <a:lnTo>
                    <a:pt x="589" y="25"/>
                  </a:lnTo>
                  <a:lnTo>
                    <a:pt x="594" y="22"/>
                  </a:lnTo>
                  <a:lnTo>
                    <a:pt x="606" y="14"/>
                  </a:lnTo>
                  <a:lnTo>
                    <a:pt x="614" y="7"/>
                  </a:lnTo>
                  <a:lnTo>
                    <a:pt x="629" y="2"/>
                  </a:lnTo>
                  <a:lnTo>
                    <a:pt x="664" y="0"/>
                  </a:lnTo>
                  <a:lnTo>
                    <a:pt x="691" y="2"/>
                  </a:lnTo>
                  <a:lnTo>
                    <a:pt x="697" y="6"/>
                  </a:lnTo>
                  <a:lnTo>
                    <a:pt x="700" y="9"/>
                  </a:lnTo>
                  <a:lnTo>
                    <a:pt x="702" y="19"/>
                  </a:lnTo>
                  <a:lnTo>
                    <a:pt x="702" y="24"/>
                  </a:lnTo>
                  <a:lnTo>
                    <a:pt x="705" y="30"/>
                  </a:lnTo>
                  <a:lnTo>
                    <a:pt x="709" y="35"/>
                  </a:lnTo>
                  <a:lnTo>
                    <a:pt x="714" y="39"/>
                  </a:lnTo>
                  <a:lnTo>
                    <a:pt x="720" y="39"/>
                  </a:lnTo>
                  <a:lnTo>
                    <a:pt x="751" y="29"/>
                  </a:lnTo>
                  <a:lnTo>
                    <a:pt x="761" y="27"/>
                  </a:lnTo>
                  <a:lnTo>
                    <a:pt x="771" y="27"/>
                  </a:lnTo>
                  <a:lnTo>
                    <a:pt x="780" y="30"/>
                  </a:lnTo>
                  <a:lnTo>
                    <a:pt x="785" y="34"/>
                  </a:lnTo>
                  <a:lnTo>
                    <a:pt x="787" y="39"/>
                  </a:lnTo>
                  <a:lnTo>
                    <a:pt x="787" y="44"/>
                  </a:lnTo>
                  <a:lnTo>
                    <a:pt x="785" y="47"/>
                  </a:lnTo>
                  <a:lnTo>
                    <a:pt x="781" y="51"/>
                  </a:lnTo>
                  <a:lnTo>
                    <a:pt x="776" y="54"/>
                  </a:lnTo>
                  <a:lnTo>
                    <a:pt x="774" y="57"/>
                  </a:lnTo>
                  <a:lnTo>
                    <a:pt x="772" y="62"/>
                  </a:lnTo>
                  <a:lnTo>
                    <a:pt x="772" y="68"/>
                  </a:lnTo>
                  <a:lnTo>
                    <a:pt x="775" y="74"/>
                  </a:lnTo>
                  <a:lnTo>
                    <a:pt x="777" y="79"/>
                  </a:lnTo>
                  <a:lnTo>
                    <a:pt x="791" y="90"/>
                  </a:lnTo>
                  <a:lnTo>
                    <a:pt x="796" y="99"/>
                  </a:lnTo>
                  <a:lnTo>
                    <a:pt x="797" y="106"/>
                  </a:lnTo>
                  <a:lnTo>
                    <a:pt x="792" y="113"/>
                  </a:lnTo>
                  <a:lnTo>
                    <a:pt x="791" y="118"/>
                  </a:lnTo>
                  <a:lnTo>
                    <a:pt x="791" y="123"/>
                  </a:lnTo>
                  <a:lnTo>
                    <a:pt x="795" y="134"/>
                  </a:lnTo>
                  <a:lnTo>
                    <a:pt x="797" y="138"/>
                  </a:lnTo>
                  <a:lnTo>
                    <a:pt x="802" y="141"/>
                  </a:lnTo>
                  <a:lnTo>
                    <a:pt x="834" y="149"/>
                  </a:lnTo>
                  <a:lnTo>
                    <a:pt x="842" y="150"/>
                  </a:lnTo>
                  <a:lnTo>
                    <a:pt x="856" y="155"/>
                  </a:lnTo>
                  <a:lnTo>
                    <a:pt x="867" y="165"/>
                  </a:lnTo>
                  <a:lnTo>
                    <a:pt x="874" y="166"/>
                  </a:lnTo>
                  <a:lnTo>
                    <a:pt x="887" y="165"/>
                  </a:lnTo>
                  <a:lnTo>
                    <a:pt x="894" y="164"/>
                  </a:lnTo>
                  <a:lnTo>
                    <a:pt x="899" y="161"/>
                  </a:lnTo>
                  <a:lnTo>
                    <a:pt x="909" y="155"/>
                  </a:lnTo>
                  <a:lnTo>
                    <a:pt x="914" y="151"/>
                  </a:lnTo>
                  <a:lnTo>
                    <a:pt x="935" y="14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59" name="Tarragona" descr="{&quot;Key&quot;:&quot;tarragona&quot;,&quot;Name&quot;:&quot;Tarragona&quot;,&quot;Value&quot;:1.0,&quot;Formula&quot;:&quot;&quot;,&quot;Text&quot;:&quot;1&quot;,&quot;HasValue&quot;:true}">
              <a:extLst>
                <a:ext uri="{FF2B5EF4-FFF2-40B4-BE49-F238E27FC236}">
                  <a16:creationId xmlns:a16="http://schemas.microsoft.com/office/drawing/2014/main" id="{F9FE286A-3D5C-C586-C810-C04405D56017}"/>
                </a:ext>
              </a:extLst>
            </p:cNvPr>
            <p:cNvSpPr>
              <a:spLocks/>
            </p:cNvSpPr>
            <p:nvPr/>
          </p:nvSpPr>
          <p:spPr bwMode="auto">
            <a:xfrm>
              <a:off x="4779297" y="3084604"/>
              <a:ext cx="558208" cy="534123"/>
            </a:xfrm>
            <a:custGeom>
              <a:avLst/>
              <a:gdLst>
                <a:gd name="T0" fmla="*/ 583 w 810"/>
                <a:gd name="T1" fmla="*/ 349 h 773"/>
                <a:gd name="T2" fmla="*/ 564 w 810"/>
                <a:gd name="T3" fmla="*/ 380 h 773"/>
                <a:gd name="T4" fmla="*/ 515 w 810"/>
                <a:gd name="T5" fmla="*/ 374 h 773"/>
                <a:gd name="T6" fmla="*/ 394 w 810"/>
                <a:gd name="T7" fmla="*/ 459 h 773"/>
                <a:gd name="T8" fmla="*/ 308 w 810"/>
                <a:gd name="T9" fmla="*/ 592 h 773"/>
                <a:gd name="T10" fmla="*/ 330 w 810"/>
                <a:gd name="T11" fmla="*/ 589 h 773"/>
                <a:gd name="T12" fmla="*/ 347 w 810"/>
                <a:gd name="T13" fmla="*/ 594 h 773"/>
                <a:gd name="T14" fmla="*/ 392 w 810"/>
                <a:gd name="T15" fmla="*/ 625 h 773"/>
                <a:gd name="T16" fmla="*/ 342 w 810"/>
                <a:gd name="T17" fmla="*/ 674 h 773"/>
                <a:gd name="T18" fmla="*/ 267 w 810"/>
                <a:gd name="T19" fmla="*/ 750 h 773"/>
                <a:gd name="T20" fmla="*/ 275 w 810"/>
                <a:gd name="T21" fmla="*/ 738 h 773"/>
                <a:gd name="T22" fmla="*/ 285 w 810"/>
                <a:gd name="T23" fmla="*/ 694 h 773"/>
                <a:gd name="T24" fmla="*/ 212 w 810"/>
                <a:gd name="T25" fmla="*/ 739 h 773"/>
                <a:gd name="T26" fmla="*/ 155 w 810"/>
                <a:gd name="T27" fmla="*/ 751 h 773"/>
                <a:gd name="T28" fmla="*/ 145 w 810"/>
                <a:gd name="T29" fmla="*/ 730 h 773"/>
                <a:gd name="T30" fmla="*/ 70 w 810"/>
                <a:gd name="T31" fmla="*/ 695 h 773"/>
                <a:gd name="T32" fmla="*/ 65 w 810"/>
                <a:gd name="T33" fmla="*/ 663 h 773"/>
                <a:gd name="T34" fmla="*/ 43 w 810"/>
                <a:gd name="T35" fmla="*/ 644 h 773"/>
                <a:gd name="T36" fmla="*/ 18 w 810"/>
                <a:gd name="T37" fmla="*/ 626 h 773"/>
                <a:gd name="T38" fmla="*/ 33 w 810"/>
                <a:gd name="T39" fmla="*/ 593 h 773"/>
                <a:gd name="T40" fmla="*/ 58 w 810"/>
                <a:gd name="T41" fmla="*/ 556 h 773"/>
                <a:gd name="T42" fmla="*/ 49 w 810"/>
                <a:gd name="T43" fmla="*/ 519 h 773"/>
                <a:gd name="T44" fmla="*/ 54 w 810"/>
                <a:gd name="T45" fmla="*/ 478 h 773"/>
                <a:gd name="T46" fmla="*/ 68 w 810"/>
                <a:gd name="T47" fmla="*/ 439 h 773"/>
                <a:gd name="T48" fmla="*/ 34 w 810"/>
                <a:gd name="T49" fmla="*/ 394 h 773"/>
                <a:gd name="T50" fmla="*/ 22 w 810"/>
                <a:gd name="T51" fmla="*/ 354 h 773"/>
                <a:gd name="T52" fmla="*/ 32 w 810"/>
                <a:gd name="T53" fmla="*/ 330 h 773"/>
                <a:gd name="T54" fmla="*/ 60 w 810"/>
                <a:gd name="T55" fmla="*/ 315 h 773"/>
                <a:gd name="T56" fmla="*/ 78 w 810"/>
                <a:gd name="T57" fmla="*/ 290 h 773"/>
                <a:gd name="T58" fmla="*/ 94 w 810"/>
                <a:gd name="T59" fmla="*/ 263 h 773"/>
                <a:gd name="T60" fmla="*/ 148 w 810"/>
                <a:gd name="T61" fmla="*/ 223 h 773"/>
                <a:gd name="T62" fmla="*/ 164 w 810"/>
                <a:gd name="T63" fmla="*/ 180 h 773"/>
                <a:gd name="T64" fmla="*/ 190 w 810"/>
                <a:gd name="T65" fmla="*/ 213 h 773"/>
                <a:gd name="T66" fmla="*/ 210 w 810"/>
                <a:gd name="T67" fmla="*/ 193 h 773"/>
                <a:gd name="T68" fmla="*/ 238 w 810"/>
                <a:gd name="T69" fmla="*/ 203 h 773"/>
                <a:gd name="T70" fmla="*/ 354 w 810"/>
                <a:gd name="T71" fmla="*/ 181 h 773"/>
                <a:gd name="T72" fmla="*/ 369 w 810"/>
                <a:gd name="T73" fmla="*/ 161 h 773"/>
                <a:gd name="T74" fmla="*/ 438 w 810"/>
                <a:gd name="T75" fmla="*/ 164 h 773"/>
                <a:gd name="T76" fmla="*/ 475 w 810"/>
                <a:gd name="T77" fmla="*/ 126 h 773"/>
                <a:gd name="T78" fmla="*/ 496 w 810"/>
                <a:gd name="T79" fmla="*/ 75 h 773"/>
                <a:gd name="T80" fmla="*/ 534 w 810"/>
                <a:gd name="T81" fmla="*/ 76 h 773"/>
                <a:gd name="T82" fmla="*/ 555 w 810"/>
                <a:gd name="T83" fmla="*/ 43 h 773"/>
                <a:gd name="T84" fmla="*/ 668 w 810"/>
                <a:gd name="T85" fmla="*/ 8 h 773"/>
                <a:gd name="T86" fmla="*/ 704 w 810"/>
                <a:gd name="T87" fmla="*/ 8 h 773"/>
                <a:gd name="T88" fmla="*/ 716 w 810"/>
                <a:gd name="T89" fmla="*/ 64 h 773"/>
                <a:gd name="T90" fmla="*/ 730 w 810"/>
                <a:gd name="T91" fmla="*/ 125 h 773"/>
                <a:gd name="T92" fmla="*/ 775 w 810"/>
                <a:gd name="T93" fmla="*/ 179 h 773"/>
                <a:gd name="T94" fmla="*/ 803 w 810"/>
                <a:gd name="T95" fmla="*/ 225 h 773"/>
                <a:gd name="T96" fmla="*/ 780 w 810"/>
                <a:gd name="T97" fmla="*/ 245 h 773"/>
                <a:gd name="T98" fmla="*/ 808 w 810"/>
                <a:gd name="T99" fmla="*/ 261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0" h="773">
                  <a:moveTo>
                    <a:pt x="808" y="284"/>
                  </a:moveTo>
                  <a:lnTo>
                    <a:pt x="760" y="288"/>
                  </a:lnTo>
                  <a:lnTo>
                    <a:pt x="622" y="340"/>
                  </a:lnTo>
                  <a:lnTo>
                    <a:pt x="583" y="349"/>
                  </a:lnTo>
                  <a:lnTo>
                    <a:pt x="578" y="353"/>
                  </a:lnTo>
                  <a:lnTo>
                    <a:pt x="568" y="370"/>
                  </a:lnTo>
                  <a:lnTo>
                    <a:pt x="567" y="375"/>
                  </a:lnTo>
                  <a:lnTo>
                    <a:pt x="564" y="380"/>
                  </a:lnTo>
                  <a:lnTo>
                    <a:pt x="558" y="383"/>
                  </a:lnTo>
                  <a:lnTo>
                    <a:pt x="544" y="374"/>
                  </a:lnTo>
                  <a:lnTo>
                    <a:pt x="540" y="373"/>
                  </a:lnTo>
                  <a:lnTo>
                    <a:pt x="515" y="374"/>
                  </a:lnTo>
                  <a:lnTo>
                    <a:pt x="493" y="378"/>
                  </a:lnTo>
                  <a:lnTo>
                    <a:pt x="472" y="388"/>
                  </a:lnTo>
                  <a:lnTo>
                    <a:pt x="457" y="397"/>
                  </a:lnTo>
                  <a:lnTo>
                    <a:pt x="394" y="459"/>
                  </a:lnTo>
                  <a:lnTo>
                    <a:pt x="364" y="499"/>
                  </a:lnTo>
                  <a:lnTo>
                    <a:pt x="303" y="562"/>
                  </a:lnTo>
                  <a:lnTo>
                    <a:pt x="293" y="583"/>
                  </a:lnTo>
                  <a:lnTo>
                    <a:pt x="308" y="592"/>
                  </a:lnTo>
                  <a:lnTo>
                    <a:pt x="323" y="598"/>
                  </a:lnTo>
                  <a:lnTo>
                    <a:pt x="330" y="598"/>
                  </a:lnTo>
                  <a:lnTo>
                    <a:pt x="333" y="594"/>
                  </a:lnTo>
                  <a:lnTo>
                    <a:pt x="330" y="589"/>
                  </a:lnTo>
                  <a:lnTo>
                    <a:pt x="323" y="583"/>
                  </a:lnTo>
                  <a:lnTo>
                    <a:pt x="333" y="584"/>
                  </a:lnTo>
                  <a:lnTo>
                    <a:pt x="340" y="588"/>
                  </a:lnTo>
                  <a:lnTo>
                    <a:pt x="347" y="594"/>
                  </a:lnTo>
                  <a:lnTo>
                    <a:pt x="359" y="610"/>
                  </a:lnTo>
                  <a:lnTo>
                    <a:pt x="374" y="623"/>
                  </a:lnTo>
                  <a:lnTo>
                    <a:pt x="380" y="622"/>
                  </a:lnTo>
                  <a:lnTo>
                    <a:pt x="392" y="625"/>
                  </a:lnTo>
                  <a:lnTo>
                    <a:pt x="392" y="640"/>
                  </a:lnTo>
                  <a:lnTo>
                    <a:pt x="383" y="655"/>
                  </a:lnTo>
                  <a:lnTo>
                    <a:pt x="378" y="664"/>
                  </a:lnTo>
                  <a:lnTo>
                    <a:pt x="342" y="674"/>
                  </a:lnTo>
                  <a:lnTo>
                    <a:pt x="327" y="688"/>
                  </a:lnTo>
                  <a:lnTo>
                    <a:pt x="299" y="731"/>
                  </a:lnTo>
                  <a:lnTo>
                    <a:pt x="283" y="744"/>
                  </a:lnTo>
                  <a:lnTo>
                    <a:pt x="267" y="750"/>
                  </a:lnTo>
                  <a:lnTo>
                    <a:pt x="249" y="753"/>
                  </a:lnTo>
                  <a:lnTo>
                    <a:pt x="235" y="731"/>
                  </a:lnTo>
                  <a:lnTo>
                    <a:pt x="263" y="729"/>
                  </a:lnTo>
                  <a:lnTo>
                    <a:pt x="275" y="738"/>
                  </a:lnTo>
                  <a:lnTo>
                    <a:pt x="293" y="726"/>
                  </a:lnTo>
                  <a:lnTo>
                    <a:pt x="314" y="694"/>
                  </a:lnTo>
                  <a:lnTo>
                    <a:pt x="303" y="693"/>
                  </a:lnTo>
                  <a:lnTo>
                    <a:pt x="285" y="694"/>
                  </a:lnTo>
                  <a:lnTo>
                    <a:pt x="240" y="709"/>
                  </a:lnTo>
                  <a:lnTo>
                    <a:pt x="229" y="716"/>
                  </a:lnTo>
                  <a:lnTo>
                    <a:pt x="220" y="726"/>
                  </a:lnTo>
                  <a:lnTo>
                    <a:pt x="212" y="739"/>
                  </a:lnTo>
                  <a:lnTo>
                    <a:pt x="198" y="773"/>
                  </a:lnTo>
                  <a:lnTo>
                    <a:pt x="195" y="770"/>
                  </a:lnTo>
                  <a:lnTo>
                    <a:pt x="160" y="756"/>
                  </a:lnTo>
                  <a:lnTo>
                    <a:pt x="155" y="751"/>
                  </a:lnTo>
                  <a:lnTo>
                    <a:pt x="152" y="746"/>
                  </a:lnTo>
                  <a:lnTo>
                    <a:pt x="149" y="740"/>
                  </a:lnTo>
                  <a:lnTo>
                    <a:pt x="149" y="735"/>
                  </a:lnTo>
                  <a:lnTo>
                    <a:pt x="145" y="730"/>
                  </a:lnTo>
                  <a:lnTo>
                    <a:pt x="139" y="725"/>
                  </a:lnTo>
                  <a:lnTo>
                    <a:pt x="122" y="716"/>
                  </a:lnTo>
                  <a:lnTo>
                    <a:pt x="83" y="703"/>
                  </a:lnTo>
                  <a:lnTo>
                    <a:pt x="70" y="695"/>
                  </a:lnTo>
                  <a:lnTo>
                    <a:pt x="65" y="690"/>
                  </a:lnTo>
                  <a:lnTo>
                    <a:pt x="60" y="679"/>
                  </a:lnTo>
                  <a:lnTo>
                    <a:pt x="60" y="673"/>
                  </a:lnTo>
                  <a:lnTo>
                    <a:pt x="65" y="663"/>
                  </a:lnTo>
                  <a:lnTo>
                    <a:pt x="67" y="658"/>
                  </a:lnTo>
                  <a:lnTo>
                    <a:pt x="62" y="651"/>
                  </a:lnTo>
                  <a:lnTo>
                    <a:pt x="54" y="648"/>
                  </a:lnTo>
                  <a:lnTo>
                    <a:pt x="43" y="644"/>
                  </a:lnTo>
                  <a:lnTo>
                    <a:pt x="37" y="638"/>
                  </a:lnTo>
                  <a:lnTo>
                    <a:pt x="32" y="626"/>
                  </a:lnTo>
                  <a:lnTo>
                    <a:pt x="29" y="624"/>
                  </a:lnTo>
                  <a:lnTo>
                    <a:pt x="18" y="626"/>
                  </a:lnTo>
                  <a:lnTo>
                    <a:pt x="3" y="623"/>
                  </a:lnTo>
                  <a:lnTo>
                    <a:pt x="0" y="614"/>
                  </a:lnTo>
                  <a:lnTo>
                    <a:pt x="3" y="611"/>
                  </a:lnTo>
                  <a:lnTo>
                    <a:pt x="33" y="593"/>
                  </a:lnTo>
                  <a:lnTo>
                    <a:pt x="37" y="589"/>
                  </a:lnTo>
                  <a:lnTo>
                    <a:pt x="42" y="579"/>
                  </a:lnTo>
                  <a:lnTo>
                    <a:pt x="53" y="566"/>
                  </a:lnTo>
                  <a:lnTo>
                    <a:pt x="58" y="556"/>
                  </a:lnTo>
                  <a:lnTo>
                    <a:pt x="58" y="551"/>
                  </a:lnTo>
                  <a:lnTo>
                    <a:pt x="53" y="538"/>
                  </a:lnTo>
                  <a:lnTo>
                    <a:pt x="50" y="531"/>
                  </a:lnTo>
                  <a:lnTo>
                    <a:pt x="49" y="519"/>
                  </a:lnTo>
                  <a:lnTo>
                    <a:pt x="45" y="508"/>
                  </a:lnTo>
                  <a:lnTo>
                    <a:pt x="47" y="500"/>
                  </a:lnTo>
                  <a:lnTo>
                    <a:pt x="52" y="483"/>
                  </a:lnTo>
                  <a:lnTo>
                    <a:pt x="54" y="478"/>
                  </a:lnTo>
                  <a:lnTo>
                    <a:pt x="60" y="468"/>
                  </a:lnTo>
                  <a:lnTo>
                    <a:pt x="63" y="461"/>
                  </a:lnTo>
                  <a:lnTo>
                    <a:pt x="65" y="455"/>
                  </a:lnTo>
                  <a:lnTo>
                    <a:pt x="68" y="439"/>
                  </a:lnTo>
                  <a:lnTo>
                    <a:pt x="59" y="411"/>
                  </a:lnTo>
                  <a:lnTo>
                    <a:pt x="50" y="405"/>
                  </a:lnTo>
                  <a:lnTo>
                    <a:pt x="43" y="401"/>
                  </a:lnTo>
                  <a:lnTo>
                    <a:pt x="34" y="394"/>
                  </a:lnTo>
                  <a:lnTo>
                    <a:pt x="28" y="374"/>
                  </a:lnTo>
                  <a:lnTo>
                    <a:pt x="25" y="364"/>
                  </a:lnTo>
                  <a:lnTo>
                    <a:pt x="23" y="360"/>
                  </a:lnTo>
                  <a:lnTo>
                    <a:pt x="22" y="354"/>
                  </a:lnTo>
                  <a:lnTo>
                    <a:pt x="22" y="349"/>
                  </a:lnTo>
                  <a:lnTo>
                    <a:pt x="23" y="338"/>
                  </a:lnTo>
                  <a:lnTo>
                    <a:pt x="25" y="333"/>
                  </a:lnTo>
                  <a:lnTo>
                    <a:pt x="32" y="330"/>
                  </a:lnTo>
                  <a:lnTo>
                    <a:pt x="42" y="329"/>
                  </a:lnTo>
                  <a:lnTo>
                    <a:pt x="45" y="325"/>
                  </a:lnTo>
                  <a:lnTo>
                    <a:pt x="50" y="318"/>
                  </a:lnTo>
                  <a:lnTo>
                    <a:pt x="60" y="315"/>
                  </a:lnTo>
                  <a:lnTo>
                    <a:pt x="65" y="313"/>
                  </a:lnTo>
                  <a:lnTo>
                    <a:pt x="70" y="309"/>
                  </a:lnTo>
                  <a:lnTo>
                    <a:pt x="74" y="304"/>
                  </a:lnTo>
                  <a:lnTo>
                    <a:pt x="78" y="290"/>
                  </a:lnTo>
                  <a:lnTo>
                    <a:pt x="79" y="279"/>
                  </a:lnTo>
                  <a:lnTo>
                    <a:pt x="81" y="274"/>
                  </a:lnTo>
                  <a:lnTo>
                    <a:pt x="85" y="268"/>
                  </a:lnTo>
                  <a:lnTo>
                    <a:pt x="94" y="263"/>
                  </a:lnTo>
                  <a:lnTo>
                    <a:pt x="100" y="259"/>
                  </a:lnTo>
                  <a:lnTo>
                    <a:pt x="106" y="254"/>
                  </a:lnTo>
                  <a:lnTo>
                    <a:pt x="122" y="220"/>
                  </a:lnTo>
                  <a:lnTo>
                    <a:pt x="148" y="223"/>
                  </a:lnTo>
                  <a:lnTo>
                    <a:pt x="150" y="186"/>
                  </a:lnTo>
                  <a:lnTo>
                    <a:pt x="154" y="181"/>
                  </a:lnTo>
                  <a:lnTo>
                    <a:pt x="159" y="179"/>
                  </a:lnTo>
                  <a:lnTo>
                    <a:pt x="164" y="180"/>
                  </a:lnTo>
                  <a:lnTo>
                    <a:pt x="169" y="184"/>
                  </a:lnTo>
                  <a:lnTo>
                    <a:pt x="180" y="205"/>
                  </a:lnTo>
                  <a:lnTo>
                    <a:pt x="184" y="210"/>
                  </a:lnTo>
                  <a:lnTo>
                    <a:pt x="190" y="213"/>
                  </a:lnTo>
                  <a:lnTo>
                    <a:pt x="196" y="213"/>
                  </a:lnTo>
                  <a:lnTo>
                    <a:pt x="201" y="210"/>
                  </a:lnTo>
                  <a:lnTo>
                    <a:pt x="206" y="205"/>
                  </a:lnTo>
                  <a:lnTo>
                    <a:pt x="210" y="193"/>
                  </a:lnTo>
                  <a:lnTo>
                    <a:pt x="214" y="189"/>
                  </a:lnTo>
                  <a:lnTo>
                    <a:pt x="219" y="186"/>
                  </a:lnTo>
                  <a:lnTo>
                    <a:pt x="224" y="189"/>
                  </a:lnTo>
                  <a:lnTo>
                    <a:pt x="238" y="203"/>
                  </a:lnTo>
                  <a:lnTo>
                    <a:pt x="251" y="205"/>
                  </a:lnTo>
                  <a:lnTo>
                    <a:pt x="315" y="191"/>
                  </a:lnTo>
                  <a:lnTo>
                    <a:pt x="328" y="181"/>
                  </a:lnTo>
                  <a:lnTo>
                    <a:pt x="354" y="181"/>
                  </a:lnTo>
                  <a:lnTo>
                    <a:pt x="360" y="174"/>
                  </a:lnTo>
                  <a:lnTo>
                    <a:pt x="364" y="166"/>
                  </a:lnTo>
                  <a:lnTo>
                    <a:pt x="366" y="163"/>
                  </a:lnTo>
                  <a:lnTo>
                    <a:pt x="369" y="161"/>
                  </a:lnTo>
                  <a:lnTo>
                    <a:pt x="374" y="163"/>
                  </a:lnTo>
                  <a:lnTo>
                    <a:pt x="389" y="173"/>
                  </a:lnTo>
                  <a:lnTo>
                    <a:pt x="394" y="174"/>
                  </a:lnTo>
                  <a:lnTo>
                    <a:pt x="438" y="164"/>
                  </a:lnTo>
                  <a:lnTo>
                    <a:pt x="444" y="156"/>
                  </a:lnTo>
                  <a:lnTo>
                    <a:pt x="451" y="136"/>
                  </a:lnTo>
                  <a:lnTo>
                    <a:pt x="455" y="131"/>
                  </a:lnTo>
                  <a:lnTo>
                    <a:pt x="475" y="126"/>
                  </a:lnTo>
                  <a:lnTo>
                    <a:pt x="486" y="111"/>
                  </a:lnTo>
                  <a:lnTo>
                    <a:pt x="496" y="93"/>
                  </a:lnTo>
                  <a:lnTo>
                    <a:pt x="496" y="88"/>
                  </a:lnTo>
                  <a:lnTo>
                    <a:pt x="496" y="75"/>
                  </a:lnTo>
                  <a:lnTo>
                    <a:pt x="498" y="71"/>
                  </a:lnTo>
                  <a:lnTo>
                    <a:pt x="501" y="69"/>
                  </a:lnTo>
                  <a:lnTo>
                    <a:pt x="526" y="76"/>
                  </a:lnTo>
                  <a:lnTo>
                    <a:pt x="534" y="76"/>
                  </a:lnTo>
                  <a:lnTo>
                    <a:pt x="549" y="71"/>
                  </a:lnTo>
                  <a:lnTo>
                    <a:pt x="554" y="66"/>
                  </a:lnTo>
                  <a:lnTo>
                    <a:pt x="556" y="60"/>
                  </a:lnTo>
                  <a:lnTo>
                    <a:pt x="555" y="43"/>
                  </a:lnTo>
                  <a:lnTo>
                    <a:pt x="560" y="24"/>
                  </a:lnTo>
                  <a:lnTo>
                    <a:pt x="569" y="8"/>
                  </a:lnTo>
                  <a:lnTo>
                    <a:pt x="576" y="3"/>
                  </a:lnTo>
                  <a:lnTo>
                    <a:pt x="668" y="8"/>
                  </a:lnTo>
                  <a:lnTo>
                    <a:pt x="679" y="1"/>
                  </a:lnTo>
                  <a:lnTo>
                    <a:pt x="694" y="0"/>
                  </a:lnTo>
                  <a:lnTo>
                    <a:pt x="700" y="1"/>
                  </a:lnTo>
                  <a:lnTo>
                    <a:pt x="704" y="8"/>
                  </a:lnTo>
                  <a:lnTo>
                    <a:pt x="699" y="18"/>
                  </a:lnTo>
                  <a:lnTo>
                    <a:pt x="681" y="41"/>
                  </a:lnTo>
                  <a:lnTo>
                    <a:pt x="686" y="51"/>
                  </a:lnTo>
                  <a:lnTo>
                    <a:pt x="716" y="64"/>
                  </a:lnTo>
                  <a:lnTo>
                    <a:pt x="729" y="74"/>
                  </a:lnTo>
                  <a:lnTo>
                    <a:pt x="728" y="90"/>
                  </a:lnTo>
                  <a:lnTo>
                    <a:pt x="723" y="111"/>
                  </a:lnTo>
                  <a:lnTo>
                    <a:pt x="730" y="125"/>
                  </a:lnTo>
                  <a:lnTo>
                    <a:pt x="759" y="141"/>
                  </a:lnTo>
                  <a:lnTo>
                    <a:pt x="771" y="155"/>
                  </a:lnTo>
                  <a:lnTo>
                    <a:pt x="774" y="161"/>
                  </a:lnTo>
                  <a:lnTo>
                    <a:pt x="775" y="179"/>
                  </a:lnTo>
                  <a:lnTo>
                    <a:pt x="786" y="204"/>
                  </a:lnTo>
                  <a:lnTo>
                    <a:pt x="799" y="213"/>
                  </a:lnTo>
                  <a:lnTo>
                    <a:pt x="801" y="218"/>
                  </a:lnTo>
                  <a:lnTo>
                    <a:pt x="803" y="225"/>
                  </a:lnTo>
                  <a:lnTo>
                    <a:pt x="801" y="230"/>
                  </a:lnTo>
                  <a:lnTo>
                    <a:pt x="798" y="235"/>
                  </a:lnTo>
                  <a:lnTo>
                    <a:pt x="783" y="243"/>
                  </a:lnTo>
                  <a:lnTo>
                    <a:pt x="780" y="245"/>
                  </a:lnTo>
                  <a:lnTo>
                    <a:pt x="780" y="253"/>
                  </a:lnTo>
                  <a:lnTo>
                    <a:pt x="785" y="258"/>
                  </a:lnTo>
                  <a:lnTo>
                    <a:pt x="804" y="259"/>
                  </a:lnTo>
                  <a:lnTo>
                    <a:pt x="808" y="261"/>
                  </a:lnTo>
                  <a:lnTo>
                    <a:pt x="810" y="265"/>
                  </a:lnTo>
                  <a:lnTo>
                    <a:pt x="808" y="284"/>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60" name="Teruel" descr="{&quot;Key&quot;:&quot;teruel&quot;,&quot;Name&quot;:&quot;Teruel&quot;,&quot;Value&quot;:1.0,&quot;Formula&quot;:&quot;&quot;,&quot;Text&quot;:&quot;1&quot;,&quot;HasValue&quot;:true}">
              <a:extLst>
                <a:ext uri="{FF2B5EF4-FFF2-40B4-BE49-F238E27FC236}">
                  <a16:creationId xmlns:a16="http://schemas.microsoft.com/office/drawing/2014/main" id="{F3DA89CF-AF04-15BA-F4EC-59A6C1A9BD3E}"/>
                </a:ext>
              </a:extLst>
            </p:cNvPr>
            <p:cNvSpPr>
              <a:spLocks/>
            </p:cNvSpPr>
            <p:nvPr/>
          </p:nvSpPr>
          <p:spPr bwMode="auto">
            <a:xfrm>
              <a:off x="4024158" y="3197946"/>
              <a:ext cx="801893" cy="759390"/>
            </a:xfrm>
            <a:custGeom>
              <a:avLst/>
              <a:gdLst>
                <a:gd name="T0" fmla="*/ 1163 w 1163"/>
                <a:gd name="T1" fmla="*/ 275 h 1099"/>
                <a:gd name="T2" fmla="*/ 1142 w 1163"/>
                <a:gd name="T3" fmla="*/ 336 h 1099"/>
                <a:gd name="T4" fmla="*/ 1153 w 1163"/>
                <a:gd name="T5" fmla="*/ 393 h 1099"/>
                <a:gd name="T6" fmla="*/ 1095 w 1163"/>
                <a:gd name="T7" fmla="*/ 450 h 1099"/>
                <a:gd name="T8" fmla="*/ 1038 w 1163"/>
                <a:gd name="T9" fmla="*/ 476 h 1099"/>
                <a:gd name="T10" fmla="*/ 1017 w 1163"/>
                <a:gd name="T11" fmla="*/ 468 h 1099"/>
                <a:gd name="T12" fmla="*/ 928 w 1163"/>
                <a:gd name="T13" fmla="*/ 435 h 1099"/>
                <a:gd name="T14" fmla="*/ 884 w 1163"/>
                <a:gd name="T15" fmla="*/ 439 h 1099"/>
                <a:gd name="T16" fmla="*/ 844 w 1163"/>
                <a:gd name="T17" fmla="*/ 501 h 1099"/>
                <a:gd name="T18" fmla="*/ 804 w 1163"/>
                <a:gd name="T19" fmla="*/ 503 h 1099"/>
                <a:gd name="T20" fmla="*/ 795 w 1163"/>
                <a:gd name="T21" fmla="*/ 541 h 1099"/>
                <a:gd name="T22" fmla="*/ 835 w 1163"/>
                <a:gd name="T23" fmla="*/ 549 h 1099"/>
                <a:gd name="T24" fmla="*/ 840 w 1163"/>
                <a:gd name="T25" fmla="*/ 603 h 1099"/>
                <a:gd name="T26" fmla="*/ 849 w 1163"/>
                <a:gd name="T27" fmla="*/ 649 h 1099"/>
                <a:gd name="T28" fmla="*/ 828 w 1163"/>
                <a:gd name="T29" fmla="*/ 691 h 1099"/>
                <a:gd name="T30" fmla="*/ 840 w 1163"/>
                <a:gd name="T31" fmla="*/ 726 h 1099"/>
                <a:gd name="T32" fmla="*/ 784 w 1163"/>
                <a:gd name="T33" fmla="*/ 781 h 1099"/>
                <a:gd name="T34" fmla="*/ 752 w 1163"/>
                <a:gd name="T35" fmla="*/ 820 h 1099"/>
                <a:gd name="T36" fmla="*/ 700 w 1163"/>
                <a:gd name="T37" fmla="*/ 818 h 1099"/>
                <a:gd name="T38" fmla="*/ 687 w 1163"/>
                <a:gd name="T39" fmla="*/ 880 h 1099"/>
                <a:gd name="T40" fmla="*/ 659 w 1163"/>
                <a:gd name="T41" fmla="*/ 920 h 1099"/>
                <a:gd name="T42" fmla="*/ 588 w 1163"/>
                <a:gd name="T43" fmla="*/ 961 h 1099"/>
                <a:gd name="T44" fmla="*/ 564 w 1163"/>
                <a:gd name="T45" fmla="*/ 996 h 1099"/>
                <a:gd name="T46" fmla="*/ 539 w 1163"/>
                <a:gd name="T47" fmla="*/ 1035 h 1099"/>
                <a:gd name="T48" fmla="*/ 564 w 1163"/>
                <a:gd name="T49" fmla="*/ 1080 h 1099"/>
                <a:gd name="T50" fmla="*/ 501 w 1163"/>
                <a:gd name="T51" fmla="*/ 1089 h 1099"/>
                <a:gd name="T52" fmla="*/ 499 w 1163"/>
                <a:gd name="T53" fmla="*/ 1033 h 1099"/>
                <a:gd name="T54" fmla="*/ 418 w 1163"/>
                <a:gd name="T55" fmla="*/ 1006 h 1099"/>
                <a:gd name="T56" fmla="*/ 358 w 1163"/>
                <a:gd name="T57" fmla="*/ 984 h 1099"/>
                <a:gd name="T58" fmla="*/ 404 w 1163"/>
                <a:gd name="T59" fmla="*/ 944 h 1099"/>
                <a:gd name="T60" fmla="*/ 314 w 1163"/>
                <a:gd name="T61" fmla="*/ 898 h 1099"/>
                <a:gd name="T62" fmla="*/ 290 w 1163"/>
                <a:gd name="T63" fmla="*/ 859 h 1099"/>
                <a:gd name="T64" fmla="*/ 272 w 1163"/>
                <a:gd name="T65" fmla="*/ 873 h 1099"/>
                <a:gd name="T66" fmla="*/ 199 w 1163"/>
                <a:gd name="T67" fmla="*/ 883 h 1099"/>
                <a:gd name="T68" fmla="*/ 188 w 1163"/>
                <a:gd name="T69" fmla="*/ 851 h 1099"/>
                <a:gd name="T70" fmla="*/ 148 w 1163"/>
                <a:gd name="T71" fmla="*/ 848 h 1099"/>
                <a:gd name="T72" fmla="*/ 49 w 1163"/>
                <a:gd name="T73" fmla="*/ 781 h 1099"/>
                <a:gd name="T74" fmla="*/ 17 w 1163"/>
                <a:gd name="T75" fmla="*/ 706 h 1099"/>
                <a:gd name="T76" fmla="*/ 36 w 1163"/>
                <a:gd name="T77" fmla="*/ 651 h 1099"/>
                <a:gd name="T78" fmla="*/ 60 w 1163"/>
                <a:gd name="T79" fmla="*/ 598 h 1099"/>
                <a:gd name="T80" fmla="*/ 104 w 1163"/>
                <a:gd name="T81" fmla="*/ 570 h 1099"/>
                <a:gd name="T82" fmla="*/ 140 w 1163"/>
                <a:gd name="T83" fmla="*/ 545 h 1099"/>
                <a:gd name="T84" fmla="*/ 149 w 1163"/>
                <a:gd name="T85" fmla="*/ 486 h 1099"/>
                <a:gd name="T86" fmla="*/ 148 w 1163"/>
                <a:gd name="T87" fmla="*/ 433 h 1099"/>
                <a:gd name="T88" fmla="*/ 126 w 1163"/>
                <a:gd name="T89" fmla="*/ 380 h 1099"/>
                <a:gd name="T90" fmla="*/ 110 w 1163"/>
                <a:gd name="T91" fmla="*/ 315 h 1099"/>
                <a:gd name="T92" fmla="*/ 190 w 1163"/>
                <a:gd name="T93" fmla="*/ 298 h 1099"/>
                <a:gd name="T94" fmla="*/ 198 w 1163"/>
                <a:gd name="T95" fmla="*/ 245 h 1099"/>
                <a:gd name="T96" fmla="*/ 230 w 1163"/>
                <a:gd name="T97" fmla="*/ 210 h 1099"/>
                <a:gd name="T98" fmla="*/ 305 w 1163"/>
                <a:gd name="T99" fmla="*/ 218 h 1099"/>
                <a:gd name="T100" fmla="*/ 306 w 1163"/>
                <a:gd name="T101" fmla="*/ 168 h 1099"/>
                <a:gd name="T102" fmla="*/ 380 w 1163"/>
                <a:gd name="T103" fmla="*/ 161 h 1099"/>
                <a:gd name="T104" fmla="*/ 450 w 1163"/>
                <a:gd name="T105" fmla="*/ 190 h 1099"/>
                <a:gd name="T106" fmla="*/ 545 w 1163"/>
                <a:gd name="T107" fmla="*/ 194 h 1099"/>
                <a:gd name="T108" fmla="*/ 586 w 1163"/>
                <a:gd name="T109" fmla="*/ 143 h 1099"/>
                <a:gd name="T110" fmla="*/ 653 w 1163"/>
                <a:gd name="T111" fmla="*/ 34 h 1099"/>
                <a:gd name="T112" fmla="*/ 711 w 1163"/>
                <a:gd name="T113" fmla="*/ 95 h 1099"/>
                <a:gd name="T114" fmla="*/ 689 w 1163"/>
                <a:gd name="T115" fmla="*/ 14 h 1099"/>
                <a:gd name="T116" fmla="*/ 739 w 1163"/>
                <a:gd name="T117" fmla="*/ 20 h 1099"/>
                <a:gd name="T118" fmla="*/ 778 w 1163"/>
                <a:gd name="T119" fmla="*/ 61 h 1099"/>
                <a:gd name="T120" fmla="*/ 1014 w 1163"/>
                <a:gd name="T121" fmla="*/ 223 h 1099"/>
                <a:gd name="T122" fmla="*/ 1068 w 1163"/>
                <a:gd name="T123" fmla="*/ 20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3" h="1099">
                  <a:moveTo>
                    <a:pt x="1123" y="210"/>
                  </a:moveTo>
                  <a:lnTo>
                    <a:pt x="1129" y="230"/>
                  </a:lnTo>
                  <a:lnTo>
                    <a:pt x="1138" y="238"/>
                  </a:lnTo>
                  <a:lnTo>
                    <a:pt x="1145" y="241"/>
                  </a:lnTo>
                  <a:lnTo>
                    <a:pt x="1154" y="248"/>
                  </a:lnTo>
                  <a:lnTo>
                    <a:pt x="1163" y="275"/>
                  </a:lnTo>
                  <a:lnTo>
                    <a:pt x="1160" y="291"/>
                  </a:lnTo>
                  <a:lnTo>
                    <a:pt x="1158" y="298"/>
                  </a:lnTo>
                  <a:lnTo>
                    <a:pt x="1155" y="304"/>
                  </a:lnTo>
                  <a:lnTo>
                    <a:pt x="1149" y="314"/>
                  </a:lnTo>
                  <a:lnTo>
                    <a:pt x="1147" y="319"/>
                  </a:lnTo>
                  <a:lnTo>
                    <a:pt x="1142" y="336"/>
                  </a:lnTo>
                  <a:lnTo>
                    <a:pt x="1140" y="344"/>
                  </a:lnTo>
                  <a:lnTo>
                    <a:pt x="1144" y="355"/>
                  </a:lnTo>
                  <a:lnTo>
                    <a:pt x="1145" y="368"/>
                  </a:lnTo>
                  <a:lnTo>
                    <a:pt x="1148" y="374"/>
                  </a:lnTo>
                  <a:lnTo>
                    <a:pt x="1153" y="388"/>
                  </a:lnTo>
                  <a:lnTo>
                    <a:pt x="1153" y="393"/>
                  </a:lnTo>
                  <a:lnTo>
                    <a:pt x="1148" y="403"/>
                  </a:lnTo>
                  <a:lnTo>
                    <a:pt x="1137" y="415"/>
                  </a:lnTo>
                  <a:lnTo>
                    <a:pt x="1132" y="425"/>
                  </a:lnTo>
                  <a:lnTo>
                    <a:pt x="1128" y="429"/>
                  </a:lnTo>
                  <a:lnTo>
                    <a:pt x="1098" y="448"/>
                  </a:lnTo>
                  <a:lnTo>
                    <a:pt x="1095" y="450"/>
                  </a:lnTo>
                  <a:lnTo>
                    <a:pt x="1098" y="459"/>
                  </a:lnTo>
                  <a:lnTo>
                    <a:pt x="1083" y="465"/>
                  </a:lnTo>
                  <a:lnTo>
                    <a:pt x="1062" y="466"/>
                  </a:lnTo>
                  <a:lnTo>
                    <a:pt x="1054" y="468"/>
                  </a:lnTo>
                  <a:lnTo>
                    <a:pt x="1048" y="470"/>
                  </a:lnTo>
                  <a:lnTo>
                    <a:pt x="1038" y="476"/>
                  </a:lnTo>
                  <a:lnTo>
                    <a:pt x="1034" y="480"/>
                  </a:lnTo>
                  <a:lnTo>
                    <a:pt x="1028" y="485"/>
                  </a:lnTo>
                  <a:lnTo>
                    <a:pt x="1023" y="484"/>
                  </a:lnTo>
                  <a:lnTo>
                    <a:pt x="1019" y="483"/>
                  </a:lnTo>
                  <a:lnTo>
                    <a:pt x="1018" y="473"/>
                  </a:lnTo>
                  <a:lnTo>
                    <a:pt x="1017" y="468"/>
                  </a:lnTo>
                  <a:lnTo>
                    <a:pt x="1013" y="463"/>
                  </a:lnTo>
                  <a:lnTo>
                    <a:pt x="1003" y="460"/>
                  </a:lnTo>
                  <a:lnTo>
                    <a:pt x="975" y="463"/>
                  </a:lnTo>
                  <a:lnTo>
                    <a:pt x="962" y="459"/>
                  </a:lnTo>
                  <a:lnTo>
                    <a:pt x="935" y="443"/>
                  </a:lnTo>
                  <a:lnTo>
                    <a:pt x="928" y="435"/>
                  </a:lnTo>
                  <a:lnTo>
                    <a:pt x="923" y="431"/>
                  </a:lnTo>
                  <a:lnTo>
                    <a:pt x="918" y="428"/>
                  </a:lnTo>
                  <a:lnTo>
                    <a:pt x="910" y="424"/>
                  </a:lnTo>
                  <a:lnTo>
                    <a:pt x="900" y="424"/>
                  </a:lnTo>
                  <a:lnTo>
                    <a:pt x="894" y="426"/>
                  </a:lnTo>
                  <a:lnTo>
                    <a:pt x="884" y="439"/>
                  </a:lnTo>
                  <a:lnTo>
                    <a:pt x="879" y="449"/>
                  </a:lnTo>
                  <a:lnTo>
                    <a:pt x="877" y="459"/>
                  </a:lnTo>
                  <a:lnTo>
                    <a:pt x="875" y="470"/>
                  </a:lnTo>
                  <a:lnTo>
                    <a:pt x="875" y="481"/>
                  </a:lnTo>
                  <a:lnTo>
                    <a:pt x="873" y="485"/>
                  </a:lnTo>
                  <a:lnTo>
                    <a:pt x="844" y="501"/>
                  </a:lnTo>
                  <a:lnTo>
                    <a:pt x="840" y="505"/>
                  </a:lnTo>
                  <a:lnTo>
                    <a:pt x="834" y="509"/>
                  </a:lnTo>
                  <a:lnTo>
                    <a:pt x="829" y="509"/>
                  </a:lnTo>
                  <a:lnTo>
                    <a:pt x="820" y="503"/>
                  </a:lnTo>
                  <a:lnTo>
                    <a:pt x="810" y="501"/>
                  </a:lnTo>
                  <a:lnTo>
                    <a:pt x="804" y="503"/>
                  </a:lnTo>
                  <a:lnTo>
                    <a:pt x="798" y="506"/>
                  </a:lnTo>
                  <a:lnTo>
                    <a:pt x="793" y="511"/>
                  </a:lnTo>
                  <a:lnTo>
                    <a:pt x="793" y="516"/>
                  </a:lnTo>
                  <a:lnTo>
                    <a:pt x="794" y="521"/>
                  </a:lnTo>
                  <a:lnTo>
                    <a:pt x="793" y="538"/>
                  </a:lnTo>
                  <a:lnTo>
                    <a:pt x="795" y="541"/>
                  </a:lnTo>
                  <a:lnTo>
                    <a:pt x="804" y="546"/>
                  </a:lnTo>
                  <a:lnTo>
                    <a:pt x="808" y="546"/>
                  </a:lnTo>
                  <a:lnTo>
                    <a:pt x="813" y="550"/>
                  </a:lnTo>
                  <a:lnTo>
                    <a:pt x="822" y="551"/>
                  </a:lnTo>
                  <a:lnTo>
                    <a:pt x="832" y="549"/>
                  </a:lnTo>
                  <a:lnTo>
                    <a:pt x="835" y="549"/>
                  </a:lnTo>
                  <a:lnTo>
                    <a:pt x="839" y="551"/>
                  </a:lnTo>
                  <a:lnTo>
                    <a:pt x="839" y="561"/>
                  </a:lnTo>
                  <a:lnTo>
                    <a:pt x="837" y="573"/>
                  </a:lnTo>
                  <a:lnTo>
                    <a:pt x="838" y="583"/>
                  </a:lnTo>
                  <a:lnTo>
                    <a:pt x="840" y="593"/>
                  </a:lnTo>
                  <a:lnTo>
                    <a:pt x="840" y="603"/>
                  </a:lnTo>
                  <a:lnTo>
                    <a:pt x="838" y="613"/>
                  </a:lnTo>
                  <a:lnTo>
                    <a:pt x="838" y="623"/>
                  </a:lnTo>
                  <a:lnTo>
                    <a:pt x="847" y="628"/>
                  </a:lnTo>
                  <a:lnTo>
                    <a:pt x="852" y="641"/>
                  </a:lnTo>
                  <a:lnTo>
                    <a:pt x="852" y="646"/>
                  </a:lnTo>
                  <a:lnTo>
                    <a:pt x="849" y="649"/>
                  </a:lnTo>
                  <a:lnTo>
                    <a:pt x="823" y="659"/>
                  </a:lnTo>
                  <a:lnTo>
                    <a:pt x="818" y="665"/>
                  </a:lnTo>
                  <a:lnTo>
                    <a:pt x="814" y="670"/>
                  </a:lnTo>
                  <a:lnTo>
                    <a:pt x="817" y="681"/>
                  </a:lnTo>
                  <a:lnTo>
                    <a:pt x="820" y="685"/>
                  </a:lnTo>
                  <a:lnTo>
                    <a:pt x="828" y="691"/>
                  </a:lnTo>
                  <a:lnTo>
                    <a:pt x="832" y="695"/>
                  </a:lnTo>
                  <a:lnTo>
                    <a:pt x="839" y="704"/>
                  </a:lnTo>
                  <a:lnTo>
                    <a:pt x="842" y="709"/>
                  </a:lnTo>
                  <a:lnTo>
                    <a:pt x="844" y="714"/>
                  </a:lnTo>
                  <a:lnTo>
                    <a:pt x="844" y="721"/>
                  </a:lnTo>
                  <a:lnTo>
                    <a:pt x="840" y="726"/>
                  </a:lnTo>
                  <a:lnTo>
                    <a:pt x="819" y="740"/>
                  </a:lnTo>
                  <a:lnTo>
                    <a:pt x="813" y="746"/>
                  </a:lnTo>
                  <a:lnTo>
                    <a:pt x="804" y="761"/>
                  </a:lnTo>
                  <a:lnTo>
                    <a:pt x="798" y="768"/>
                  </a:lnTo>
                  <a:lnTo>
                    <a:pt x="785" y="778"/>
                  </a:lnTo>
                  <a:lnTo>
                    <a:pt x="784" y="781"/>
                  </a:lnTo>
                  <a:lnTo>
                    <a:pt x="787" y="793"/>
                  </a:lnTo>
                  <a:lnTo>
                    <a:pt x="785" y="800"/>
                  </a:lnTo>
                  <a:lnTo>
                    <a:pt x="782" y="805"/>
                  </a:lnTo>
                  <a:lnTo>
                    <a:pt x="778" y="809"/>
                  </a:lnTo>
                  <a:lnTo>
                    <a:pt x="757" y="819"/>
                  </a:lnTo>
                  <a:lnTo>
                    <a:pt x="752" y="820"/>
                  </a:lnTo>
                  <a:lnTo>
                    <a:pt x="742" y="821"/>
                  </a:lnTo>
                  <a:lnTo>
                    <a:pt x="732" y="824"/>
                  </a:lnTo>
                  <a:lnTo>
                    <a:pt x="724" y="824"/>
                  </a:lnTo>
                  <a:lnTo>
                    <a:pt x="717" y="823"/>
                  </a:lnTo>
                  <a:lnTo>
                    <a:pt x="707" y="818"/>
                  </a:lnTo>
                  <a:lnTo>
                    <a:pt x="700" y="818"/>
                  </a:lnTo>
                  <a:lnTo>
                    <a:pt x="698" y="821"/>
                  </a:lnTo>
                  <a:lnTo>
                    <a:pt x="697" y="826"/>
                  </a:lnTo>
                  <a:lnTo>
                    <a:pt x="697" y="846"/>
                  </a:lnTo>
                  <a:lnTo>
                    <a:pt x="694" y="858"/>
                  </a:lnTo>
                  <a:lnTo>
                    <a:pt x="688" y="869"/>
                  </a:lnTo>
                  <a:lnTo>
                    <a:pt x="687" y="880"/>
                  </a:lnTo>
                  <a:lnTo>
                    <a:pt x="684" y="886"/>
                  </a:lnTo>
                  <a:lnTo>
                    <a:pt x="679" y="894"/>
                  </a:lnTo>
                  <a:lnTo>
                    <a:pt x="672" y="899"/>
                  </a:lnTo>
                  <a:lnTo>
                    <a:pt x="663" y="909"/>
                  </a:lnTo>
                  <a:lnTo>
                    <a:pt x="660" y="914"/>
                  </a:lnTo>
                  <a:lnTo>
                    <a:pt x="659" y="920"/>
                  </a:lnTo>
                  <a:lnTo>
                    <a:pt x="663" y="935"/>
                  </a:lnTo>
                  <a:lnTo>
                    <a:pt x="662" y="940"/>
                  </a:lnTo>
                  <a:lnTo>
                    <a:pt x="623" y="959"/>
                  </a:lnTo>
                  <a:lnTo>
                    <a:pt x="601" y="963"/>
                  </a:lnTo>
                  <a:lnTo>
                    <a:pt x="593" y="963"/>
                  </a:lnTo>
                  <a:lnTo>
                    <a:pt x="588" y="961"/>
                  </a:lnTo>
                  <a:lnTo>
                    <a:pt x="584" y="963"/>
                  </a:lnTo>
                  <a:lnTo>
                    <a:pt x="583" y="966"/>
                  </a:lnTo>
                  <a:lnTo>
                    <a:pt x="580" y="978"/>
                  </a:lnTo>
                  <a:lnTo>
                    <a:pt x="578" y="985"/>
                  </a:lnTo>
                  <a:lnTo>
                    <a:pt x="573" y="990"/>
                  </a:lnTo>
                  <a:lnTo>
                    <a:pt x="564" y="996"/>
                  </a:lnTo>
                  <a:lnTo>
                    <a:pt x="558" y="998"/>
                  </a:lnTo>
                  <a:lnTo>
                    <a:pt x="545" y="1005"/>
                  </a:lnTo>
                  <a:lnTo>
                    <a:pt x="541" y="1010"/>
                  </a:lnTo>
                  <a:lnTo>
                    <a:pt x="539" y="1015"/>
                  </a:lnTo>
                  <a:lnTo>
                    <a:pt x="538" y="1031"/>
                  </a:lnTo>
                  <a:lnTo>
                    <a:pt x="539" y="1035"/>
                  </a:lnTo>
                  <a:lnTo>
                    <a:pt x="539" y="1040"/>
                  </a:lnTo>
                  <a:lnTo>
                    <a:pt x="540" y="1050"/>
                  </a:lnTo>
                  <a:lnTo>
                    <a:pt x="545" y="1059"/>
                  </a:lnTo>
                  <a:lnTo>
                    <a:pt x="554" y="1065"/>
                  </a:lnTo>
                  <a:lnTo>
                    <a:pt x="560" y="1073"/>
                  </a:lnTo>
                  <a:lnTo>
                    <a:pt x="564" y="1080"/>
                  </a:lnTo>
                  <a:lnTo>
                    <a:pt x="533" y="1096"/>
                  </a:lnTo>
                  <a:lnTo>
                    <a:pt x="525" y="1098"/>
                  </a:lnTo>
                  <a:lnTo>
                    <a:pt x="515" y="1099"/>
                  </a:lnTo>
                  <a:lnTo>
                    <a:pt x="510" y="1096"/>
                  </a:lnTo>
                  <a:lnTo>
                    <a:pt x="505" y="1093"/>
                  </a:lnTo>
                  <a:lnTo>
                    <a:pt x="501" y="1089"/>
                  </a:lnTo>
                  <a:lnTo>
                    <a:pt x="501" y="1068"/>
                  </a:lnTo>
                  <a:lnTo>
                    <a:pt x="497" y="1059"/>
                  </a:lnTo>
                  <a:lnTo>
                    <a:pt x="497" y="1054"/>
                  </a:lnTo>
                  <a:lnTo>
                    <a:pt x="500" y="1045"/>
                  </a:lnTo>
                  <a:lnTo>
                    <a:pt x="500" y="1039"/>
                  </a:lnTo>
                  <a:lnTo>
                    <a:pt x="499" y="1033"/>
                  </a:lnTo>
                  <a:lnTo>
                    <a:pt x="490" y="1024"/>
                  </a:lnTo>
                  <a:lnTo>
                    <a:pt x="463" y="1010"/>
                  </a:lnTo>
                  <a:lnTo>
                    <a:pt x="454" y="1008"/>
                  </a:lnTo>
                  <a:lnTo>
                    <a:pt x="448" y="1006"/>
                  </a:lnTo>
                  <a:lnTo>
                    <a:pt x="438" y="1008"/>
                  </a:lnTo>
                  <a:lnTo>
                    <a:pt x="418" y="1006"/>
                  </a:lnTo>
                  <a:lnTo>
                    <a:pt x="404" y="1010"/>
                  </a:lnTo>
                  <a:lnTo>
                    <a:pt x="394" y="1014"/>
                  </a:lnTo>
                  <a:lnTo>
                    <a:pt x="389" y="1014"/>
                  </a:lnTo>
                  <a:lnTo>
                    <a:pt x="376" y="1018"/>
                  </a:lnTo>
                  <a:lnTo>
                    <a:pt x="368" y="1011"/>
                  </a:lnTo>
                  <a:lnTo>
                    <a:pt x="358" y="984"/>
                  </a:lnTo>
                  <a:lnTo>
                    <a:pt x="370" y="980"/>
                  </a:lnTo>
                  <a:lnTo>
                    <a:pt x="396" y="966"/>
                  </a:lnTo>
                  <a:lnTo>
                    <a:pt x="401" y="963"/>
                  </a:lnTo>
                  <a:lnTo>
                    <a:pt x="404" y="959"/>
                  </a:lnTo>
                  <a:lnTo>
                    <a:pt x="406" y="954"/>
                  </a:lnTo>
                  <a:lnTo>
                    <a:pt x="404" y="944"/>
                  </a:lnTo>
                  <a:lnTo>
                    <a:pt x="396" y="935"/>
                  </a:lnTo>
                  <a:lnTo>
                    <a:pt x="378" y="920"/>
                  </a:lnTo>
                  <a:lnTo>
                    <a:pt x="364" y="911"/>
                  </a:lnTo>
                  <a:lnTo>
                    <a:pt x="329" y="908"/>
                  </a:lnTo>
                  <a:lnTo>
                    <a:pt x="318" y="903"/>
                  </a:lnTo>
                  <a:lnTo>
                    <a:pt x="314" y="898"/>
                  </a:lnTo>
                  <a:lnTo>
                    <a:pt x="311" y="894"/>
                  </a:lnTo>
                  <a:lnTo>
                    <a:pt x="311" y="886"/>
                  </a:lnTo>
                  <a:lnTo>
                    <a:pt x="305" y="881"/>
                  </a:lnTo>
                  <a:lnTo>
                    <a:pt x="298" y="874"/>
                  </a:lnTo>
                  <a:lnTo>
                    <a:pt x="294" y="869"/>
                  </a:lnTo>
                  <a:lnTo>
                    <a:pt x="290" y="859"/>
                  </a:lnTo>
                  <a:lnTo>
                    <a:pt x="285" y="845"/>
                  </a:lnTo>
                  <a:lnTo>
                    <a:pt x="282" y="844"/>
                  </a:lnTo>
                  <a:lnTo>
                    <a:pt x="274" y="850"/>
                  </a:lnTo>
                  <a:lnTo>
                    <a:pt x="270" y="855"/>
                  </a:lnTo>
                  <a:lnTo>
                    <a:pt x="269" y="861"/>
                  </a:lnTo>
                  <a:lnTo>
                    <a:pt x="272" y="873"/>
                  </a:lnTo>
                  <a:lnTo>
                    <a:pt x="272" y="878"/>
                  </a:lnTo>
                  <a:lnTo>
                    <a:pt x="268" y="884"/>
                  </a:lnTo>
                  <a:lnTo>
                    <a:pt x="258" y="888"/>
                  </a:lnTo>
                  <a:lnTo>
                    <a:pt x="247" y="890"/>
                  </a:lnTo>
                  <a:lnTo>
                    <a:pt x="229" y="890"/>
                  </a:lnTo>
                  <a:lnTo>
                    <a:pt x="199" y="883"/>
                  </a:lnTo>
                  <a:lnTo>
                    <a:pt x="203" y="876"/>
                  </a:lnTo>
                  <a:lnTo>
                    <a:pt x="205" y="868"/>
                  </a:lnTo>
                  <a:lnTo>
                    <a:pt x="205" y="861"/>
                  </a:lnTo>
                  <a:lnTo>
                    <a:pt x="204" y="853"/>
                  </a:lnTo>
                  <a:lnTo>
                    <a:pt x="202" y="849"/>
                  </a:lnTo>
                  <a:lnTo>
                    <a:pt x="188" y="851"/>
                  </a:lnTo>
                  <a:lnTo>
                    <a:pt x="182" y="851"/>
                  </a:lnTo>
                  <a:lnTo>
                    <a:pt x="174" y="848"/>
                  </a:lnTo>
                  <a:lnTo>
                    <a:pt x="165" y="845"/>
                  </a:lnTo>
                  <a:lnTo>
                    <a:pt x="160" y="845"/>
                  </a:lnTo>
                  <a:lnTo>
                    <a:pt x="153" y="850"/>
                  </a:lnTo>
                  <a:lnTo>
                    <a:pt x="148" y="848"/>
                  </a:lnTo>
                  <a:lnTo>
                    <a:pt x="140" y="843"/>
                  </a:lnTo>
                  <a:lnTo>
                    <a:pt x="82" y="786"/>
                  </a:lnTo>
                  <a:lnTo>
                    <a:pt x="68" y="779"/>
                  </a:lnTo>
                  <a:lnTo>
                    <a:pt x="60" y="778"/>
                  </a:lnTo>
                  <a:lnTo>
                    <a:pt x="53" y="783"/>
                  </a:lnTo>
                  <a:lnTo>
                    <a:pt x="49" y="781"/>
                  </a:lnTo>
                  <a:lnTo>
                    <a:pt x="49" y="773"/>
                  </a:lnTo>
                  <a:lnTo>
                    <a:pt x="52" y="766"/>
                  </a:lnTo>
                  <a:lnTo>
                    <a:pt x="52" y="758"/>
                  </a:lnTo>
                  <a:lnTo>
                    <a:pt x="49" y="748"/>
                  </a:lnTo>
                  <a:lnTo>
                    <a:pt x="25" y="716"/>
                  </a:lnTo>
                  <a:lnTo>
                    <a:pt x="17" y="706"/>
                  </a:lnTo>
                  <a:lnTo>
                    <a:pt x="0" y="700"/>
                  </a:lnTo>
                  <a:lnTo>
                    <a:pt x="7" y="690"/>
                  </a:lnTo>
                  <a:lnTo>
                    <a:pt x="10" y="689"/>
                  </a:lnTo>
                  <a:lnTo>
                    <a:pt x="14" y="685"/>
                  </a:lnTo>
                  <a:lnTo>
                    <a:pt x="33" y="658"/>
                  </a:lnTo>
                  <a:lnTo>
                    <a:pt x="36" y="651"/>
                  </a:lnTo>
                  <a:lnTo>
                    <a:pt x="41" y="648"/>
                  </a:lnTo>
                  <a:lnTo>
                    <a:pt x="53" y="643"/>
                  </a:lnTo>
                  <a:lnTo>
                    <a:pt x="56" y="639"/>
                  </a:lnTo>
                  <a:lnTo>
                    <a:pt x="60" y="633"/>
                  </a:lnTo>
                  <a:lnTo>
                    <a:pt x="60" y="606"/>
                  </a:lnTo>
                  <a:lnTo>
                    <a:pt x="60" y="598"/>
                  </a:lnTo>
                  <a:lnTo>
                    <a:pt x="69" y="570"/>
                  </a:lnTo>
                  <a:lnTo>
                    <a:pt x="73" y="566"/>
                  </a:lnTo>
                  <a:lnTo>
                    <a:pt x="76" y="563"/>
                  </a:lnTo>
                  <a:lnTo>
                    <a:pt x="90" y="566"/>
                  </a:lnTo>
                  <a:lnTo>
                    <a:pt x="95" y="566"/>
                  </a:lnTo>
                  <a:lnTo>
                    <a:pt x="104" y="570"/>
                  </a:lnTo>
                  <a:lnTo>
                    <a:pt x="113" y="576"/>
                  </a:lnTo>
                  <a:lnTo>
                    <a:pt x="123" y="576"/>
                  </a:lnTo>
                  <a:lnTo>
                    <a:pt x="131" y="571"/>
                  </a:lnTo>
                  <a:lnTo>
                    <a:pt x="136" y="568"/>
                  </a:lnTo>
                  <a:lnTo>
                    <a:pt x="143" y="559"/>
                  </a:lnTo>
                  <a:lnTo>
                    <a:pt x="140" y="545"/>
                  </a:lnTo>
                  <a:lnTo>
                    <a:pt x="140" y="536"/>
                  </a:lnTo>
                  <a:lnTo>
                    <a:pt x="144" y="525"/>
                  </a:lnTo>
                  <a:lnTo>
                    <a:pt x="148" y="515"/>
                  </a:lnTo>
                  <a:lnTo>
                    <a:pt x="150" y="509"/>
                  </a:lnTo>
                  <a:lnTo>
                    <a:pt x="150" y="494"/>
                  </a:lnTo>
                  <a:lnTo>
                    <a:pt x="149" y="486"/>
                  </a:lnTo>
                  <a:lnTo>
                    <a:pt x="145" y="476"/>
                  </a:lnTo>
                  <a:lnTo>
                    <a:pt x="141" y="470"/>
                  </a:lnTo>
                  <a:lnTo>
                    <a:pt x="139" y="464"/>
                  </a:lnTo>
                  <a:lnTo>
                    <a:pt x="140" y="450"/>
                  </a:lnTo>
                  <a:lnTo>
                    <a:pt x="143" y="444"/>
                  </a:lnTo>
                  <a:lnTo>
                    <a:pt x="148" y="433"/>
                  </a:lnTo>
                  <a:lnTo>
                    <a:pt x="149" y="425"/>
                  </a:lnTo>
                  <a:lnTo>
                    <a:pt x="149" y="408"/>
                  </a:lnTo>
                  <a:lnTo>
                    <a:pt x="148" y="401"/>
                  </a:lnTo>
                  <a:lnTo>
                    <a:pt x="146" y="396"/>
                  </a:lnTo>
                  <a:lnTo>
                    <a:pt x="141" y="390"/>
                  </a:lnTo>
                  <a:lnTo>
                    <a:pt x="126" y="380"/>
                  </a:lnTo>
                  <a:lnTo>
                    <a:pt x="119" y="371"/>
                  </a:lnTo>
                  <a:lnTo>
                    <a:pt x="115" y="365"/>
                  </a:lnTo>
                  <a:lnTo>
                    <a:pt x="110" y="356"/>
                  </a:lnTo>
                  <a:lnTo>
                    <a:pt x="108" y="345"/>
                  </a:lnTo>
                  <a:lnTo>
                    <a:pt x="109" y="321"/>
                  </a:lnTo>
                  <a:lnTo>
                    <a:pt x="110" y="315"/>
                  </a:lnTo>
                  <a:lnTo>
                    <a:pt x="103" y="301"/>
                  </a:lnTo>
                  <a:lnTo>
                    <a:pt x="140" y="303"/>
                  </a:lnTo>
                  <a:lnTo>
                    <a:pt x="156" y="296"/>
                  </a:lnTo>
                  <a:lnTo>
                    <a:pt x="174" y="295"/>
                  </a:lnTo>
                  <a:lnTo>
                    <a:pt x="184" y="299"/>
                  </a:lnTo>
                  <a:lnTo>
                    <a:pt x="190" y="298"/>
                  </a:lnTo>
                  <a:lnTo>
                    <a:pt x="195" y="291"/>
                  </a:lnTo>
                  <a:lnTo>
                    <a:pt x="199" y="284"/>
                  </a:lnTo>
                  <a:lnTo>
                    <a:pt x="199" y="275"/>
                  </a:lnTo>
                  <a:lnTo>
                    <a:pt x="195" y="260"/>
                  </a:lnTo>
                  <a:lnTo>
                    <a:pt x="194" y="251"/>
                  </a:lnTo>
                  <a:lnTo>
                    <a:pt x="198" y="245"/>
                  </a:lnTo>
                  <a:lnTo>
                    <a:pt x="210" y="241"/>
                  </a:lnTo>
                  <a:lnTo>
                    <a:pt x="214" y="238"/>
                  </a:lnTo>
                  <a:lnTo>
                    <a:pt x="216" y="233"/>
                  </a:lnTo>
                  <a:lnTo>
                    <a:pt x="221" y="220"/>
                  </a:lnTo>
                  <a:lnTo>
                    <a:pt x="224" y="215"/>
                  </a:lnTo>
                  <a:lnTo>
                    <a:pt x="230" y="210"/>
                  </a:lnTo>
                  <a:lnTo>
                    <a:pt x="236" y="208"/>
                  </a:lnTo>
                  <a:lnTo>
                    <a:pt x="243" y="208"/>
                  </a:lnTo>
                  <a:lnTo>
                    <a:pt x="249" y="210"/>
                  </a:lnTo>
                  <a:lnTo>
                    <a:pt x="265" y="221"/>
                  </a:lnTo>
                  <a:lnTo>
                    <a:pt x="298" y="223"/>
                  </a:lnTo>
                  <a:lnTo>
                    <a:pt x="305" y="218"/>
                  </a:lnTo>
                  <a:lnTo>
                    <a:pt x="308" y="209"/>
                  </a:lnTo>
                  <a:lnTo>
                    <a:pt x="305" y="203"/>
                  </a:lnTo>
                  <a:lnTo>
                    <a:pt x="301" y="195"/>
                  </a:lnTo>
                  <a:lnTo>
                    <a:pt x="300" y="188"/>
                  </a:lnTo>
                  <a:lnTo>
                    <a:pt x="300" y="183"/>
                  </a:lnTo>
                  <a:lnTo>
                    <a:pt x="306" y="168"/>
                  </a:lnTo>
                  <a:lnTo>
                    <a:pt x="311" y="164"/>
                  </a:lnTo>
                  <a:lnTo>
                    <a:pt x="318" y="161"/>
                  </a:lnTo>
                  <a:lnTo>
                    <a:pt x="329" y="161"/>
                  </a:lnTo>
                  <a:lnTo>
                    <a:pt x="355" y="173"/>
                  </a:lnTo>
                  <a:lnTo>
                    <a:pt x="360" y="171"/>
                  </a:lnTo>
                  <a:lnTo>
                    <a:pt x="380" y="161"/>
                  </a:lnTo>
                  <a:lnTo>
                    <a:pt x="386" y="148"/>
                  </a:lnTo>
                  <a:lnTo>
                    <a:pt x="391" y="144"/>
                  </a:lnTo>
                  <a:lnTo>
                    <a:pt x="400" y="145"/>
                  </a:lnTo>
                  <a:lnTo>
                    <a:pt x="448" y="178"/>
                  </a:lnTo>
                  <a:lnTo>
                    <a:pt x="449" y="185"/>
                  </a:lnTo>
                  <a:lnTo>
                    <a:pt x="450" y="190"/>
                  </a:lnTo>
                  <a:lnTo>
                    <a:pt x="454" y="194"/>
                  </a:lnTo>
                  <a:lnTo>
                    <a:pt x="473" y="204"/>
                  </a:lnTo>
                  <a:lnTo>
                    <a:pt x="478" y="204"/>
                  </a:lnTo>
                  <a:lnTo>
                    <a:pt x="483" y="201"/>
                  </a:lnTo>
                  <a:lnTo>
                    <a:pt x="513" y="166"/>
                  </a:lnTo>
                  <a:lnTo>
                    <a:pt x="545" y="194"/>
                  </a:lnTo>
                  <a:lnTo>
                    <a:pt x="551" y="195"/>
                  </a:lnTo>
                  <a:lnTo>
                    <a:pt x="558" y="193"/>
                  </a:lnTo>
                  <a:lnTo>
                    <a:pt x="563" y="186"/>
                  </a:lnTo>
                  <a:lnTo>
                    <a:pt x="574" y="150"/>
                  </a:lnTo>
                  <a:lnTo>
                    <a:pt x="580" y="143"/>
                  </a:lnTo>
                  <a:lnTo>
                    <a:pt x="586" y="143"/>
                  </a:lnTo>
                  <a:lnTo>
                    <a:pt x="591" y="146"/>
                  </a:lnTo>
                  <a:lnTo>
                    <a:pt x="618" y="179"/>
                  </a:lnTo>
                  <a:lnTo>
                    <a:pt x="664" y="121"/>
                  </a:lnTo>
                  <a:lnTo>
                    <a:pt x="646" y="86"/>
                  </a:lnTo>
                  <a:lnTo>
                    <a:pt x="655" y="79"/>
                  </a:lnTo>
                  <a:lnTo>
                    <a:pt x="653" y="34"/>
                  </a:lnTo>
                  <a:lnTo>
                    <a:pt x="654" y="26"/>
                  </a:lnTo>
                  <a:lnTo>
                    <a:pt x="659" y="21"/>
                  </a:lnTo>
                  <a:lnTo>
                    <a:pt x="664" y="23"/>
                  </a:lnTo>
                  <a:lnTo>
                    <a:pt x="669" y="26"/>
                  </a:lnTo>
                  <a:lnTo>
                    <a:pt x="706" y="90"/>
                  </a:lnTo>
                  <a:lnTo>
                    <a:pt x="711" y="95"/>
                  </a:lnTo>
                  <a:lnTo>
                    <a:pt x="715" y="94"/>
                  </a:lnTo>
                  <a:lnTo>
                    <a:pt x="719" y="88"/>
                  </a:lnTo>
                  <a:lnTo>
                    <a:pt x="720" y="78"/>
                  </a:lnTo>
                  <a:lnTo>
                    <a:pt x="713" y="58"/>
                  </a:lnTo>
                  <a:lnTo>
                    <a:pt x="693" y="23"/>
                  </a:lnTo>
                  <a:lnTo>
                    <a:pt x="689" y="14"/>
                  </a:lnTo>
                  <a:lnTo>
                    <a:pt x="690" y="6"/>
                  </a:lnTo>
                  <a:lnTo>
                    <a:pt x="696" y="1"/>
                  </a:lnTo>
                  <a:lnTo>
                    <a:pt x="729" y="0"/>
                  </a:lnTo>
                  <a:lnTo>
                    <a:pt x="733" y="3"/>
                  </a:lnTo>
                  <a:lnTo>
                    <a:pt x="736" y="8"/>
                  </a:lnTo>
                  <a:lnTo>
                    <a:pt x="739" y="20"/>
                  </a:lnTo>
                  <a:lnTo>
                    <a:pt x="741" y="24"/>
                  </a:lnTo>
                  <a:lnTo>
                    <a:pt x="744" y="28"/>
                  </a:lnTo>
                  <a:lnTo>
                    <a:pt x="755" y="28"/>
                  </a:lnTo>
                  <a:lnTo>
                    <a:pt x="758" y="30"/>
                  </a:lnTo>
                  <a:lnTo>
                    <a:pt x="764" y="43"/>
                  </a:lnTo>
                  <a:lnTo>
                    <a:pt x="778" y="61"/>
                  </a:lnTo>
                  <a:lnTo>
                    <a:pt x="815" y="84"/>
                  </a:lnTo>
                  <a:lnTo>
                    <a:pt x="829" y="74"/>
                  </a:lnTo>
                  <a:lnTo>
                    <a:pt x="854" y="104"/>
                  </a:lnTo>
                  <a:lnTo>
                    <a:pt x="983" y="163"/>
                  </a:lnTo>
                  <a:lnTo>
                    <a:pt x="993" y="173"/>
                  </a:lnTo>
                  <a:lnTo>
                    <a:pt x="1014" y="223"/>
                  </a:lnTo>
                  <a:lnTo>
                    <a:pt x="1024" y="226"/>
                  </a:lnTo>
                  <a:lnTo>
                    <a:pt x="1026" y="224"/>
                  </a:lnTo>
                  <a:lnTo>
                    <a:pt x="1033" y="213"/>
                  </a:lnTo>
                  <a:lnTo>
                    <a:pt x="1036" y="208"/>
                  </a:lnTo>
                  <a:lnTo>
                    <a:pt x="1043" y="205"/>
                  </a:lnTo>
                  <a:lnTo>
                    <a:pt x="1068" y="205"/>
                  </a:lnTo>
                  <a:lnTo>
                    <a:pt x="1081" y="213"/>
                  </a:lnTo>
                  <a:lnTo>
                    <a:pt x="1095" y="214"/>
                  </a:lnTo>
                  <a:lnTo>
                    <a:pt x="1123" y="21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61" name="Toledo" descr="{&quot;Key&quot;:&quot;toledo&quot;,&quot;Name&quot;:&quot;Toledo&quot;,&quot;Value&quot;:1.0,&quot;Formula&quot;:&quot;&quot;,&quot;Text&quot;:&quot;1&quot;,&quot;HasValue&quot;:true}">
              <a:extLst>
                <a:ext uri="{FF2B5EF4-FFF2-40B4-BE49-F238E27FC236}">
                  <a16:creationId xmlns:a16="http://schemas.microsoft.com/office/drawing/2014/main" id="{2A6C97F3-4012-46DF-5CE5-AD040A901E0A}"/>
                </a:ext>
              </a:extLst>
            </p:cNvPr>
            <p:cNvSpPr>
              <a:spLocks/>
            </p:cNvSpPr>
            <p:nvPr/>
          </p:nvSpPr>
          <p:spPr bwMode="auto">
            <a:xfrm>
              <a:off x="2654139" y="3727818"/>
              <a:ext cx="949237" cy="524206"/>
            </a:xfrm>
            <a:custGeom>
              <a:avLst/>
              <a:gdLst>
                <a:gd name="T0" fmla="*/ 1256 w 1376"/>
                <a:gd name="T1" fmla="*/ 314 h 759"/>
                <a:gd name="T2" fmla="*/ 1376 w 1376"/>
                <a:gd name="T3" fmla="*/ 484 h 759"/>
                <a:gd name="T4" fmla="*/ 1246 w 1376"/>
                <a:gd name="T5" fmla="*/ 589 h 759"/>
                <a:gd name="T6" fmla="*/ 1144 w 1376"/>
                <a:gd name="T7" fmla="*/ 650 h 759"/>
                <a:gd name="T8" fmla="*/ 1000 w 1376"/>
                <a:gd name="T9" fmla="*/ 724 h 759"/>
                <a:gd name="T10" fmla="*/ 874 w 1376"/>
                <a:gd name="T11" fmla="*/ 741 h 759"/>
                <a:gd name="T12" fmla="*/ 730 w 1376"/>
                <a:gd name="T13" fmla="*/ 683 h 759"/>
                <a:gd name="T14" fmla="*/ 691 w 1376"/>
                <a:gd name="T15" fmla="*/ 674 h 759"/>
                <a:gd name="T16" fmla="*/ 738 w 1376"/>
                <a:gd name="T17" fmla="*/ 598 h 759"/>
                <a:gd name="T18" fmla="*/ 743 w 1376"/>
                <a:gd name="T19" fmla="*/ 564 h 759"/>
                <a:gd name="T20" fmla="*/ 683 w 1376"/>
                <a:gd name="T21" fmla="*/ 531 h 759"/>
                <a:gd name="T22" fmla="*/ 521 w 1376"/>
                <a:gd name="T23" fmla="*/ 594 h 759"/>
                <a:gd name="T24" fmla="*/ 473 w 1376"/>
                <a:gd name="T25" fmla="*/ 551 h 759"/>
                <a:gd name="T26" fmla="*/ 431 w 1376"/>
                <a:gd name="T27" fmla="*/ 608 h 759"/>
                <a:gd name="T28" fmla="*/ 360 w 1376"/>
                <a:gd name="T29" fmla="*/ 603 h 759"/>
                <a:gd name="T30" fmla="*/ 272 w 1376"/>
                <a:gd name="T31" fmla="*/ 574 h 759"/>
                <a:gd name="T32" fmla="*/ 195 w 1376"/>
                <a:gd name="T33" fmla="*/ 601 h 759"/>
                <a:gd name="T34" fmla="*/ 149 w 1376"/>
                <a:gd name="T35" fmla="*/ 566 h 759"/>
                <a:gd name="T36" fmla="*/ 107 w 1376"/>
                <a:gd name="T37" fmla="*/ 514 h 759"/>
                <a:gd name="T38" fmla="*/ 135 w 1376"/>
                <a:gd name="T39" fmla="*/ 444 h 759"/>
                <a:gd name="T40" fmla="*/ 125 w 1376"/>
                <a:gd name="T41" fmla="*/ 408 h 759"/>
                <a:gd name="T42" fmla="*/ 115 w 1376"/>
                <a:gd name="T43" fmla="*/ 373 h 759"/>
                <a:gd name="T44" fmla="*/ 72 w 1376"/>
                <a:gd name="T45" fmla="*/ 404 h 759"/>
                <a:gd name="T46" fmla="*/ 44 w 1376"/>
                <a:gd name="T47" fmla="*/ 368 h 759"/>
                <a:gd name="T48" fmla="*/ 54 w 1376"/>
                <a:gd name="T49" fmla="*/ 321 h 759"/>
                <a:gd name="T50" fmla="*/ 8 w 1376"/>
                <a:gd name="T51" fmla="*/ 309 h 759"/>
                <a:gd name="T52" fmla="*/ 11 w 1376"/>
                <a:gd name="T53" fmla="*/ 184 h 759"/>
                <a:gd name="T54" fmla="*/ 105 w 1376"/>
                <a:gd name="T55" fmla="*/ 155 h 759"/>
                <a:gd name="T56" fmla="*/ 166 w 1376"/>
                <a:gd name="T57" fmla="*/ 134 h 759"/>
                <a:gd name="T58" fmla="*/ 209 w 1376"/>
                <a:gd name="T59" fmla="*/ 116 h 759"/>
                <a:gd name="T60" fmla="*/ 255 w 1376"/>
                <a:gd name="T61" fmla="*/ 128 h 759"/>
                <a:gd name="T62" fmla="*/ 285 w 1376"/>
                <a:gd name="T63" fmla="*/ 88 h 759"/>
                <a:gd name="T64" fmla="*/ 324 w 1376"/>
                <a:gd name="T65" fmla="*/ 36 h 759"/>
                <a:gd name="T66" fmla="*/ 386 w 1376"/>
                <a:gd name="T67" fmla="*/ 30 h 759"/>
                <a:gd name="T68" fmla="*/ 399 w 1376"/>
                <a:gd name="T69" fmla="*/ 75 h 759"/>
                <a:gd name="T70" fmla="*/ 466 w 1376"/>
                <a:gd name="T71" fmla="*/ 80 h 759"/>
                <a:gd name="T72" fmla="*/ 502 w 1376"/>
                <a:gd name="T73" fmla="*/ 65 h 759"/>
                <a:gd name="T74" fmla="*/ 556 w 1376"/>
                <a:gd name="T75" fmla="*/ 18 h 759"/>
                <a:gd name="T76" fmla="*/ 577 w 1376"/>
                <a:gd name="T77" fmla="*/ 14 h 759"/>
                <a:gd name="T78" fmla="*/ 599 w 1376"/>
                <a:gd name="T79" fmla="*/ 56 h 759"/>
                <a:gd name="T80" fmla="*/ 632 w 1376"/>
                <a:gd name="T81" fmla="*/ 39 h 759"/>
                <a:gd name="T82" fmla="*/ 679 w 1376"/>
                <a:gd name="T83" fmla="*/ 23 h 759"/>
                <a:gd name="T84" fmla="*/ 734 w 1376"/>
                <a:gd name="T85" fmla="*/ 38 h 759"/>
                <a:gd name="T86" fmla="*/ 771 w 1376"/>
                <a:gd name="T87" fmla="*/ 65 h 759"/>
                <a:gd name="T88" fmla="*/ 861 w 1376"/>
                <a:gd name="T89" fmla="*/ 102 h 759"/>
                <a:gd name="T90" fmla="*/ 897 w 1376"/>
                <a:gd name="T91" fmla="*/ 122 h 759"/>
                <a:gd name="T92" fmla="*/ 952 w 1376"/>
                <a:gd name="T93" fmla="*/ 130 h 759"/>
                <a:gd name="T94" fmla="*/ 981 w 1376"/>
                <a:gd name="T95" fmla="*/ 182 h 759"/>
                <a:gd name="T96" fmla="*/ 919 w 1376"/>
                <a:gd name="T97" fmla="*/ 240 h 759"/>
                <a:gd name="T98" fmla="*/ 852 w 1376"/>
                <a:gd name="T99" fmla="*/ 270 h 759"/>
                <a:gd name="T100" fmla="*/ 876 w 1376"/>
                <a:gd name="T101" fmla="*/ 303 h 759"/>
                <a:gd name="T102" fmla="*/ 914 w 1376"/>
                <a:gd name="T103" fmla="*/ 273 h 759"/>
                <a:gd name="T104" fmla="*/ 966 w 1376"/>
                <a:gd name="T105" fmla="*/ 252 h 759"/>
                <a:gd name="T106" fmla="*/ 994 w 1376"/>
                <a:gd name="T107" fmla="*/ 225 h 759"/>
                <a:gd name="T108" fmla="*/ 1047 w 1376"/>
                <a:gd name="T109" fmla="*/ 190 h 759"/>
                <a:gd name="T110" fmla="*/ 1165 w 1376"/>
                <a:gd name="T111" fmla="*/ 187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6" h="759">
                  <a:moveTo>
                    <a:pt x="1235" y="178"/>
                  </a:moveTo>
                  <a:lnTo>
                    <a:pt x="1231" y="190"/>
                  </a:lnTo>
                  <a:lnTo>
                    <a:pt x="1246" y="237"/>
                  </a:lnTo>
                  <a:lnTo>
                    <a:pt x="1271" y="235"/>
                  </a:lnTo>
                  <a:lnTo>
                    <a:pt x="1271" y="274"/>
                  </a:lnTo>
                  <a:lnTo>
                    <a:pt x="1256" y="314"/>
                  </a:lnTo>
                  <a:lnTo>
                    <a:pt x="1273" y="320"/>
                  </a:lnTo>
                  <a:lnTo>
                    <a:pt x="1293" y="343"/>
                  </a:lnTo>
                  <a:lnTo>
                    <a:pt x="1303" y="379"/>
                  </a:lnTo>
                  <a:lnTo>
                    <a:pt x="1316" y="395"/>
                  </a:lnTo>
                  <a:lnTo>
                    <a:pt x="1325" y="427"/>
                  </a:lnTo>
                  <a:lnTo>
                    <a:pt x="1376" y="484"/>
                  </a:lnTo>
                  <a:lnTo>
                    <a:pt x="1366" y="513"/>
                  </a:lnTo>
                  <a:lnTo>
                    <a:pt x="1364" y="607"/>
                  </a:lnTo>
                  <a:lnTo>
                    <a:pt x="1338" y="627"/>
                  </a:lnTo>
                  <a:lnTo>
                    <a:pt x="1313" y="618"/>
                  </a:lnTo>
                  <a:lnTo>
                    <a:pt x="1286" y="622"/>
                  </a:lnTo>
                  <a:lnTo>
                    <a:pt x="1246" y="589"/>
                  </a:lnTo>
                  <a:lnTo>
                    <a:pt x="1223" y="595"/>
                  </a:lnTo>
                  <a:lnTo>
                    <a:pt x="1223" y="605"/>
                  </a:lnTo>
                  <a:lnTo>
                    <a:pt x="1163" y="608"/>
                  </a:lnTo>
                  <a:lnTo>
                    <a:pt x="1156" y="613"/>
                  </a:lnTo>
                  <a:lnTo>
                    <a:pt x="1149" y="642"/>
                  </a:lnTo>
                  <a:lnTo>
                    <a:pt x="1144" y="650"/>
                  </a:lnTo>
                  <a:lnTo>
                    <a:pt x="1135" y="655"/>
                  </a:lnTo>
                  <a:lnTo>
                    <a:pt x="1104" y="654"/>
                  </a:lnTo>
                  <a:lnTo>
                    <a:pt x="1065" y="678"/>
                  </a:lnTo>
                  <a:lnTo>
                    <a:pt x="1061" y="699"/>
                  </a:lnTo>
                  <a:lnTo>
                    <a:pt x="1018" y="730"/>
                  </a:lnTo>
                  <a:lnTo>
                    <a:pt x="1000" y="724"/>
                  </a:lnTo>
                  <a:lnTo>
                    <a:pt x="949" y="734"/>
                  </a:lnTo>
                  <a:lnTo>
                    <a:pt x="925" y="751"/>
                  </a:lnTo>
                  <a:lnTo>
                    <a:pt x="918" y="751"/>
                  </a:lnTo>
                  <a:lnTo>
                    <a:pt x="893" y="734"/>
                  </a:lnTo>
                  <a:lnTo>
                    <a:pt x="883" y="735"/>
                  </a:lnTo>
                  <a:lnTo>
                    <a:pt x="874" y="741"/>
                  </a:lnTo>
                  <a:lnTo>
                    <a:pt x="859" y="759"/>
                  </a:lnTo>
                  <a:lnTo>
                    <a:pt x="840" y="756"/>
                  </a:lnTo>
                  <a:lnTo>
                    <a:pt x="825" y="744"/>
                  </a:lnTo>
                  <a:lnTo>
                    <a:pt x="789" y="731"/>
                  </a:lnTo>
                  <a:lnTo>
                    <a:pt x="786" y="693"/>
                  </a:lnTo>
                  <a:lnTo>
                    <a:pt x="730" y="683"/>
                  </a:lnTo>
                  <a:lnTo>
                    <a:pt x="716" y="698"/>
                  </a:lnTo>
                  <a:lnTo>
                    <a:pt x="712" y="699"/>
                  </a:lnTo>
                  <a:lnTo>
                    <a:pt x="706" y="698"/>
                  </a:lnTo>
                  <a:lnTo>
                    <a:pt x="694" y="688"/>
                  </a:lnTo>
                  <a:lnTo>
                    <a:pt x="690" y="681"/>
                  </a:lnTo>
                  <a:lnTo>
                    <a:pt x="691" y="674"/>
                  </a:lnTo>
                  <a:lnTo>
                    <a:pt x="700" y="651"/>
                  </a:lnTo>
                  <a:lnTo>
                    <a:pt x="705" y="618"/>
                  </a:lnTo>
                  <a:lnTo>
                    <a:pt x="726" y="620"/>
                  </a:lnTo>
                  <a:lnTo>
                    <a:pt x="735" y="611"/>
                  </a:lnTo>
                  <a:lnTo>
                    <a:pt x="738" y="605"/>
                  </a:lnTo>
                  <a:lnTo>
                    <a:pt x="738" y="598"/>
                  </a:lnTo>
                  <a:lnTo>
                    <a:pt x="736" y="593"/>
                  </a:lnTo>
                  <a:lnTo>
                    <a:pt x="729" y="584"/>
                  </a:lnTo>
                  <a:lnTo>
                    <a:pt x="728" y="579"/>
                  </a:lnTo>
                  <a:lnTo>
                    <a:pt x="729" y="570"/>
                  </a:lnTo>
                  <a:lnTo>
                    <a:pt x="735" y="566"/>
                  </a:lnTo>
                  <a:lnTo>
                    <a:pt x="743" y="564"/>
                  </a:lnTo>
                  <a:lnTo>
                    <a:pt x="748" y="558"/>
                  </a:lnTo>
                  <a:lnTo>
                    <a:pt x="750" y="553"/>
                  </a:lnTo>
                  <a:lnTo>
                    <a:pt x="749" y="538"/>
                  </a:lnTo>
                  <a:lnTo>
                    <a:pt x="748" y="531"/>
                  </a:lnTo>
                  <a:lnTo>
                    <a:pt x="703" y="540"/>
                  </a:lnTo>
                  <a:lnTo>
                    <a:pt x="683" y="531"/>
                  </a:lnTo>
                  <a:lnTo>
                    <a:pt x="664" y="588"/>
                  </a:lnTo>
                  <a:lnTo>
                    <a:pt x="636" y="601"/>
                  </a:lnTo>
                  <a:lnTo>
                    <a:pt x="534" y="580"/>
                  </a:lnTo>
                  <a:lnTo>
                    <a:pt x="530" y="581"/>
                  </a:lnTo>
                  <a:lnTo>
                    <a:pt x="526" y="584"/>
                  </a:lnTo>
                  <a:lnTo>
                    <a:pt x="521" y="594"/>
                  </a:lnTo>
                  <a:lnTo>
                    <a:pt x="514" y="598"/>
                  </a:lnTo>
                  <a:lnTo>
                    <a:pt x="508" y="596"/>
                  </a:lnTo>
                  <a:lnTo>
                    <a:pt x="500" y="591"/>
                  </a:lnTo>
                  <a:lnTo>
                    <a:pt x="494" y="584"/>
                  </a:lnTo>
                  <a:lnTo>
                    <a:pt x="488" y="551"/>
                  </a:lnTo>
                  <a:lnTo>
                    <a:pt x="473" y="551"/>
                  </a:lnTo>
                  <a:lnTo>
                    <a:pt x="464" y="558"/>
                  </a:lnTo>
                  <a:lnTo>
                    <a:pt x="459" y="570"/>
                  </a:lnTo>
                  <a:lnTo>
                    <a:pt x="456" y="588"/>
                  </a:lnTo>
                  <a:lnTo>
                    <a:pt x="447" y="591"/>
                  </a:lnTo>
                  <a:lnTo>
                    <a:pt x="439" y="599"/>
                  </a:lnTo>
                  <a:lnTo>
                    <a:pt x="431" y="608"/>
                  </a:lnTo>
                  <a:lnTo>
                    <a:pt x="429" y="619"/>
                  </a:lnTo>
                  <a:lnTo>
                    <a:pt x="387" y="623"/>
                  </a:lnTo>
                  <a:lnTo>
                    <a:pt x="381" y="630"/>
                  </a:lnTo>
                  <a:lnTo>
                    <a:pt x="354" y="645"/>
                  </a:lnTo>
                  <a:lnTo>
                    <a:pt x="346" y="634"/>
                  </a:lnTo>
                  <a:lnTo>
                    <a:pt x="360" y="603"/>
                  </a:lnTo>
                  <a:lnTo>
                    <a:pt x="357" y="593"/>
                  </a:lnTo>
                  <a:lnTo>
                    <a:pt x="352" y="585"/>
                  </a:lnTo>
                  <a:lnTo>
                    <a:pt x="341" y="573"/>
                  </a:lnTo>
                  <a:lnTo>
                    <a:pt x="292" y="546"/>
                  </a:lnTo>
                  <a:lnTo>
                    <a:pt x="286" y="549"/>
                  </a:lnTo>
                  <a:lnTo>
                    <a:pt x="272" y="574"/>
                  </a:lnTo>
                  <a:lnTo>
                    <a:pt x="247" y="664"/>
                  </a:lnTo>
                  <a:lnTo>
                    <a:pt x="232" y="651"/>
                  </a:lnTo>
                  <a:lnTo>
                    <a:pt x="225" y="643"/>
                  </a:lnTo>
                  <a:lnTo>
                    <a:pt x="220" y="635"/>
                  </a:lnTo>
                  <a:lnTo>
                    <a:pt x="202" y="615"/>
                  </a:lnTo>
                  <a:lnTo>
                    <a:pt x="195" y="601"/>
                  </a:lnTo>
                  <a:lnTo>
                    <a:pt x="191" y="599"/>
                  </a:lnTo>
                  <a:lnTo>
                    <a:pt x="181" y="596"/>
                  </a:lnTo>
                  <a:lnTo>
                    <a:pt x="172" y="591"/>
                  </a:lnTo>
                  <a:lnTo>
                    <a:pt x="169" y="586"/>
                  </a:lnTo>
                  <a:lnTo>
                    <a:pt x="160" y="579"/>
                  </a:lnTo>
                  <a:lnTo>
                    <a:pt x="149" y="566"/>
                  </a:lnTo>
                  <a:lnTo>
                    <a:pt x="129" y="540"/>
                  </a:lnTo>
                  <a:lnTo>
                    <a:pt x="124" y="536"/>
                  </a:lnTo>
                  <a:lnTo>
                    <a:pt x="115" y="530"/>
                  </a:lnTo>
                  <a:lnTo>
                    <a:pt x="107" y="523"/>
                  </a:lnTo>
                  <a:lnTo>
                    <a:pt x="106" y="519"/>
                  </a:lnTo>
                  <a:lnTo>
                    <a:pt x="107" y="514"/>
                  </a:lnTo>
                  <a:lnTo>
                    <a:pt x="119" y="496"/>
                  </a:lnTo>
                  <a:lnTo>
                    <a:pt x="121" y="491"/>
                  </a:lnTo>
                  <a:lnTo>
                    <a:pt x="127" y="483"/>
                  </a:lnTo>
                  <a:lnTo>
                    <a:pt x="132" y="469"/>
                  </a:lnTo>
                  <a:lnTo>
                    <a:pt x="134" y="454"/>
                  </a:lnTo>
                  <a:lnTo>
                    <a:pt x="135" y="444"/>
                  </a:lnTo>
                  <a:lnTo>
                    <a:pt x="137" y="439"/>
                  </a:lnTo>
                  <a:lnTo>
                    <a:pt x="139" y="433"/>
                  </a:lnTo>
                  <a:lnTo>
                    <a:pt x="137" y="428"/>
                  </a:lnTo>
                  <a:lnTo>
                    <a:pt x="134" y="421"/>
                  </a:lnTo>
                  <a:lnTo>
                    <a:pt x="126" y="413"/>
                  </a:lnTo>
                  <a:lnTo>
                    <a:pt x="125" y="408"/>
                  </a:lnTo>
                  <a:lnTo>
                    <a:pt x="129" y="398"/>
                  </a:lnTo>
                  <a:lnTo>
                    <a:pt x="129" y="390"/>
                  </a:lnTo>
                  <a:lnTo>
                    <a:pt x="126" y="381"/>
                  </a:lnTo>
                  <a:lnTo>
                    <a:pt x="124" y="375"/>
                  </a:lnTo>
                  <a:lnTo>
                    <a:pt x="119" y="373"/>
                  </a:lnTo>
                  <a:lnTo>
                    <a:pt x="115" y="373"/>
                  </a:lnTo>
                  <a:lnTo>
                    <a:pt x="105" y="374"/>
                  </a:lnTo>
                  <a:lnTo>
                    <a:pt x="101" y="375"/>
                  </a:lnTo>
                  <a:lnTo>
                    <a:pt x="90" y="385"/>
                  </a:lnTo>
                  <a:lnTo>
                    <a:pt x="85" y="390"/>
                  </a:lnTo>
                  <a:lnTo>
                    <a:pt x="79" y="400"/>
                  </a:lnTo>
                  <a:lnTo>
                    <a:pt x="72" y="404"/>
                  </a:lnTo>
                  <a:lnTo>
                    <a:pt x="65" y="404"/>
                  </a:lnTo>
                  <a:lnTo>
                    <a:pt x="46" y="400"/>
                  </a:lnTo>
                  <a:lnTo>
                    <a:pt x="42" y="396"/>
                  </a:lnTo>
                  <a:lnTo>
                    <a:pt x="41" y="390"/>
                  </a:lnTo>
                  <a:lnTo>
                    <a:pt x="42" y="375"/>
                  </a:lnTo>
                  <a:lnTo>
                    <a:pt x="44" y="368"/>
                  </a:lnTo>
                  <a:lnTo>
                    <a:pt x="46" y="350"/>
                  </a:lnTo>
                  <a:lnTo>
                    <a:pt x="49" y="344"/>
                  </a:lnTo>
                  <a:lnTo>
                    <a:pt x="55" y="335"/>
                  </a:lnTo>
                  <a:lnTo>
                    <a:pt x="56" y="330"/>
                  </a:lnTo>
                  <a:lnTo>
                    <a:pt x="56" y="325"/>
                  </a:lnTo>
                  <a:lnTo>
                    <a:pt x="54" y="321"/>
                  </a:lnTo>
                  <a:lnTo>
                    <a:pt x="48" y="313"/>
                  </a:lnTo>
                  <a:lnTo>
                    <a:pt x="43" y="309"/>
                  </a:lnTo>
                  <a:lnTo>
                    <a:pt x="39" y="306"/>
                  </a:lnTo>
                  <a:lnTo>
                    <a:pt x="34" y="305"/>
                  </a:lnTo>
                  <a:lnTo>
                    <a:pt x="19" y="306"/>
                  </a:lnTo>
                  <a:lnTo>
                    <a:pt x="8" y="309"/>
                  </a:lnTo>
                  <a:lnTo>
                    <a:pt x="3" y="311"/>
                  </a:lnTo>
                  <a:lnTo>
                    <a:pt x="0" y="303"/>
                  </a:lnTo>
                  <a:lnTo>
                    <a:pt x="0" y="283"/>
                  </a:lnTo>
                  <a:lnTo>
                    <a:pt x="9" y="229"/>
                  </a:lnTo>
                  <a:lnTo>
                    <a:pt x="13" y="190"/>
                  </a:lnTo>
                  <a:lnTo>
                    <a:pt x="11" y="184"/>
                  </a:lnTo>
                  <a:lnTo>
                    <a:pt x="11" y="176"/>
                  </a:lnTo>
                  <a:lnTo>
                    <a:pt x="14" y="158"/>
                  </a:lnTo>
                  <a:lnTo>
                    <a:pt x="19" y="149"/>
                  </a:lnTo>
                  <a:lnTo>
                    <a:pt x="35" y="141"/>
                  </a:lnTo>
                  <a:lnTo>
                    <a:pt x="89" y="148"/>
                  </a:lnTo>
                  <a:lnTo>
                    <a:pt x="105" y="155"/>
                  </a:lnTo>
                  <a:lnTo>
                    <a:pt x="111" y="160"/>
                  </a:lnTo>
                  <a:lnTo>
                    <a:pt x="124" y="161"/>
                  </a:lnTo>
                  <a:lnTo>
                    <a:pt x="132" y="159"/>
                  </a:lnTo>
                  <a:lnTo>
                    <a:pt x="139" y="157"/>
                  </a:lnTo>
                  <a:lnTo>
                    <a:pt x="144" y="151"/>
                  </a:lnTo>
                  <a:lnTo>
                    <a:pt x="166" y="134"/>
                  </a:lnTo>
                  <a:lnTo>
                    <a:pt x="174" y="125"/>
                  </a:lnTo>
                  <a:lnTo>
                    <a:pt x="177" y="121"/>
                  </a:lnTo>
                  <a:lnTo>
                    <a:pt x="185" y="118"/>
                  </a:lnTo>
                  <a:lnTo>
                    <a:pt x="199" y="113"/>
                  </a:lnTo>
                  <a:lnTo>
                    <a:pt x="205" y="113"/>
                  </a:lnTo>
                  <a:lnTo>
                    <a:pt x="209" y="116"/>
                  </a:lnTo>
                  <a:lnTo>
                    <a:pt x="212" y="136"/>
                  </a:lnTo>
                  <a:lnTo>
                    <a:pt x="215" y="140"/>
                  </a:lnTo>
                  <a:lnTo>
                    <a:pt x="222" y="143"/>
                  </a:lnTo>
                  <a:lnTo>
                    <a:pt x="235" y="140"/>
                  </a:lnTo>
                  <a:lnTo>
                    <a:pt x="244" y="136"/>
                  </a:lnTo>
                  <a:lnTo>
                    <a:pt x="255" y="128"/>
                  </a:lnTo>
                  <a:lnTo>
                    <a:pt x="260" y="124"/>
                  </a:lnTo>
                  <a:lnTo>
                    <a:pt x="264" y="114"/>
                  </a:lnTo>
                  <a:lnTo>
                    <a:pt x="265" y="108"/>
                  </a:lnTo>
                  <a:lnTo>
                    <a:pt x="270" y="99"/>
                  </a:lnTo>
                  <a:lnTo>
                    <a:pt x="276" y="94"/>
                  </a:lnTo>
                  <a:lnTo>
                    <a:pt x="285" y="88"/>
                  </a:lnTo>
                  <a:lnTo>
                    <a:pt x="291" y="83"/>
                  </a:lnTo>
                  <a:lnTo>
                    <a:pt x="304" y="75"/>
                  </a:lnTo>
                  <a:lnTo>
                    <a:pt x="312" y="68"/>
                  </a:lnTo>
                  <a:lnTo>
                    <a:pt x="319" y="59"/>
                  </a:lnTo>
                  <a:lnTo>
                    <a:pt x="321" y="46"/>
                  </a:lnTo>
                  <a:lnTo>
                    <a:pt x="324" y="36"/>
                  </a:lnTo>
                  <a:lnTo>
                    <a:pt x="327" y="33"/>
                  </a:lnTo>
                  <a:lnTo>
                    <a:pt x="339" y="33"/>
                  </a:lnTo>
                  <a:lnTo>
                    <a:pt x="365" y="29"/>
                  </a:lnTo>
                  <a:lnTo>
                    <a:pt x="377" y="25"/>
                  </a:lnTo>
                  <a:lnTo>
                    <a:pt x="382" y="25"/>
                  </a:lnTo>
                  <a:lnTo>
                    <a:pt x="386" y="30"/>
                  </a:lnTo>
                  <a:lnTo>
                    <a:pt x="385" y="35"/>
                  </a:lnTo>
                  <a:lnTo>
                    <a:pt x="387" y="45"/>
                  </a:lnTo>
                  <a:lnTo>
                    <a:pt x="390" y="63"/>
                  </a:lnTo>
                  <a:lnTo>
                    <a:pt x="391" y="68"/>
                  </a:lnTo>
                  <a:lnTo>
                    <a:pt x="395" y="71"/>
                  </a:lnTo>
                  <a:lnTo>
                    <a:pt x="399" y="75"/>
                  </a:lnTo>
                  <a:lnTo>
                    <a:pt x="409" y="80"/>
                  </a:lnTo>
                  <a:lnTo>
                    <a:pt x="416" y="83"/>
                  </a:lnTo>
                  <a:lnTo>
                    <a:pt x="424" y="82"/>
                  </a:lnTo>
                  <a:lnTo>
                    <a:pt x="437" y="79"/>
                  </a:lnTo>
                  <a:lnTo>
                    <a:pt x="454" y="72"/>
                  </a:lnTo>
                  <a:lnTo>
                    <a:pt x="466" y="80"/>
                  </a:lnTo>
                  <a:lnTo>
                    <a:pt x="475" y="82"/>
                  </a:lnTo>
                  <a:lnTo>
                    <a:pt x="482" y="82"/>
                  </a:lnTo>
                  <a:lnTo>
                    <a:pt x="487" y="78"/>
                  </a:lnTo>
                  <a:lnTo>
                    <a:pt x="490" y="74"/>
                  </a:lnTo>
                  <a:lnTo>
                    <a:pt x="495" y="69"/>
                  </a:lnTo>
                  <a:lnTo>
                    <a:pt x="502" y="65"/>
                  </a:lnTo>
                  <a:lnTo>
                    <a:pt x="520" y="58"/>
                  </a:lnTo>
                  <a:lnTo>
                    <a:pt x="527" y="51"/>
                  </a:lnTo>
                  <a:lnTo>
                    <a:pt x="532" y="46"/>
                  </a:lnTo>
                  <a:lnTo>
                    <a:pt x="535" y="40"/>
                  </a:lnTo>
                  <a:lnTo>
                    <a:pt x="552" y="23"/>
                  </a:lnTo>
                  <a:lnTo>
                    <a:pt x="556" y="18"/>
                  </a:lnTo>
                  <a:lnTo>
                    <a:pt x="559" y="13"/>
                  </a:lnTo>
                  <a:lnTo>
                    <a:pt x="565" y="1"/>
                  </a:lnTo>
                  <a:lnTo>
                    <a:pt x="569" y="0"/>
                  </a:lnTo>
                  <a:lnTo>
                    <a:pt x="575" y="5"/>
                  </a:lnTo>
                  <a:lnTo>
                    <a:pt x="577" y="9"/>
                  </a:lnTo>
                  <a:lnTo>
                    <a:pt x="577" y="14"/>
                  </a:lnTo>
                  <a:lnTo>
                    <a:pt x="576" y="24"/>
                  </a:lnTo>
                  <a:lnTo>
                    <a:pt x="576" y="30"/>
                  </a:lnTo>
                  <a:lnTo>
                    <a:pt x="577" y="35"/>
                  </a:lnTo>
                  <a:lnTo>
                    <a:pt x="582" y="44"/>
                  </a:lnTo>
                  <a:lnTo>
                    <a:pt x="590" y="53"/>
                  </a:lnTo>
                  <a:lnTo>
                    <a:pt x="599" y="56"/>
                  </a:lnTo>
                  <a:lnTo>
                    <a:pt x="606" y="65"/>
                  </a:lnTo>
                  <a:lnTo>
                    <a:pt x="613" y="64"/>
                  </a:lnTo>
                  <a:lnTo>
                    <a:pt x="620" y="58"/>
                  </a:lnTo>
                  <a:lnTo>
                    <a:pt x="624" y="54"/>
                  </a:lnTo>
                  <a:lnTo>
                    <a:pt x="627" y="46"/>
                  </a:lnTo>
                  <a:lnTo>
                    <a:pt x="632" y="39"/>
                  </a:lnTo>
                  <a:lnTo>
                    <a:pt x="635" y="35"/>
                  </a:lnTo>
                  <a:lnTo>
                    <a:pt x="641" y="30"/>
                  </a:lnTo>
                  <a:lnTo>
                    <a:pt x="655" y="28"/>
                  </a:lnTo>
                  <a:lnTo>
                    <a:pt x="669" y="19"/>
                  </a:lnTo>
                  <a:lnTo>
                    <a:pt x="674" y="19"/>
                  </a:lnTo>
                  <a:lnTo>
                    <a:pt x="679" y="23"/>
                  </a:lnTo>
                  <a:lnTo>
                    <a:pt x="681" y="26"/>
                  </a:lnTo>
                  <a:lnTo>
                    <a:pt x="698" y="43"/>
                  </a:lnTo>
                  <a:lnTo>
                    <a:pt x="706" y="45"/>
                  </a:lnTo>
                  <a:lnTo>
                    <a:pt x="716" y="48"/>
                  </a:lnTo>
                  <a:lnTo>
                    <a:pt x="724" y="45"/>
                  </a:lnTo>
                  <a:lnTo>
                    <a:pt x="734" y="38"/>
                  </a:lnTo>
                  <a:lnTo>
                    <a:pt x="739" y="38"/>
                  </a:lnTo>
                  <a:lnTo>
                    <a:pt x="751" y="43"/>
                  </a:lnTo>
                  <a:lnTo>
                    <a:pt x="756" y="47"/>
                  </a:lnTo>
                  <a:lnTo>
                    <a:pt x="760" y="50"/>
                  </a:lnTo>
                  <a:lnTo>
                    <a:pt x="766" y="60"/>
                  </a:lnTo>
                  <a:lnTo>
                    <a:pt x="771" y="65"/>
                  </a:lnTo>
                  <a:lnTo>
                    <a:pt x="779" y="68"/>
                  </a:lnTo>
                  <a:lnTo>
                    <a:pt x="807" y="78"/>
                  </a:lnTo>
                  <a:lnTo>
                    <a:pt x="826" y="87"/>
                  </a:lnTo>
                  <a:lnTo>
                    <a:pt x="852" y="93"/>
                  </a:lnTo>
                  <a:lnTo>
                    <a:pt x="857" y="98"/>
                  </a:lnTo>
                  <a:lnTo>
                    <a:pt x="861" y="102"/>
                  </a:lnTo>
                  <a:lnTo>
                    <a:pt x="866" y="107"/>
                  </a:lnTo>
                  <a:lnTo>
                    <a:pt x="871" y="107"/>
                  </a:lnTo>
                  <a:lnTo>
                    <a:pt x="881" y="104"/>
                  </a:lnTo>
                  <a:lnTo>
                    <a:pt x="885" y="105"/>
                  </a:lnTo>
                  <a:lnTo>
                    <a:pt x="889" y="109"/>
                  </a:lnTo>
                  <a:lnTo>
                    <a:pt x="897" y="122"/>
                  </a:lnTo>
                  <a:lnTo>
                    <a:pt x="905" y="125"/>
                  </a:lnTo>
                  <a:lnTo>
                    <a:pt x="911" y="128"/>
                  </a:lnTo>
                  <a:lnTo>
                    <a:pt x="925" y="125"/>
                  </a:lnTo>
                  <a:lnTo>
                    <a:pt x="932" y="127"/>
                  </a:lnTo>
                  <a:lnTo>
                    <a:pt x="941" y="129"/>
                  </a:lnTo>
                  <a:lnTo>
                    <a:pt x="952" y="130"/>
                  </a:lnTo>
                  <a:lnTo>
                    <a:pt x="979" y="143"/>
                  </a:lnTo>
                  <a:lnTo>
                    <a:pt x="985" y="148"/>
                  </a:lnTo>
                  <a:lnTo>
                    <a:pt x="987" y="152"/>
                  </a:lnTo>
                  <a:lnTo>
                    <a:pt x="987" y="163"/>
                  </a:lnTo>
                  <a:lnTo>
                    <a:pt x="986" y="167"/>
                  </a:lnTo>
                  <a:lnTo>
                    <a:pt x="981" y="182"/>
                  </a:lnTo>
                  <a:lnTo>
                    <a:pt x="974" y="194"/>
                  </a:lnTo>
                  <a:lnTo>
                    <a:pt x="965" y="200"/>
                  </a:lnTo>
                  <a:lnTo>
                    <a:pt x="961" y="202"/>
                  </a:lnTo>
                  <a:lnTo>
                    <a:pt x="954" y="205"/>
                  </a:lnTo>
                  <a:lnTo>
                    <a:pt x="927" y="233"/>
                  </a:lnTo>
                  <a:lnTo>
                    <a:pt x="919" y="240"/>
                  </a:lnTo>
                  <a:lnTo>
                    <a:pt x="909" y="244"/>
                  </a:lnTo>
                  <a:lnTo>
                    <a:pt x="905" y="247"/>
                  </a:lnTo>
                  <a:lnTo>
                    <a:pt x="896" y="257"/>
                  </a:lnTo>
                  <a:lnTo>
                    <a:pt x="894" y="259"/>
                  </a:lnTo>
                  <a:lnTo>
                    <a:pt x="887" y="259"/>
                  </a:lnTo>
                  <a:lnTo>
                    <a:pt x="852" y="270"/>
                  </a:lnTo>
                  <a:lnTo>
                    <a:pt x="846" y="274"/>
                  </a:lnTo>
                  <a:lnTo>
                    <a:pt x="841" y="279"/>
                  </a:lnTo>
                  <a:lnTo>
                    <a:pt x="844" y="284"/>
                  </a:lnTo>
                  <a:lnTo>
                    <a:pt x="850" y="290"/>
                  </a:lnTo>
                  <a:lnTo>
                    <a:pt x="867" y="302"/>
                  </a:lnTo>
                  <a:lnTo>
                    <a:pt x="876" y="303"/>
                  </a:lnTo>
                  <a:lnTo>
                    <a:pt x="882" y="300"/>
                  </a:lnTo>
                  <a:lnTo>
                    <a:pt x="887" y="295"/>
                  </a:lnTo>
                  <a:lnTo>
                    <a:pt x="896" y="289"/>
                  </a:lnTo>
                  <a:lnTo>
                    <a:pt x="900" y="287"/>
                  </a:lnTo>
                  <a:lnTo>
                    <a:pt x="909" y="279"/>
                  </a:lnTo>
                  <a:lnTo>
                    <a:pt x="914" y="273"/>
                  </a:lnTo>
                  <a:lnTo>
                    <a:pt x="917" y="269"/>
                  </a:lnTo>
                  <a:lnTo>
                    <a:pt x="927" y="265"/>
                  </a:lnTo>
                  <a:lnTo>
                    <a:pt x="937" y="264"/>
                  </a:lnTo>
                  <a:lnTo>
                    <a:pt x="944" y="262"/>
                  </a:lnTo>
                  <a:lnTo>
                    <a:pt x="954" y="255"/>
                  </a:lnTo>
                  <a:lnTo>
                    <a:pt x="966" y="252"/>
                  </a:lnTo>
                  <a:lnTo>
                    <a:pt x="971" y="249"/>
                  </a:lnTo>
                  <a:lnTo>
                    <a:pt x="972" y="245"/>
                  </a:lnTo>
                  <a:lnTo>
                    <a:pt x="972" y="234"/>
                  </a:lnTo>
                  <a:lnTo>
                    <a:pt x="975" y="232"/>
                  </a:lnTo>
                  <a:lnTo>
                    <a:pt x="984" y="228"/>
                  </a:lnTo>
                  <a:lnTo>
                    <a:pt x="994" y="225"/>
                  </a:lnTo>
                  <a:lnTo>
                    <a:pt x="1001" y="219"/>
                  </a:lnTo>
                  <a:lnTo>
                    <a:pt x="1006" y="217"/>
                  </a:lnTo>
                  <a:lnTo>
                    <a:pt x="1029" y="210"/>
                  </a:lnTo>
                  <a:lnTo>
                    <a:pt x="1034" y="209"/>
                  </a:lnTo>
                  <a:lnTo>
                    <a:pt x="1040" y="197"/>
                  </a:lnTo>
                  <a:lnTo>
                    <a:pt x="1047" y="190"/>
                  </a:lnTo>
                  <a:lnTo>
                    <a:pt x="1100" y="193"/>
                  </a:lnTo>
                  <a:lnTo>
                    <a:pt x="1119" y="184"/>
                  </a:lnTo>
                  <a:lnTo>
                    <a:pt x="1130" y="192"/>
                  </a:lnTo>
                  <a:lnTo>
                    <a:pt x="1136" y="193"/>
                  </a:lnTo>
                  <a:lnTo>
                    <a:pt x="1142" y="192"/>
                  </a:lnTo>
                  <a:lnTo>
                    <a:pt x="1165" y="187"/>
                  </a:lnTo>
                  <a:lnTo>
                    <a:pt x="1199" y="169"/>
                  </a:lnTo>
                  <a:lnTo>
                    <a:pt x="1221" y="162"/>
                  </a:lnTo>
                  <a:lnTo>
                    <a:pt x="1231" y="168"/>
                  </a:lnTo>
                  <a:lnTo>
                    <a:pt x="1234" y="170"/>
                  </a:lnTo>
                  <a:lnTo>
                    <a:pt x="1235" y="178"/>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62" name="Valencia" descr="{&quot;Key&quot;:&quot;valencia&quot;,&quot;Name&quot;:&quot;Valencia&quot;,&quot;Value&quot;:1.0,&quot;Formula&quot;:&quot;&quot;,&quot;Text&quot;:&quot;1&quot;,&quot;HasValue&quot;:true}">
              <a:extLst>
                <a:ext uri="{FF2B5EF4-FFF2-40B4-BE49-F238E27FC236}">
                  <a16:creationId xmlns:a16="http://schemas.microsoft.com/office/drawing/2014/main" id="{684A1AD9-77E1-7731-3C98-6A2D35AC75C2}"/>
                </a:ext>
              </a:extLst>
            </p:cNvPr>
            <p:cNvSpPr>
              <a:spLocks noEditPoints="1"/>
            </p:cNvSpPr>
            <p:nvPr/>
          </p:nvSpPr>
          <p:spPr bwMode="auto">
            <a:xfrm>
              <a:off x="4134666" y="3781656"/>
              <a:ext cx="569542" cy="749472"/>
            </a:xfrm>
            <a:custGeom>
              <a:avLst/>
              <a:gdLst>
                <a:gd name="T0" fmla="*/ 459 w 825"/>
                <a:gd name="T1" fmla="*/ 255 h 1085"/>
                <a:gd name="T2" fmla="*/ 484 w 825"/>
                <a:gd name="T3" fmla="*/ 322 h 1085"/>
                <a:gd name="T4" fmla="*/ 527 w 825"/>
                <a:gd name="T5" fmla="*/ 306 h 1085"/>
                <a:gd name="T6" fmla="*/ 615 w 825"/>
                <a:gd name="T7" fmla="*/ 331 h 1085"/>
                <a:gd name="T8" fmla="*/ 734 w 825"/>
                <a:gd name="T9" fmla="*/ 354 h 1085"/>
                <a:gd name="T10" fmla="*/ 708 w 825"/>
                <a:gd name="T11" fmla="*/ 414 h 1085"/>
                <a:gd name="T12" fmla="*/ 669 w 825"/>
                <a:gd name="T13" fmla="*/ 484 h 1085"/>
                <a:gd name="T14" fmla="*/ 675 w 825"/>
                <a:gd name="T15" fmla="*/ 636 h 1085"/>
                <a:gd name="T16" fmla="*/ 712 w 825"/>
                <a:gd name="T17" fmla="*/ 761 h 1085"/>
                <a:gd name="T18" fmla="*/ 775 w 825"/>
                <a:gd name="T19" fmla="*/ 901 h 1085"/>
                <a:gd name="T20" fmla="*/ 670 w 825"/>
                <a:gd name="T21" fmla="*/ 951 h 1085"/>
                <a:gd name="T22" fmla="*/ 547 w 825"/>
                <a:gd name="T23" fmla="*/ 1036 h 1085"/>
                <a:gd name="T24" fmla="*/ 482 w 825"/>
                <a:gd name="T25" fmla="*/ 1067 h 1085"/>
                <a:gd name="T26" fmla="*/ 367 w 825"/>
                <a:gd name="T27" fmla="*/ 1031 h 1085"/>
                <a:gd name="T28" fmla="*/ 334 w 825"/>
                <a:gd name="T29" fmla="*/ 1028 h 1085"/>
                <a:gd name="T30" fmla="*/ 337 w 825"/>
                <a:gd name="T31" fmla="*/ 991 h 1085"/>
                <a:gd name="T32" fmla="*/ 329 w 825"/>
                <a:gd name="T33" fmla="*/ 941 h 1085"/>
                <a:gd name="T34" fmla="*/ 277 w 825"/>
                <a:gd name="T35" fmla="*/ 908 h 1085"/>
                <a:gd name="T36" fmla="*/ 214 w 825"/>
                <a:gd name="T37" fmla="*/ 911 h 1085"/>
                <a:gd name="T38" fmla="*/ 143 w 825"/>
                <a:gd name="T39" fmla="*/ 813 h 1085"/>
                <a:gd name="T40" fmla="*/ 160 w 825"/>
                <a:gd name="T41" fmla="*/ 766 h 1085"/>
                <a:gd name="T42" fmla="*/ 189 w 825"/>
                <a:gd name="T43" fmla="*/ 708 h 1085"/>
                <a:gd name="T44" fmla="*/ 194 w 825"/>
                <a:gd name="T45" fmla="*/ 660 h 1085"/>
                <a:gd name="T46" fmla="*/ 100 w 825"/>
                <a:gd name="T47" fmla="*/ 622 h 1085"/>
                <a:gd name="T48" fmla="*/ 40 w 825"/>
                <a:gd name="T49" fmla="*/ 604 h 1085"/>
                <a:gd name="T50" fmla="*/ 28 w 825"/>
                <a:gd name="T51" fmla="*/ 577 h 1085"/>
                <a:gd name="T52" fmla="*/ 7 w 825"/>
                <a:gd name="T53" fmla="*/ 559 h 1085"/>
                <a:gd name="T54" fmla="*/ 8 w 825"/>
                <a:gd name="T55" fmla="*/ 526 h 1085"/>
                <a:gd name="T56" fmla="*/ 9 w 825"/>
                <a:gd name="T57" fmla="*/ 492 h 1085"/>
                <a:gd name="T58" fmla="*/ 14 w 825"/>
                <a:gd name="T59" fmla="*/ 460 h 1085"/>
                <a:gd name="T60" fmla="*/ 54 w 825"/>
                <a:gd name="T61" fmla="*/ 400 h 1085"/>
                <a:gd name="T62" fmla="*/ 110 w 825"/>
                <a:gd name="T63" fmla="*/ 385 h 1085"/>
                <a:gd name="T64" fmla="*/ 140 w 825"/>
                <a:gd name="T65" fmla="*/ 362 h 1085"/>
                <a:gd name="T66" fmla="*/ 159 w 825"/>
                <a:gd name="T67" fmla="*/ 301 h 1085"/>
                <a:gd name="T68" fmla="*/ 178 w 825"/>
                <a:gd name="T69" fmla="*/ 224 h 1085"/>
                <a:gd name="T70" fmla="*/ 174 w 825"/>
                <a:gd name="T71" fmla="*/ 192 h 1085"/>
                <a:gd name="T72" fmla="*/ 217 w 825"/>
                <a:gd name="T73" fmla="*/ 174 h 1085"/>
                <a:gd name="T74" fmla="*/ 278 w 825"/>
                <a:gd name="T75" fmla="*/ 164 h 1085"/>
                <a:gd name="T76" fmla="*/ 339 w 825"/>
                <a:gd name="T77" fmla="*/ 189 h 1085"/>
                <a:gd name="T78" fmla="*/ 342 w 825"/>
                <a:gd name="T79" fmla="*/ 223 h 1085"/>
                <a:gd name="T80" fmla="*/ 365 w 825"/>
                <a:gd name="T81" fmla="*/ 254 h 1085"/>
                <a:gd name="T82" fmla="*/ 184 w 825"/>
                <a:gd name="T83" fmla="*/ 144 h 1085"/>
                <a:gd name="T84" fmla="*/ 144 w 825"/>
                <a:gd name="T85" fmla="*/ 148 h 1085"/>
                <a:gd name="T86" fmla="*/ 78 w 825"/>
                <a:gd name="T87" fmla="*/ 131 h 1085"/>
                <a:gd name="T88" fmla="*/ 38 w 825"/>
                <a:gd name="T89" fmla="*/ 52 h 1085"/>
                <a:gd name="T90" fmla="*/ 108 w 825"/>
                <a:gd name="T91" fmla="*/ 40 h 1085"/>
                <a:gd name="T92" fmla="*/ 114 w 825"/>
                <a:gd name="T93" fmla="*/ 6 h 1085"/>
                <a:gd name="T94" fmla="*/ 138 w 825"/>
                <a:gd name="T95" fmla="*/ 30 h 1085"/>
                <a:gd name="T96" fmla="*/ 158 w 825"/>
                <a:gd name="T97" fmla="*/ 59 h 1085"/>
                <a:gd name="T98" fmla="*/ 244 w 825"/>
                <a:gd name="T99" fmla="*/ 100 h 1085"/>
                <a:gd name="T100" fmla="*/ 210 w 825"/>
                <a:gd name="T101" fmla="*/ 136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5" h="1085">
                  <a:moveTo>
                    <a:pt x="404" y="236"/>
                  </a:moveTo>
                  <a:lnTo>
                    <a:pt x="413" y="242"/>
                  </a:lnTo>
                  <a:lnTo>
                    <a:pt x="434" y="277"/>
                  </a:lnTo>
                  <a:lnTo>
                    <a:pt x="448" y="280"/>
                  </a:lnTo>
                  <a:lnTo>
                    <a:pt x="459" y="255"/>
                  </a:lnTo>
                  <a:lnTo>
                    <a:pt x="479" y="266"/>
                  </a:lnTo>
                  <a:lnTo>
                    <a:pt x="485" y="299"/>
                  </a:lnTo>
                  <a:lnTo>
                    <a:pt x="485" y="309"/>
                  </a:lnTo>
                  <a:lnTo>
                    <a:pt x="484" y="316"/>
                  </a:lnTo>
                  <a:lnTo>
                    <a:pt x="484" y="322"/>
                  </a:lnTo>
                  <a:lnTo>
                    <a:pt x="490" y="330"/>
                  </a:lnTo>
                  <a:lnTo>
                    <a:pt x="499" y="331"/>
                  </a:lnTo>
                  <a:lnTo>
                    <a:pt x="509" y="327"/>
                  </a:lnTo>
                  <a:lnTo>
                    <a:pt x="518" y="321"/>
                  </a:lnTo>
                  <a:lnTo>
                    <a:pt x="527" y="306"/>
                  </a:lnTo>
                  <a:lnTo>
                    <a:pt x="547" y="295"/>
                  </a:lnTo>
                  <a:lnTo>
                    <a:pt x="578" y="344"/>
                  </a:lnTo>
                  <a:lnTo>
                    <a:pt x="589" y="347"/>
                  </a:lnTo>
                  <a:lnTo>
                    <a:pt x="603" y="344"/>
                  </a:lnTo>
                  <a:lnTo>
                    <a:pt x="615" y="331"/>
                  </a:lnTo>
                  <a:lnTo>
                    <a:pt x="632" y="305"/>
                  </a:lnTo>
                  <a:lnTo>
                    <a:pt x="650" y="294"/>
                  </a:lnTo>
                  <a:lnTo>
                    <a:pt x="672" y="301"/>
                  </a:lnTo>
                  <a:lnTo>
                    <a:pt x="692" y="327"/>
                  </a:lnTo>
                  <a:lnTo>
                    <a:pt x="734" y="354"/>
                  </a:lnTo>
                  <a:lnTo>
                    <a:pt x="732" y="361"/>
                  </a:lnTo>
                  <a:lnTo>
                    <a:pt x="730" y="379"/>
                  </a:lnTo>
                  <a:lnTo>
                    <a:pt x="727" y="390"/>
                  </a:lnTo>
                  <a:lnTo>
                    <a:pt x="720" y="400"/>
                  </a:lnTo>
                  <a:lnTo>
                    <a:pt x="708" y="414"/>
                  </a:lnTo>
                  <a:lnTo>
                    <a:pt x="699" y="425"/>
                  </a:lnTo>
                  <a:lnTo>
                    <a:pt x="693" y="437"/>
                  </a:lnTo>
                  <a:lnTo>
                    <a:pt x="690" y="450"/>
                  </a:lnTo>
                  <a:lnTo>
                    <a:pt x="687" y="459"/>
                  </a:lnTo>
                  <a:lnTo>
                    <a:pt x="669" y="484"/>
                  </a:lnTo>
                  <a:lnTo>
                    <a:pt x="663" y="496"/>
                  </a:lnTo>
                  <a:lnTo>
                    <a:pt x="659" y="522"/>
                  </a:lnTo>
                  <a:lnTo>
                    <a:pt x="660" y="559"/>
                  </a:lnTo>
                  <a:lnTo>
                    <a:pt x="664" y="588"/>
                  </a:lnTo>
                  <a:lnTo>
                    <a:pt x="675" y="636"/>
                  </a:lnTo>
                  <a:lnTo>
                    <a:pt x="710" y="712"/>
                  </a:lnTo>
                  <a:lnTo>
                    <a:pt x="723" y="736"/>
                  </a:lnTo>
                  <a:lnTo>
                    <a:pt x="717" y="741"/>
                  </a:lnTo>
                  <a:lnTo>
                    <a:pt x="708" y="747"/>
                  </a:lnTo>
                  <a:lnTo>
                    <a:pt x="712" y="761"/>
                  </a:lnTo>
                  <a:lnTo>
                    <a:pt x="717" y="786"/>
                  </a:lnTo>
                  <a:lnTo>
                    <a:pt x="725" y="810"/>
                  </a:lnTo>
                  <a:lnTo>
                    <a:pt x="740" y="836"/>
                  </a:lnTo>
                  <a:lnTo>
                    <a:pt x="755" y="865"/>
                  </a:lnTo>
                  <a:lnTo>
                    <a:pt x="775" y="901"/>
                  </a:lnTo>
                  <a:lnTo>
                    <a:pt x="784" y="912"/>
                  </a:lnTo>
                  <a:lnTo>
                    <a:pt x="804" y="928"/>
                  </a:lnTo>
                  <a:lnTo>
                    <a:pt x="825" y="950"/>
                  </a:lnTo>
                  <a:lnTo>
                    <a:pt x="714" y="971"/>
                  </a:lnTo>
                  <a:lnTo>
                    <a:pt x="670" y="951"/>
                  </a:lnTo>
                  <a:lnTo>
                    <a:pt x="612" y="996"/>
                  </a:lnTo>
                  <a:lnTo>
                    <a:pt x="513" y="1012"/>
                  </a:lnTo>
                  <a:lnTo>
                    <a:pt x="529" y="1041"/>
                  </a:lnTo>
                  <a:lnTo>
                    <a:pt x="539" y="1037"/>
                  </a:lnTo>
                  <a:lnTo>
                    <a:pt x="547" y="1036"/>
                  </a:lnTo>
                  <a:lnTo>
                    <a:pt x="554" y="1040"/>
                  </a:lnTo>
                  <a:lnTo>
                    <a:pt x="562" y="1050"/>
                  </a:lnTo>
                  <a:lnTo>
                    <a:pt x="502" y="1085"/>
                  </a:lnTo>
                  <a:lnTo>
                    <a:pt x="490" y="1078"/>
                  </a:lnTo>
                  <a:lnTo>
                    <a:pt x="482" y="1067"/>
                  </a:lnTo>
                  <a:lnTo>
                    <a:pt x="438" y="1042"/>
                  </a:lnTo>
                  <a:lnTo>
                    <a:pt x="428" y="1041"/>
                  </a:lnTo>
                  <a:lnTo>
                    <a:pt x="390" y="1051"/>
                  </a:lnTo>
                  <a:lnTo>
                    <a:pt x="382" y="1047"/>
                  </a:lnTo>
                  <a:lnTo>
                    <a:pt x="367" y="1031"/>
                  </a:lnTo>
                  <a:lnTo>
                    <a:pt x="362" y="1027"/>
                  </a:lnTo>
                  <a:lnTo>
                    <a:pt x="357" y="1027"/>
                  </a:lnTo>
                  <a:lnTo>
                    <a:pt x="344" y="1031"/>
                  </a:lnTo>
                  <a:lnTo>
                    <a:pt x="339" y="1030"/>
                  </a:lnTo>
                  <a:lnTo>
                    <a:pt x="334" y="1028"/>
                  </a:lnTo>
                  <a:lnTo>
                    <a:pt x="327" y="1020"/>
                  </a:lnTo>
                  <a:lnTo>
                    <a:pt x="332" y="1015"/>
                  </a:lnTo>
                  <a:lnTo>
                    <a:pt x="333" y="1003"/>
                  </a:lnTo>
                  <a:lnTo>
                    <a:pt x="337" y="995"/>
                  </a:lnTo>
                  <a:lnTo>
                    <a:pt x="337" y="991"/>
                  </a:lnTo>
                  <a:lnTo>
                    <a:pt x="329" y="970"/>
                  </a:lnTo>
                  <a:lnTo>
                    <a:pt x="329" y="963"/>
                  </a:lnTo>
                  <a:lnTo>
                    <a:pt x="332" y="953"/>
                  </a:lnTo>
                  <a:lnTo>
                    <a:pt x="332" y="947"/>
                  </a:lnTo>
                  <a:lnTo>
                    <a:pt x="329" y="941"/>
                  </a:lnTo>
                  <a:lnTo>
                    <a:pt x="310" y="910"/>
                  </a:lnTo>
                  <a:lnTo>
                    <a:pt x="304" y="905"/>
                  </a:lnTo>
                  <a:lnTo>
                    <a:pt x="293" y="901"/>
                  </a:lnTo>
                  <a:lnTo>
                    <a:pt x="285" y="903"/>
                  </a:lnTo>
                  <a:lnTo>
                    <a:pt x="277" y="908"/>
                  </a:lnTo>
                  <a:lnTo>
                    <a:pt x="267" y="911"/>
                  </a:lnTo>
                  <a:lnTo>
                    <a:pt x="252" y="911"/>
                  </a:lnTo>
                  <a:lnTo>
                    <a:pt x="237" y="915"/>
                  </a:lnTo>
                  <a:lnTo>
                    <a:pt x="220" y="915"/>
                  </a:lnTo>
                  <a:lnTo>
                    <a:pt x="214" y="911"/>
                  </a:lnTo>
                  <a:lnTo>
                    <a:pt x="204" y="903"/>
                  </a:lnTo>
                  <a:lnTo>
                    <a:pt x="150" y="840"/>
                  </a:lnTo>
                  <a:lnTo>
                    <a:pt x="147" y="832"/>
                  </a:lnTo>
                  <a:lnTo>
                    <a:pt x="143" y="821"/>
                  </a:lnTo>
                  <a:lnTo>
                    <a:pt x="143" y="813"/>
                  </a:lnTo>
                  <a:lnTo>
                    <a:pt x="147" y="797"/>
                  </a:lnTo>
                  <a:lnTo>
                    <a:pt x="149" y="793"/>
                  </a:lnTo>
                  <a:lnTo>
                    <a:pt x="154" y="782"/>
                  </a:lnTo>
                  <a:lnTo>
                    <a:pt x="157" y="777"/>
                  </a:lnTo>
                  <a:lnTo>
                    <a:pt x="160" y="766"/>
                  </a:lnTo>
                  <a:lnTo>
                    <a:pt x="163" y="761"/>
                  </a:lnTo>
                  <a:lnTo>
                    <a:pt x="169" y="752"/>
                  </a:lnTo>
                  <a:lnTo>
                    <a:pt x="177" y="745"/>
                  </a:lnTo>
                  <a:lnTo>
                    <a:pt x="180" y="735"/>
                  </a:lnTo>
                  <a:lnTo>
                    <a:pt x="189" y="708"/>
                  </a:lnTo>
                  <a:lnTo>
                    <a:pt x="190" y="698"/>
                  </a:lnTo>
                  <a:lnTo>
                    <a:pt x="189" y="693"/>
                  </a:lnTo>
                  <a:lnTo>
                    <a:pt x="189" y="682"/>
                  </a:lnTo>
                  <a:lnTo>
                    <a:pt x="190" y="671"/>
                  </a:lnTo>
                  <a:lnTo>
                    <a:pt x="194" y="660"/>
                  </a:lnTo>
                  <a:lnTo>
                    <a:pt x="193" y="655"/>
                  </a:lnTo>
                  <a:lnTo>
                    <a:pt x="189" y="648"/>
                  </a:lnTo>
                  <a:lnTo>
                    <a:pt x="115" y="625"/>
                  </a:lnTo>
                  <a:lnTo>
                    <a:pt x="105" y="625"/>
                  </a:lnTo>
                  <a:lnTo>
                    <a:pt x="100" y="622"/>
                  </a:lnTo>
                  <a:lnTo>
                    <a:pt x="74" y="605"/>
                  </a:lnTo>
                  <a:lnTo>
                    <a:pt x="63" y="601"/>
                  </a:lnTo>
                  <a:lnTo>
                    <a:pt x="58" y="601"/>
                  </a:lnTo>
                  <a:lnTo>
                    <a:pt x="52" y="604"/>
                  </a:lnTo>
                  <a:lnTo>
                    <a:pt x="40" y="604"/>
                  </a:lnTo>
                  <a:lnTo>
                    <a:pt x="39" y="599"/>
                  </a:lnTo>
                  <a:lnTo>
                    <a:pt x="38" y="587"/>
                  </a:lnTo>
                  <a:lnTo>
                    <a:pt x="35" y="585"/>
                  </a:lnTo>
                  <a:lnTo>
                    <a:pt x="30" y="582"/>
                  </a:lnTo>
                  <a:lnTo>
                    <a:pt x="28" y="577"/>
                  </a:lnTo>
                  <a:lnTo>
                    <a:pt x="24" y="576"/>
                  </a:lnTo>
                  <a:lnTo>
                    <a:pt x="22" y="574"/>
                  </a:lnTo>
                  <a:lnTo>
                    <a:pt x="18" y="566"/>
                  </a:lnTo>
                  <a:lnTo>
                    <a:pt x="10" y="565"/>
                  </a:lnTo>
                  <a:lnTo>
                    <a:pt x="7" y="559"/>
                  </a:lnTo>
                  <a:lnTo>
                    <a:pt x="3" y="554"/>
                  </a:lnTo>
                  <a:lnTo>
                    <a:pt x="2" y="551"/>
                  </a:lnTo>
                  <a:lnTo>
                    <a:pt x="0" y="544"/>
                  </a:lnTo>
                  <a:lnTo>
                    <a:pt x="4" y="537"/>
                  </a:lnTo>
                  <a:lnTo>
                    <a:pt x="8" y="526"/>
                  </a:lnTo>
                  <a:lnTo>
                    <a:pt x="7" y="517"/>
                  </a:lnTo>
                  <a:lnTo>
                    <a:pt x="8" y="515"/>
                  </a:lnTo>
                  <a:lnTo>
                    <a:pt x="12" y="511"/>
                  </a:lnTo>
                  <a:lnTo>
                    <a:pt x="9" y="506"/>
                  </a:lnTo>
                  <a:lnTo>
                    <a:pt x="9" y="492"/>
                  </a:lnTo>
                  <a:lnTo>
                    <a:pt x="10" y="482"/>
                  </a:lnTo>
                  <a:lnTo>
                    <a:pt x="8" y="476"/>
                  </a:lnTo>
                  <a:lnTo>
                    <a:pt x="9" y="470"/>
                  </a:lnTo>
                  <a:lnTo>
                    <a:pt x="12" y="462"/>
                  </a:lnTo>
                  <a:lnTo>
                    <a:pt x="14" y="460"/>
                  </a:lnTo>
                  <a:lnTo>
                    <a:pt x="19" y="457"/>
                  </a:lnTo>
                  <a:lnTo>
                    <a:pt x="25" y="452"/>
                  </a:lnTo>
                  <a:lnTo>
                    <a:pt x="32" y="444"/>
                  </a:lnTo>
                  <a:lnTo>
                    <a:pt x="52" y="404"/>
                  </a:lnTo>
                  <a:lnTo>
                    <a:pt x="54" y="400"/>
                  </a:lnTo>
                  <a:lnTo>
                    <a:pt x="67" y="387"/>
                  </a:lnTo>
                  <a:lnTo>
                    <a:pt x="77" y="379"/>
                  </a:lnTo>
                  <a:lnTo>
                    <a:pt x="82" y="376"/>
                  </a:lnTo>
                  <a:lnTo>
                    <a:pt x="92" y="376"/>
                  </a:lnTo>
                  <a:lnTo>
                    <a:pt x="110" y="385"/>
                  </a:lnTo>
                  <a:lnTo>
                    <a:pt x="120" y="385"/>
                  </a:lnTo>
                  <a:lnTo>
                    <a:pt x="127" y="384"/>
                  </a:lnTo>
                  <a:lnTo>
                    <a:pt x="135" y="379"/>
                  </a:lnTo>
                  <a:lnTo>
                    <a:pt x="140" y="369"/>
                  </a:lnTo>
                  <a:lnTo>
                    <a:pt x="140" y="362"/>
                  </a:lnTo>
                  <a:lnTo>
                    <a:pt x="139" y="351"/>
                  </a:lnTo>
                  <a:lnTo>
                    <a:pt x="138" y="340"/>
                  </a:lnTo>
                  <a:lnTo>
                    <a:pt x="140" y="334"/>
                  </a:lnTo>
                  <a:lnTo>
                    <a:pt x="153" y="310"/>
                  </a:lnTo>
                  <a:lnTo>
                    <a:pt x="159" y="301"/>
                  </a:lnTo>
                  <a:lnTo>
                    <a:pt x="163" y="295"/>
                  </a:lnTo>
                  <a:lnTo>
                    <a:pt x="168" y="284"/>
                  </a:lnTo>
                  <a:lnTo>
                    <a:pt x="175" y="246"/>
                  </a:lnTo>
                  <a:lnTo>
                    <a:pt x="177" y="235"/>
                  </a:lnTo>
                  <a:lnTo>
                    <a:pt x="178" y="224"/>
                  </a:lnTo>
                  <a:lnTo>
                    <a:pt x="179" y="212"/>
                  </a:lnTo>
                  <a:lnTo>
                    <a:pt x="179" y="207"/>
                  </a:lnTo>
                  <a:lnTo>
                    <a:pt x="178" y="202"/>
                  </a:lnTo>
                  <a:lnTo>
                    <a:pt x="174" y="196"/>
                  </a:lnTo>
                  <a:lnTo>
                    <a:pt x="174" y="192"/>
                  </a:lnTo>
                  <a:lnTo>
                    <a:pt x="175" y="187"/>
                  </a:lnTo>
                  <a:lnTo>
                    <a:pt x="179" y="184"/>
                  </a:lnTo>
                  <a:lnTo>
                    <a:pt x="200" y="174"/>
                  </a:lnTo>
                  <a:lnTo>
                    <a:pt x="208" y="167"/>
                  </a:lnTo>
                  <a:lnTo>
                    <a:pt x="217" y="174"/>
                  </a:lnTo>
                  <a:lnTo>
                    <a:pt x="229" y="170"/>
                  </a:lnTo>
                  <a:lnTo>
                    <a:pt x="234" y="170"/>
                  </a:lnTo>
                  <a:lnTo>
                    <a:pt x="244" y="166"/>
                  </a:lnTo>
                  <a:lnTo>
                    <a:pt x="258" y="162"/>
                  </a:lnTo>
                  <a:lnTo>
                    <a:pt x="278" y="164"/>
                  </a:lnTo>
                  <a:lnTo>
                    <a:pt x="288" y="162"/>
                  </a:lnTo>
                  <a:lnTo>
                    <a:pt x="294" y="164"/>
                  </a:lnTo>
                  <a:lnTo>
                    <a:pt x="303" y="166"/>
                  </a:lnTo>
                  <a:lnTo>
                    <a:pt x="330" y="180"/>
                  </a:lnTo>
                  <a:lnTo>
                    <a:pt x="339" y="189"/>
                  </a:lnTo>
                  <a:lnTo>
                    <a:pt x="340" y="195"/>
                  </a:lnTo>
                  <a:lnTo>
                    <a:pt x="340" y="201"/>
                  </a:lnTo>
                  <a:lnTo>
                    <a:pt x="337" y="210"/>
                  </a:lnTo>
                  <a:lnTo>
                    <a:pt x="337" y="215"/>
                  </a:lnTo>
                  <a:lnTo>
                    <a:pt x="342" y="223"/>
                  </a:lnTo>
                  <a:lnTo>
                    <a:pt x="342" y="245"/>
                  </a:lnTo>
                  <a:lnTo>
                    <a:pt x="345" y="248"/>
                  </a:lnTo>
                  <a:lnTo>
                    <a:pt x="350" y="252"/>
                  </a:lnTo>
                  <a:lnTo>
                    <a:pt x="355" y="255"/>
                  </a:lnTo>
                  <a:lnTo>
                    <a:pt x="365" y="254"/>
                  </a:lnTo>
                  <a:lnTo>
                    <a:pt x="373" y="252"/>
                  </a:lnTo>
                  <a:lnTo>
                    <a:pt x="404" y="236"/>
                  </a:lnTo>
                  <a:close/>
                  <a:moveTo>
                    <a:pt x="198" y="140"/>
                  </a:moveTo>
                  <a:lnTo>
                    <a:pt x="188" y="141"/>
                  </a:lnTo>
                  <a:lnTo>
                    <a:pt x="184" y="144"/>
                  </a:lnTo>
                  <a:lnTo>
                    <a:pt x="174" y="145"/>
                  </a:lnTo>
                  <a:lnTo>
                    <a:pt x="164" y="146"/>
                  </a:lnTo>
                  <a:lnTo>
                    <a:pt x="159" y="147"/>
                  </a:lnTo>
                  <a:lnTo>
                    <a:pt x="153" y="150"/>
                  </a:lnTo>
                  <a:lnTo>
                    <a:pt x="144" y="148"/>
                  </a:lnTo>
                  <a:lnTo>
                    <a:pt x="129" y="143"/>
                  </a:lnTo>
                  <a:lnTo>
                    <a:pt x="94" y="137"/>
                  </a:lnTo>
                  <a:lnTo>
                    <a:pt x="89" y="137"/>
                  </a:lnTo>
                  <a:lnTo>
                    <a:pt x="83" y="136"/>
                  </a:lnTo>
                  <a:lnTo>
                    <a:pt x="78" y="131"/>
                  </a:lnTo>
                  <a:lnTo>
                    <a:pt x="63" y="86"/>
                  </a:lnTo>
                  <a:lnTo>
                    <a:pt x="59" y="71"/>
                  </a:lnTo>
                  <a:lnTo>
                    <a:pt x="57" y="69"/>
                  </a:lnTo>
                  <a:lnTo>
                    <a:pt x="44" y="60"/>
                  </a:lnTo>
                  <a:lnTo>
                    <a:pt x="38" y="52"/>
                  </a:lnTo>
                  <a:lnTo>
                    <a:pt x="39" y="39"/>
                  </a:lnTo>
                  <a:lnTo>
                    <a:pt x="69" y="46"/>
                  </a:lnTo>
                  <a:lnTo>
                    <a:pt x="87" y="46"/>
                  </a:lnTo>
                  <a:lnTo>
                    <a:pt x="98" y="44"/>
                  </a:lnTo>
                  <a:lnTo>
                    <a:pt x="108" y="40"/>
                  </a:lnTo>
                  <a:lnTo>
                    <a:pt x="112" y="34"/>
                  </a:lnTo>
                  <a:lnTo>
                    <a:pt x="112" y="29"/>
                  </a:lnTo>
                  <a:lnTo>
                    <a:pt x="109" y="17"/>
                  </a:lnTo>
                  <a:lnTo>
                    <a:pt x="110" y="11"/>
                  </a:lnTo>
                  <a:lnTo>
                    <a:pt x="114" y="6"/>
                  </a:lnTo>
                  <a:lnTo>
                    <a:pt x="122" y="0"/>
                  </a:lnTo>
                  <a:lnTo>
                    <a:pt x="125" y="1"/>
                  </a:lnTo>
                  <a:lnTo>
                    <a:pt x="130" y="15"/>
                  </a:lnTo>
                  <a:lnTo>
                    <a:pt x="134" y="25"/>
                  </a:lnTo>
                  <a:lnTo>
                    <a:pt x="138" y="30"/>
                  </a:lnTo>
                  <a:lnTo>
                    <a:pt x="145" y="37"/>
                  </a:lnTo>
                  <a:lnTo>
                    <a:pt x="151" y="42"/>
                  </a:lnTo>
                  <a:lnTo>
                    <a:pt x="151" y="50"/>
                  </a:lnTo>
                  <a:lnTo>
                    <a:pt x="154" y="54"/>
                  </a:lnTo>
                  <a:lnTo>
                    <a:pt x="158" y="59"/>
                  </a:lnTo>
                  <a:lnTo>
                    <a:pt x="169" y="64"/>
                  </a:lnTo>
                  <a:lnTo>
                    <a:pt x="204" y="67"/>
                  </a:lnTo>
                  <a:lnTo>
                    <a:pt x="218" y="76"/>
                  </a:lnTo>
                  <a:lnTo>
                    <a:pt x="236" y="91"/>
                  </a:lnTo>
                  <a:lnTo>
                    <a:pt x="244" y="100"/>
                  </a:lnTo>
                  <a:lnTo>
                    <a:pt x="246" y="110"/>
                  </a:lnTo>
                  <a:lnTo>
                    <a:pt x="244" y="115"/>
                  </a:lnTo>
                  <a:lnTo>
                    <a:pt x="241" y="119"/>
                  </a:lnTo>
                  <a:lnTo>
                    <a:pt x="236" y="122"/>
                  </a:lnTo>
                  <a:lnTo>
                    <a:pt x="210" y="136"/>
                  </a:lnTo>
                  <a:lnTo>
                    <a:pt x="198" y="14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63" name="Valladolid" descr="{&quot;Key&quot;:&quot;valladolid&quot;,&quot;Name&quot;:&quot;Valladolid&quot;,&quot;Value&quot;:1.0,&quot;Formula&quot;:&quot;&quot;,&quot;Text&quot;:&quot;1&quot;,&quot;HasValue&quot;:true}">
              <a:extLst>
                <a:ext uri="{FF2B5EF4-FFF2-40B4-BE49-F238E27FC236}">
                  <a16:creationId xmlns:a16="http://schemas.microsoft.com/office/drawing/2014/main" id="{199325CE-7757-F8A8-2D0B-DB2644E2C51B}"/>
                </a:ext>
              </a:extLst>
            </p:cNvPr>
            <p:cNvSpPr>
              <a:spLocks noEditPoints="1"/>
            </p:cNvSpPr>
            <p:nvPr/>
          </p:nvSpPr>
          <p:spPr bwMode="auto">
            <a:xfrm>
              <a:off x="2604553" y="2707742"/>
              <a:ext cx="587961" cy="621962"/>
            </a:xfrm>
            <a:custGeom>
              <a:avLst/>
              <a:gdLst>
                <a:gd name="T0" fmla="*/ 21 w 854"/>
                <a:gd name="T1" fmla="*/ 243 h 900"/>
                <a:gd name="T2" fmla="*/ 0 w 854"/>
                <a:gd name="T3" fmla="*/ 159 h 900"/>
                <a:gd name="T4" fmla="*/ 113 w 854"/>
                <a:gd name="T5" fmla="*/ 48 h 900"/>
                <a:gd name="T6" fmla="*/ 97 w 854"/>
                <a:gd name="T7" fmla="*/ 23 h 900"/>
                <a:gd name="T8" fmla="*/ 122 w 854"/>
                <a:gd name="T9" fmla="*/ 26 h 900"/>
                <a:gd name="T10" fmla="*/ 279 w 854"/>
                <a:gd name="T11" fmla="*/ 59 h 900"/>
                <a:gd name="T12" fmla="*/ 329 w 854"/>
                <a:gd name="T13" fmla="*/ 119 h 900"/>
                <a:gd name="T14" fmla="*/ 329 w 854"/>
                <a:gd name="T15" fmla="*/ 178 h 900"/>
                <a:gd name="T16" fmla="*/ 322 w 854"/>
                <a:gd name="T17" fmla="*/ 211 h 900"/>
                <a:gd name="T18" fmla="*/ 308 w 854"/>
                <a:gd name="T19" fmla="*/ 230 h 900"/>
                <a:gd name="T20" fmla="*/ 297 w 854"/>
                <a:gd name="T21" fmla="*/ 295 h 900"/>
                <a:gd name="T22" fmla="*/ 362 w 854"/>
                <a:gd name="T23" fmla="*/ 283 h 900"/>
                <a:gd name="T24" fmla="*/ 423 w 854"/>
                <a:gd name="T25" fmla="*/ 361 h 900"/>
                <a:gd name="T26" fmla="*/ 459 w 854"/>
                <a:gd name="T27" fmla="*/ 314 h 900"/>
                <a:gd name="T28" fmla="*/ 478 w 854"/>
                <a:gd name="T29" fmla="*/ 308 h 900"/>
                <a:gd name="T30" fmla="*/ 493 w 854"/>
                <a:gd name="T31" fmla="*/ 333 h 900"/>
                <a:gd name="T32" fmla="*/ 572 w 854"/>
                <a:gd name="T33" fmla="*/ 351 h 900"/>
                <a:gd name="T34" fmla="*/ 598 w 854"/>
                <a:gd name="T35" fmla="*/ 408 h 900"/>
                <a:gd name="T36" fmla="*/ 622 w 854"/>
                <a:gd name="T37" fmla="*/ 394 h 900"/>
                <a:gd name="T38" fmla="*/ 702 w 854"/>
                <a:gd name="T39" fmla="*/ 379 h 900"/>
                <a:gd name="T40" fmla="*/ 775 w 854"/>
                <a:gd name="T41" fmla="*/ 375 h 900"/>
                <a:gd name="T42" fmla="*/ 813 w 854"/>
                <a:gd name="T43" fmla="*/ 424 h 900"/>
                <a:gd name="T44" fmla="*/ 827 w 854"/>
                <a:gd name="T45" fmla="*/ 506 h 900"/>
                <a:gd name="T46" fmla="*/ 849 w 854"/>
                <a:gd name="T47" fmla="*/ 573 h 900"/>
                <a:gd name="T48" fmla="*/ 769 w 854"/>
                <a:gd name="T49" fmla="*/ 618 h 900"/>
                <a:gd name="T50" fmla="*/ 664 w 854"/>
                <a:gd name="T51" fmla="*/ 639 h 900"/>
                <a:gd name="T52" fmla="*/ 574 w 854"/>
                <a:gd name="T53" fmla="*/ 670 h 900"/>
                <a:gd name="T54" fmla="*/ 569 w 854"/>
                <a:gd name="T55" fmla="*/ 720 h 900"/>
                <a:gd name="T56" fmla="*/ 583 w 854"/>
                <a:gd name="T57" fmla="*/ 749 h 900"/>
                <a:gd name="T58" fmla="*/ 535 w 854"/>
                <a:gd name="T59" fmla="*/ 749 h 900"/>
                <a:gd name="T60" fmla="*/ 523 w 854"/>
                <a:gd name="T61" fmla="*/ 766 h 900"/>
                <a:gd name="T62" fmla="*/ 455 w 854"/>
                <a:gd name="T63" fmla="*/ 858 h 900"/>
                <a:gd name="T64" fmla="*/ 369 w 854"/>
                <a:gd name="T65" fmla="*/ 900 h 900"/>
                <a:gd name="T66" fmla="*/ 290 w 854"/>
                <a:gd name="T67" fmla="*/ 854 h 900"/>
                <a:gd name="T68" fmla="*/ 238 w 854"/>
                <a:gd name="T69" fmla="*/ 866 h 900"/>
                <a:gd name="T70" fmla="*/ 193 w 854"/>
                <a:gd name="T71" fmla="*/ 850 h 900"/>
                <a:gd name="T72" fmla="*/ 165 w 854"/>
                <a:gd name="T73" fmla="*/ 846 h 900"/>
                <a:gd name="T74" fmla="*/ 149 w 854"/>
                <a:gd name="T75" fmla="*/ 828 h 900"/>
                <a:gd name="T76" fmla="*/ 109 w 854"/>
                <a:gd name="T77" fmla="*/ 841 h 900"/>
                <a:gd name="T78" fmla="*/ 125 w 854"/>
                <a:gd name="T79" fmla="*/ 800 h 900"/>
                <a:gd name="T80" fmla="*/ 122 w 854"/>
                <a:gd name="T81" fmla="*/ 746 h 900"/>
                <a:gd name="T82" fmla="*/ 107 w 854"/>
                <a:gd name="T83" fmla="*/ 709 h 900"/>
                <a:gd name="T84" fmla="*/ 104 w 854"/>
                <a:gd name="T85" fmla="*/ 660 h 900"/>
                <a:gd name="T86" fmla="*/ 102 w 854"/>
                <a:gd name="T87" fmla="*/ 628 h 900"/>
                <a:gd name="T88" fmla="*/ 119 w 854"/>
                <a:gd name="T89" fmla="*/ 604 h 900"/>
                <a:gd name="T90" fmla="*/ 163 w 854"/>
                <a:gd name="T91" fmla="*/ 581 h 900"/>
                <a:gd name="T92" fmla="*/ 129 w 854"/>
                <a:gd name="T93" fmla="*/ 543 h 900"/>
                <a:gd name="T94" fmla="*/ 133 w 854"/>
                <a:gd name="T95" fmla="*/ 525 h 900"/>
                <a:gd name="T96" fmla="*/ 108 w 854"/>
                <a:gd name="T97" fmla="*/ 476 h 900"/>
                <a:gd name="T98" fmla="*/ 73 w 854"/>
                <a:gd name="T99" fmla="*/ 409 h 900"/>
                <a:gd name="T100" fmla="*/ 119 w 854"/>
                <a:gd name="T101" fmla="*/ 328 h 900"/>
                <a:gd name="T102" fmla="*/ 125 w 854"/>
                <a:gd name="T103" fmla="*/ 290 h 900"/>
                <a:gd name="T104" fmla="*/ 134 w 854"/>
                <a:gd name="T105" fmla="*/ 246 h 900"/>
                <a:gd name="T106" fmla="*/ 80 w 854"/>
                <a:gd name="T107" fmla="*/ 130 h 900"/>
                <a:gd name="T108" fmla="*/ 89 w 854"/>
                <a:gd name="T109" fmla="*/ 63 h 900"/>
                <a:gd name="T110" fmla="*/ 118 w 854"/>
                <a:gd name="T111" fmla="*/ 79 h 900"/>
                <a:gd name="T112" fmla="*/ 143 w 854"/>
                <a:gd name="T113" fmla="*/ 68 h 900"/>
                <a:gd name="T114" fmla="*/ 158 w 854"/>
                <a:gd name="T115" fmla="*/ 34 h 900"/>
                <a:gd name="T116" fmla="*/ 182 w 854"/>
                <a:gd name="T117" fmla="*/ 35 h 900"/>
                <a:gd name="T118" fmla="*/ 220 w 854"/>
                <a:gd name="T119" fmla="*/ 6 h 900"/>
                <a:gd name="T120" fmla="*/ 254 w 854"/>
                <a:gd name="T121" fmla="*/ 26 h 900"/>
                <a:gd name="T122" fmla="*/ 288 w 854"/>
                <a:gd name="T123" fmla="*/ 1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4" h="900">
                  <a:moveTo>
                    <a:pt x="56" y="208"/>
                  </a:moveTo>
                  <a:lnTo>
                    <a:pt x="47" y="255"/>
                  </a:lnTo>
                  <a:lnTo>
                    <a:pt x="21" y="243"/>
                  </a:lnTo>
                  <a:lnTo>
                    <a:pt x="28" y="226"/>
                  </a:lnTo>
                  <a:lnTo>
                    <a:pt x="8" y="188"/>
                  </a:lnTo>
                  <a:lnTo>
                    <a:pt x="0" y="159"/>
                  </a:lnTo>
                  <a:lnTo>
                    <a:pt x="56" y="208"/>
                  </a:lnTo>
                  <a:close/>
                  <a:moveTo>
                    <a:pt x="122" y="43"/>
                  </a:moveTo>
                  <a:lnTo>
                    <a:pt x="113" y="48"/>
                  </a:lnTo>
                  <a:lnTo>
                    <a:pt x="103" y="46"/>
                  </a:lnTo>
                  <a:lnTo>
                    <a:pt x="97" y="36"/>
                  </a:lnTo>
                  <a:lnTo>
                    <a:pt x="97" y="23"/>
                  </a:lnTo>
                  <a:lnTo>
                    <a:pt x="107" y="14"/>
                  </a:lnTo>
                  <a:lnTo>
                    <a:pt x="118" y="11"/>
                  </a:lnTo>
                  <a:lnTo>
                    <a:pt x="122" y="26"/>
                  </a:lnTo>
                  <a:lnTo>
                    <a:pt x="122" y="43"/>
                  </a:lnTo>
                  <a:close/>
                  <a:moveTo>
                    <a:pt x="288" y="15"/>
                  </a:moveTo>
                  <a:lnTo>
                    <a:pt x="279" y="59"/>
                  </a:lnTo>
                  <a:lnTo>
                    <a:pt x="282" y="93"/>
                  </a:lnTo>
                  <a:lnTo>
                    <a:pt x="274" y="116"/>
                  </a:lnTo>
                  <a:lnTo>
                    <a:pt x="329" y="119"/>
                  </a:lnTo>
                  <a:lnTo>
                    <a:pt x="333" y="163"/>
                  </a:lnTo>
                  <a:lnTo>
                    <a:pt x="332" y="170"/>
                  </a:lnTo>
                  <a:lnTo>
                    <a:pt x="329" y="178"/>
                  </a:lnTo>
                  <a:lnTo>
                    <a:pt x="319" y="190"/>
                  </a:lnTo>
                  <a:lnTo>
                    <a:pt x="319" y="196"/>
                  </a:lnTo>
                  <a:lnTo>
                    <a:pt x="322" y="211"/>
                  </a:lnTo>
                  <a:lnTo>
                    <a:pt x="320" y="218"/>
                  </a:lnTo>
                  <a:lnTo>
                    <a:pt x="309" y="226"/>
                  </a:lnTo>
                  <a:lnTo>
                    <a:pt x="308" y="230"/>
                  </a:lnTo>
                  <a:lnTo>
                    <a:pt x="305" y="241"/>
                  </a:lnTo>
                  <a:lnTo>
                    <a:pt x="287" y="278"/>
                  </a:lnTo>
                  <a:lnTo>
                    <a:pt x="297" y="295"/>
                  </a:lnTo>
                  <a:lnTo>
                    <a:pt x="318" y="280"/>
                  </a:lnTo>
                  <a:lnTo>
                    <a:pt x="329" y="294"/>
                  </a:lnTo>
                  <a:lnTo>
                    <a:pt x="362" y="283"/>
                  </a:lnTo>
                  <a:lnTo>
                    <a:pt x="379" y="306"/>
                  </a:lnTo>
                  <a:lnTo>
                    <a:pt x="407" y="366"/>
                  </a:lnTo>
                  <a:lnTo>
                    <a:pt x="423" y="361"/>
                  </a:lnTo>
                  <a:lnTo>
                    <a:pt x="439" y="341"/>
                  </a:lnTo>
                  <a:lnTo>
                    <a:pt x="450" y="321"/>
                  </a:lnTo>
                  <a:lnTo>
                    <a:pt x="459" y="314"/>
                  </a:lnTo>
                  <a:lnTo>
                    <a:pt x="469" y="308"/>
                  </a:lnTo>
                  <a:lnTo>
                    <a:pt x="474" y="306"/>
                  </a:lnTo>
                  <a:lnTo>
                    <a:pt x="478" y="308"/>
                  </a:lnTo>
                  <a:lnTo>
                    <a:pt x="485" y="313"/>
                  </a:lnTo>
                  <a:lnTo>
                    <a:pt x="489" y="315"/>
                  </a:lnTo>
                  <a:lnTo>
                    <a:pt x="493" y="333"/>
                  </a:lnTo>
                  <a:lnTo>
                    <a:pt x="527" y="369"/>
                  </a:lnTo>
                  <a:lnTo>
                    <a:pt x="555" y="363"/>
                  </a:lnTo>
                  <a:lnTo>
                    <a:pt x="572" y="351"/>
                  </a:lnTo>
                  <a:lnTo>
                    <a:pt x="570" y="395"/>
                  </a:lnTo>
                  <a:lnTo>
                    <a:pt x="588" y="405"/>
                  </a:lnTo>
                  <a:lnTo>
                    <a:pt x="598" y="408"/>
                  </a:lnTo>
                  <a:lnTo>
                    <a:pt x="603" y="406"/>
                  </a:lnTo>
                  <a:lnTo>
                    <a:pt x="614" y="396"/>
                  </a:lnTo>
                  <a:lnTo>
                    <a:pt x="622" y="394"/>
                  </a:lnTo>
                  <a:lnTo>
                    <a:pt x="670" y="401"/>
                  </a:lnTo>
                  <a:lnTo>
                    <a:pt x="683" y="396"/>
                  </a:lnTo>
                  <a:lnTo>
                    <a:pt x="702" y="379"/>
                  </a:lnTo>
                  <a:lnTo>
                    <a:pt x="710" y="376"/>
                  </a:lnTo>
                  <a:lnTo>
                    <a:pt x="760" y="381"/>
                  </a:lnTo>
                  <a:lnTo>
                    <a:pt x="775" y="375"/>
                  </a:lnTo>
                  <a:lnTo>
                    <a:pt x="789" y="399"/>
                  </a:lnTo>
                  <a:lnTo>
                    <a:pt x="822" y="404"/>
                  </a:lnTo>
                  <a:lnTo>
                    <a:pt x="813" y="424"/>
                  </a:lnTo>
                  <a:lnTo>
                    <a:pt x="827" y="454"/>
                  </a:lnTo>
                  <a:lnTo>
                    <a:pt x="829" y="466"/>
                  </a:lnTo>
                  <a:lnTo>
                    <a:pt x="827" y="506"/>
                  </a:lnTo>
                  <a:lnTo>
                    <a:pt x="848" y="523"/>
                  </a:lnTo>
                  <a:lnTo>
                    <a:pt x="854" y="541"/>
                  </a:lnTo>
                  <a:lnTo>
                    <a:pt x="849" y="573"/>
                  </a:lnTo>
                  <a:lnTo>
                    <a:pt x="844" y="583"/>
                  </a:lnTo>
                  <a:lnTo>
                    <a:pt x="835" y="593"/>
                  </a:lnTo>
                  <a:lnTo>
                    <a:pt x="769" y="618"/>
                  </a:lnTo>
                  <a:lnTo>
                    <a:pt x="752" y="620"/>
                  </a:lnTo>
                  <a:lnTo>
                    <a:pt x="704" y="639"/>
                  </a:lnTo>
                  <a:lnTo>
                    <a:pt x="664" y="639"/>
                  </a:lnTo>
                  <a:lnTo>
                    <a:pt x="642" y="648"/>
                  </a:lnTo>
                  <a:lnTo>
                    <a:pt x="618" y="646"/>
                  </a:lnTo>
                  <a:lnTo>
                    <a:pt x="574" y="670"/>
                  </a:lnTo>
                  <a:lnTo>
                    <a:pt x="558" y="670"/>
                  </a:lnTo>
                  <a:lnTo>
                    <a:pt x="569" y="704"/>
                  </a:lnTo>
                  <a:lnTo>
                    <a:pt x="569" y="720"/>
                  </a:lnTo>
                  <a:lnTo>
                    <a:pt x="570" y="725"/>
                  </a:lnTo>
                  <a:lnTo>
                    <a:pt x="582" y="744"/>
                  </a:lnTo>
                  <a:lnTo>
                    <a:pt x="583" y="749"/>
                  </a:lnTo>
                  <a:lnTo>
                    <a:pt x="583" y="758"/>
                  </a:lnTo>
                  <a:lnTo>
                    <a:pt x="548" y="736"/>
                  </a:lnTo>
                  <a:lnTo>
                    <a:pt x="535" y="749"/>
                  </a:lnTo>
                  <a:lnTo>
                    <a:pt x="513" y="735"/>
                  </a:lnTo>
                  <a:lnTo>
                    <a:pt x="508" y="753"/>
                  </a:lnTo>
                  <a:lnTo>
                    <a:pt x="523" y="766"/>
                  </a:lnTo>
                  <a:lnTo>
                    <a:pt x="483" y="809"/>
                  </a:lnTo>
                  <a:lnTo>
                    <a:pt x="483" y="825"/>
                  </a:lnTo>
                  <a:lnTo>
                    <a:pt x="455" y="858"/>
                  </a:lnTo>
                  <a:lnTo>
                    <a:pt x="404" y="871"/>
                  </a:lnTo>
                  <a:lnTo>
                    <a:pt x="380" y="895"/>
                  </a:lnTo>
                  <a:lnTo>
                    <a:pt x="369" y="900"/>
                  </a:lnTo>
                  <a:lnTo>
                    <a:pt x="353" y="894"/>
                  </a:lnTo>
                  <a:lnTo>
                    <a:pt x="303" y="858"/>
                  </a:lnTo>
                  <a:lnTo>
                    <a:pt x="290" y="854"/>
                  </a:lnTo>
                  <a:lnTo>
                    <a:pt x="279" y="855"/>
                  </a:lnTo>
                  <a:lnTo>
                    <a:pt x="257" y="870"/>
                  </a:lnTo>
                  <a:lnTo>
                    <a:pt x="238" y="866"/>
                  </a:lnTo>
                  <a:lnTo>
                    <a:pt x="230" y="868"/>
                  </a:lnTo>
                  <a:lnTo>
                    <a:pt x="221" y="875"/>
                  </a:lnTo>
                  <a:lnTo>
                    <a:pt x="193" y="850"/>
                  </a:lnTo>
                  <a:lnTo>
                    <a:pt x="185" y="848"/>
                  </a:lnTo>
                  <a:lnTo>
                    <a:pt x="173" y="849"/>
                  </a:lnTo>
                  <a:lnTo>
                    <a:pt x="165" y="846"/>
                  </a:lnTo>
                  <a:lnTo>
                    <a:pt x="162" y="843"/>
                  </a:lnTo>
                  <a:lnTo>
                    <a:pt x="154" y="830"/>
                  </a:lnTo>
                  <a:lnTo>
                    <a:pt x="149" y="828"/>
                  </a:lnTo>
                  <a:lnTo>
                    <a:pt x="144" y="828"/>
                  </a:lnTo>
                  <a:lnTo>
                    <a:pt x="129" y="838"/>
                  </a:lnTo>
                  <a:lnTo>
                    <a:pt x="109" y="841"/>
                  </a:lnTo>
                  <a:lnTo>
                    <a:pt x="100" y="829"/>
                  </a:lnTo>
                  <a:lnTo>
                    <a:pt x="119" y="811"/>
                  </a:lnTo>
                  <a:lnTo>
                    <a:pt x="125" y="800"/>
                  </a:lnTo>
                  <a:lnTo>
                    <a:pt x="127" y="785"/>
                  </a:lnTo>
                  <a:lnTo>
                    <a:pt x="124" y="756"/>
                  </a:lnTo>
                  <a:lnTo>
                    <a:pt x="122" y="746"/>
                  </a:lnTo>
                  <a:lnTo>
                    <a:pt x="110" y="726"/>
                  </a:lnTo>
                  <a:lnTo>
                    <a:pt x="108" y="719"/>
                  </a:lnTo>
                  <a:lnTo>
                    <a:pt x="107" y="709"/>
                  </a:lnTo>
                  <a:lnTo>
                    <a:pt x="112" y="669"/>
                  </a:lnTo>
                  <a:lnTo>
                    <a:pt x="109" y="664"/>
                  </a:lnTo>
                  <a:lnTo>
                    <a:pt x="104" y="660"/>
                  </a:lnTo>
                  <a:lnTo>
                    <a:pt x="102" y="653"/>
                  </a:lnTo>
                  <a:lnTo>
                    <a:pt x="100" y="640"/>
                  </a:lnTo>
                  <a:lnTo>
                    <a:pt x="102" y="628"/>
                  </a:lnTo>
                  <a:lnTo>
                    <a:pt x="105" y="618"/>
                  </a:lnTo>
                  <a:lnTo>
                    <a:pt x="113" y="609"/>
                  </a:lnTo>
                  <a:lnTo>
                    <a:pt x="119" y="604"/>
                  </a:lnTo>
                  <a:lnTo>
                    <a:pt x="143" y="600"/>
                  </a:lnTo>
                  <a:lnTo>
                    <a:pt x="148" y="598"/>
                  </a:lnTo>
                  <a:lnTo>
                    <a:pt x="163" y="581"/>
                  </a:lnTo>
                  <a:lnTo>
                    <a:pt x="129" y="556"/>
                  </a:lnTo>
                  <a:lnTo>
                    <a:pt x="127" y="549"/>
                  </a:lnTo>
                  <a:lnTo>
                    <a:pt x="129" y="543"/>
                  </a:lnTo>
                  <a:lnTo>
                    <a:pt x="133" y="538"/>
                  </a:lnTo>
                  <a:lnTo>
                    <a:pt x="135" y="531"/>
                  </a:lnTo>
                  <a:lnTo>
                    <a:pt x="133" y="525"/>
                  </a:lnTo>
                  <a:lnTo>
                    <a:pt x="115" y="518"/>
                  </a:lnTo>
                  <a:lnTo>
                    <a:pt x="110" y="506"/>
                  </a:lnTo>
                  <a:lnTo>
                    <a:pt x="108" y="476"/>
                  </a:lnTo>
                  <a:lnTo>
                    <a:pt x="103" y="465"/>
                  </a:lnTo>
                  <a:lnTo>
                    <a:pt x="85" y="440"/>
                  </a:lnTo>
                  <a:lnTo>
                    <a:pt x="73" y="409"/>
                  </a:lnTo>
                  <a:lnTo>
                    <a:pt x="134" y="370"/>
                  </a:lnTo>
                  <a:lnTo>
                    <a:pt x="122" y="343"/>
                  </a:lnTo>
                  <a:lnTo>
                    <a:pt x="119" y="328"/>
                  </a:lnTo>
                  <a:lnTo>
                    <a:pt x="120" y="311"/>
                  </a:lnTo>
                  <a:lnTo>
                    <a:pt x="125" y="299"/>
                  </a:lnTo>
                  <a:lnTo>
                    <a:pt x="125" y="290"/>
                  </a:lnTo>
                  <a:lnTo>
                    <a:pt x="120" y="273"/>
                  </a:lnTo>
                  <a:lnTo>
                    <a:pt x="120" y="264"/>
                  </a:lnTo>
                  <a:lnTo>
                    <a:pt x="134" y="246"/>
                  </a:lnTo>
                  <a:lnTo>
                    <a:pt x="80" y="200"/>
                  </a:lnTo>
                  <a:lnTo>
                    <a:pt x="74" y="169"/>
                  </a:lnTo>
                  <a:lnTo>
                    <a:pt x="80" y="130"/>
                  </a:lnTo>
                  <a:lnTo>
                    <a:pt x="75" y="85"/>
                  </a:lnTo>
                  <a:lnTo>
                    <a:pt x="78" y="70"/>
                  </a:lnTo>
                  <a:lnTo>
                    <a:pt x="89" y="63"/>
                  </a:lnTo>
                  <a:lnTo>
                    <a:pt x="94" y="65"/>
                  </a:lnTo>
                  <a:lnTo>
                    <a:pt x="112" y="79"/>
                  </a:lnTo>
                  <a:lnTo>
                    <a:pt x="118" y="79"/>
                  </a:lnTo>
                  <a:lnTo>
                    <a:pt x="130" y="69"/>
                  </a:lnTo>
                  <a:lnTo>
                    <a:pt x="138" y="66"/>
                  </a:lnTo>
                  <a:lnTo>
                    <a:pt x="143" y="68"/>
                  </a:lnTo>
                  <a:lnTo>
                    <a:pt x="145" y="62"/>
                  </a:lnTo>
                  <a:lnTo>
                    <a:pt x="150" y="45"/>
                  </a:lnTo>
                  <a:lnTo>
                    <a:pt x="158" y="34"/>
                  </a:lnTo>
                  <a:lnTo>
                    <a:pt x="162" y="30"/>
                  </a:lnTo>
                  <a:lnTo>
                    <a:pt x="168" y="29"/>
                  </a:lnTo>
                  <a:lnTo>
                    <a:pt x="182" y="35"/>
                  </a:lnTo>
                  <a:lnTo>
                    <a:pt x="195" y="30"/>
                  </a:lnTo>
                  <a:lnTo>
                    <a:pt x="208" y="21"/>
                  </a:lnTo>
                  <a:lnTo>
                    <a:pt x="220" y="6"/>
                  </a:lnTo>
                  <a:lnTo>
                    <a:pt x="227" y="1"/>
                  </a:lnTo>
                  <a:lnTo>
                    <a:pt x="238" y="0"/>
                  </a:lnTo>
                  <a:lnTo>
                    <a:pt x="254" y="26"/>
                  </a:lnTo>
                  <a:lnTo>
                    <a:pt x="267" y="31"/>
                  </a:lnTo>
                  <a:lnTo>
                    <a:pt x="268" y="9"/>
                  </a:lnTo>
                  <a:lnTo>
                    <a:pt x="288" y="15"/>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64" name="Bizkaia" descr="{&quot;Key&quot;:&quot;bizkaia&quot;,&quot;Name&quot;:&quot;Bizkaia&quot;,&quot;Value&quot;:1.0,&quot;Formula&quot;:&quot;&quot;,&quot;Text&quot;:&quot;1&quot;,&quot;HasValue&quot;:true}">
              <a:extLst>
                <a:ext uri="{FF2B5EF4-FFF2-40B4-BE49-F238E27FC236}">
                  <a16:creationId xmlns:a16="http://schemas.microsoft.com/office/drawing/2014/main" id="{A6D2147E-E1E3-B148-59BE-40B1AD37021A}"/>
                </a:ext>
              </a:extLst>
            </p:cNvPr>
            <p:cNvSpPr>
              <a:spLocks noEditPoints="1"/>
            </p:cNvSpPr>
            <p:nvPr/>
          </p:nvSpPr>
          <p:spPr bwMode="auto">
            <a:xfrm>
              <a:off x="3397945" y="2109865"/>
              <a:ext cx="396696" cy="226683"/>
            </a:xfrm>
            <a:custGeom>
              <a:avLst/>
              <a:gdLst>
                <a:gd name="T0" fmla="*/ 569 w 575"/>
                <a:gd name="T1" fmla="*/ 141 h 329"/>
                <a:gd name="T2" fmla="*/ 536 w 575"/>
                <a:gd name="T3" fmla="*/ 171 h 329"/>
                <a:gd name="T4" fmla="*/ 526 w 575"/>
                <a:gd name="T5" fmla="*/ 216 h 329"/>
                <a:gd name="T6" fmla="*/ 525 w 575"/>
                <a:gd name="T7" fmla="*/ 255 h 329"/>
                <a:gd name="T8" fmla="*/ 497 w 575"/>
                <a:gd name="T9" fmla="*/ 277 h 329"/>
                <a:gd name="T10" fmla="*/ 447 w 575"/>
                <a:gd name="T11" fmla="*/ 280 h 329"/>
                <a:gd name="T12" fmla="*/ 449 w 575"/>
                <a:gd name="T13" fmla="*/ 308 h 329"/>
                <a:gd name="T14" fmla="*/ 446 w 575"/>
                <a:gd name="T15" fmla="*/ 327 h 329"/>
                <a:gd name="T16" fmla="*/ 414 w 575"/>
                <a:gd name="T17" fmla="*/ 329 h 329"/>
                <a:gd name="T18" fmla="*/ 341 w 575"/>
                <a:gd name="T19" fmla="*/ 316 h 329"/>
                <a:gd name="T20" fmla="*/ 305 w 575"/>
                <a:gd name="T21" fmla="*/ 308 h 329"/>
                <a:gd name="T22" fmla="*/ 272 w 575"/>
                <a:gd name="T23" fmla="*/ 261 h 329"/>
                <a:gd name="T24" fmla="*/ 274 w 575"/>
                <a:gd name="T25" fmla="*/ 212 h 329"/>
                <a:gd name="T26" fmla="*/ 247 w 575"/>
                <a:gd name="T27" fmla="*/ 188 h 329"/>
                <a:gd name="T28" fmla="*/ 232 w 575"/>
                <a:gd name="T29" fmla="*/ 215 h 329"/>
                <a:gd name="T30" fmla="*/ 189 w 575"/>
                <a:gd name="T31" fmla="*/ 233 h 329"/>
                <a:gd name="T32" fmla="*/ 167 w 575"/>
                <a:gd name="T33" fmla="*/ 211 h 329"/>
                <a:gd name="T34" fmla="*/ 131 w 575"/>
                <a:gd name="T35" fmla="*/ 205 h 329"/>
                <a:gd name="T36" fmla="*/ 102 w 575"/>
                <a:gd name="T37" fmla="*/ 191 h 329"/>
                <a:gd name="T38" fmla="*/ 11 w 575"/>
                <a:gd name="T39" fmla="*/ 237 h 329"/>
                <a:gd name="T40" fmla="*/ 2 w 575"/>
                <a:gd name="T41" fmla="*/ 201 h 329"/>
                <a:gd name="T42" fmla="*/ 0 w 575"/>
                <a:gd name="T43" fmla="*/ 173 h 329"/>
                <a:gd name="T44" fmla="*/ 54 w 575"/>
                <a:gd name="T45" fmla="*/ 126 h 329"/>
                <a:gd name="T46" fmla="*/ 101 w 575"/>
                <a:gd name="T47" fmla="*/ 118 h 329"/>
                <a:gd name="T48" fmla="*/ 134 w 575"/>
                <a:gd name="T49" fmla="*/ 122 h 329"/>
                <a:gd name="T50" fmla="*/ 164 w 575"/>
                <a:gd name="T51" fmla="*/ 97 h 329"/>
                <a:gd name="T52" fmla="*/ 184 w 575"/>
                <a:gd name="T53" fmla="*/ 75 h 329"/>
                <a:gd name="T54" fmla="*/ 242 w 575"/>
                <a:gd name="T55" fmla="*/ 100 h 329"/>
                <a:gd name="T56" fmla="*/ 234 w 575"/>
                <a:gd name="T57" fmla="*/ 67 h 329"/>
                <a:gd name="T58" fmla="*/ 232 w 575"/>
                <a:gd name="T59" fmla="*/ 55 h 329"/>
                <a:gd name="T60" fmla="*/ 271 w 575"/>
                <a:gd name="T61" fmla="*/ 30 h 329"/>
                <a:gd name="T62" fmla="*/ 276 w 575"/>
                <a:gd name="T63" fmla="*/ 21 h 329"/>
                <a:gd name="T64" fmla="*/ 299 w 575"/>
                <a:gd name="T65" fmla="*/ 10 h 329"/>
                <a:gd name="T66" fmla="*/ 375 w 575"/>
                <a:gd name="T67" fmla="*/ 0 h 329"/>
                <a:gd name="T68" fmla="*/ 405 w 575"/>
                <a:gd name="T69" fmla="*/ 21 h 329"/>
                <a:gd name="T70" fmla="*/ 417 w 575"/>
                <a:gd name="T71" fmla="*/ 65 h 329"/>
                <a:gd name="T72" fmla="*/ 425 w 575"/>
                <a:gd name="T73" fmla="*/ 35 h 329"/>
                <a:gd name="T74" fmla="*/ 441 w 575"/>
                <a:gd name="T75" fmla="*/ 32 h 329"/>
                <a:gd name="T76" fmla="*/ 496 w 575"/>
                <a:gd name="T77" fmla="*/ 52 h 329"/>
                <a:gd name="T78" fmla="*/ 544 w 575"/>
                <a:gd name="T79" fmla="*/ 78 h 329"/>
                <a:gd name="T80" fmla="*/ 97 w 575"/>
                <a:gd name="T81" fmla="*/ 164 h 329"/>
                <a:gd name="T82" fmla="*/ 77 w 575"/>
                <a:gd name="T83" fmla="*/ 17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329">
                  <a:moveTo>
                    <a:pt x="575" y="94"/>
                  </a:moveTo>
                  <a:lnTo>
                    <a:pt x="556" y="125"/>
                  </a:lnTo>
                  <a:lnTo>
                    <a:pt x="569" y="141"/>
                  </a:lnTo>
                  <a:lnTo>
                    <a:pt x="546" y="171"/>
                  </a:lnTo>
                  <a:lnTo>
                    <a:pt x="541" y="173"/>
                  </a:lnTo>
                  <a:lnTo>
                    <a:pt x="536" y="171"/>
                  </a:lnTo>
                  <a:lnTo>
                    <a:pt x="529" y="176"/>
                  </a:lnTo>
                  <a:lnTo>
                    <a:pt x="530" y="205"/>
                  </a:lnTo>
                  <a:lnTo>
                    <a:pt x="526" y="216"/>
                  </a:lnTo>
                  <a:lnTo>
                    <a:pt x="521" y="217"/>
                  </a:lnTo>
                  <a:lnTo>
                    <a:pt x="520" y="222"/>
                  </a:lnTo>
                  <a:lnTo>
                    <a:pt x="525" y="255"/>
                  </a:lnTo>
                  <a:lnTo>
                    <a:pt x="522" y="266"/>
                  </a:lnTo>
                  <a:lnTo>
                    <a:pt x="516" y="273"/>
                  </a:lnTo>
                  <a:lnTo>
                    <a:pt x="497" y="277"/>
                  </a:lnTo>
                  <a:lnTo>
                    <a:pt x="469" y="282"/>
                  </a:lnTo>
                  <a:lnTo>
                    <a:pt x="456" y="277"/>
                  </a:lnTo>
                  <a:lnTo>
                    <a:pt x="447" y="280"/>
                  </a:lnTo>
                  <a:lnTo>
                    <a:pt x="436" y="287"/>
                  </a:lnTo>
                  <a:lnTo>
                    <a:pt x="436" y="291"/>
                  </a:lnTo>
                  <a:lnTo>
                    <a:pt x="449" y="308"/>
                  </a:lnTo>
                  <a:lnTo>
                    <a:pt x="451" y="317"/>
                  </a:lnTo>
                  <a:lnTo>
                    <a:pt x="450" y="326"/>
                  </a:lnTo>
                  <a:lnTo>
                    <a:pt x="446" y="327"/>
                  </a:lnTo>
                  <a:lnTo>
                    <a:pt x="430" y="324"/>
                  </a:lnTo>
                  <a:lnTo>
                    <a:pt x="420" y="329"/>
                  </a:lnTo>
                  <a:lnTo>
                    <a:pt x="414" y="329"/>
                  </a:lnTo>
                  <a:lnTo>
                    <a:pt x="391" y="320"/>
                  </a:lnTo>
                  <a:lnTo>
                    <a:pt x="367" y="323"/>
                  </a:lnTo>
                  <a:lnTo>
                    <a:pt x="341" y="316"/>
                  </a:lnTo>
                  <a:lnTo>
                    <a:pt x="329" y="308"/>
                  </a:lnTo>
                  <a:lnTo>
                    <a:pt x="322" y="307"/>
                  </a:lnTo>
                  <a:lnTo>
                    <a:pt x="305" y="308"/>
                  </a:lnTo>
                  <a:lnTo>
                    <a:pt x="275" y="281"/>
                  </a:lnTo>
                  <a:lnTo>
                    <a:pt x="270" y="271"/>
                  </a:lnTo>
                  <a:lnTo>
                    <a:pt x="272" y="261"/>
                  </a:lnTo>
                  <a:lnTo>
                    <a:pt x="281" y="241"/>
                  </a:lnTo>
                  <a:lnTo>
                    <a:pt x="282" y="232"/>
                  </a:lnTo>
                  <a:lnTo>
                    <a:pt x="274" y="212"/>
                  </a:lnTo>
                  <a:lnTo>
                    <a:pt x="262" y="197"/>
                  </a:lnTo>
                  <a:lnTo>
                    <a:pt x="255" y="191"/>
                  </a:lnTo>
                  <a:lnTo>
                    <a:pt x="247" y="188"/>
                  </a:lnTo>
                  <a:lnTo>
                    <a:pt x="237" y="192"/>
                  </a:lnTo>
                  <a:lnTo>
                    <a:pt x="235" y="198"/>
                  </a:lnTo>
                  <a:lnTo>
                    <a:pt x="232" y="215"/>
                  </a:lnTo>
                  <a:lnTo>
                    <a:pt x="229" y="222"/>
                  </a:lnTo>
                  <a:lnTo>
                    <a:pt x="222" y="227"/>
                  </a:lnTo>
                  <a:lnTo>
                    <a:pt x="189" y="233"/>
                  </a:lnTo>
                  <a:lnTo>
                    <a:pt x="181" y="231"/>
                  </a:lnTo>
                  <a:lnTo>
                    <a:pt x="167" y="218"/>
                  </a:lnTo>
                  <a:lnTo>
                    <a:pt x="167" y="211"/>
                  </a:lnTo>
                  <a:lnTo>
                    <a:pt x="162" y="206"/>
                  </a:lnTo>
                  <a:lnTo>
                    <a:pt x="150" y="205"/>
                  </a:lnTo>
                  <a:lnTo>
                    <a:pt x="131" y="205"/>
                  </a:lnTo>
                  <a:lnTo>
                    <a:pt x="119" y="202"/>
                  </a:lnTo>
                  <a:lnTo>
                    <a:pt x="110" y="193"/>
                  </a:lnTo>
                  <a:lnTo>
                    <a:pt x="102" y="191"/>
                  </a:lnTo>
                  <a:lnTo>
                    <a:pt x="92" y="195"/>
                  </a:lnTo>
                  <a:lnTo>
                    <a:pt x="45" y="225"/>
                  </a:lnTo>
                  <a:lnTo>
                    <a:pt x="11" y="237"/>
                  </a:lnTo>
                  <a:lnTo>
                    <a:pt x="10" y="228"/>
                  </a:lnTo>
                  <a:lnTo>
                    <a:pt x="6" y="212"/>
                  </a:lnTo>
                  <a:lnTo>
                    <a:pt x="2" y="201"/>
                  </a:lnTo>
                  <a:lnTo>
                    <a:pt x="2" y="191"/>
                  </a:lnTo>
                  <a:lnTo>
                    <a:pt x="1" y="180"/>
                  </a:lnTo>
                  <a:lnTo>
                    <a:pt x="0" y="173"/>
                  </a:lnTo>
                  <a:lnTo>
                    <a:pt x="1" y="167"/>
                  </a:lnTo>
                  <a:lnTo>
                    <a:pt x="7" y="160"/>
                  </a:lnTo>
                  <a:lnTo>
                    <a:pt x="54" y="126"/>
                  </a:lnTo>
                  <a:lnTo>
                    <a:pt x="60" y="120"/>
                  </a:lnTo>
                  <a:lnTo>
                    <a:pt x="67" y="116"/>
                  </a:lnTo>
                  <a:lnTo>
                    <a:pt x="101" y="118"/>
                  </a:lnTo>
                  <a:lnTo>
                    <a:pt x="116" y="117"/>
                  </a:lnTo>
                  <a:lnTo>
                    <a:pt x="129" y="121"/>
                  </a:lnTo>
                  <a:lnTo>
                    <a:pt x="134" y="122"/>
                  </a:lnTo>
                  <a:lnTo>
                    <a:pt x="157" y="110"/>
                  </a:lnTo>
                  <a:lnTo>
                    <a:pt x="161" y="105"/>
                  </a:lnTo>
                  <a:lnTo>
                    <a:pt x="164" y="97"/>
                  </a:lnTo>
                  <a:lnTo>
                    <a:pt x="162" y="70"/>
                  </a:lnTo>
                  <a:lnTo>
                    <a:pt x="174" y="73"/>
                  </a:lnTo>
                  <a:lnTo>
                    <a:pt x="184" y="75"/>
                  </a:lnTo>
                  <a:lnTo>
                    <a:pt x="197" y="65"/>
                  </a:lnTo>
                  <a:lnTo>
                    <a:pt x="215" y="76"/>
                  </a:lnTo>
                  <a:lnTo>
                    <a:pt x="242" y="100"/>
                  </a:lnTo>
                  <a:lnTo>
                    <a:pt x="242" y="95"/>
                  </a:lnTo>
                  <a:lnTo>
                    <a:pt x="235" y="76"/>
                  </a:lnTo>
                  <a:lnTo>
                    <a:pt x="234" y="67"/>
                  </a:lnTo>
                  <a:lnTo>
                    <a:pt x="230" y="61"/>
                  </a:lnTo>
                  <a:lnTo>
                    <a:pt x="230" y="58"/>
                  </a:lnTo>
                  <a:lnTo>
                    <a:pt x="232" y="55"/>
                  </a:lnTo>
                  <a:lnTo>
                    <a:pt x="240" y="52"/>
                  </a:lnTo>
                  <a:lnTo>
                    <a:pt x="246" y="45"/>
                  </a:lnTo>
                  <a:lnTo>
                    <a:pt x="271" y="30"/>
                  </a:lnTo>
                  <a:lnTo>
                    <a:pt x="280" y="27"/>
                  </a:lnTo>
                  <a:lnTo>
                    <a:pt x="280" y="21"/>
                  </a:lnTo>
                  <a:lnTo>
                    <a:pt x="276" y="21"/>
                  </a:lnTo>
                  <a:lnTo>
                    <a:pt x="276" y="16"/>
                  </a:lnTo>
                  <a:lnTo>
                    <a:pt x="285" y="11"/>
                  </a:lnTo>
                  <a:lnTo>
                    <a:pt x="299" y="10"/>
                  </a:lnTo>
                  <a:lnTo>
                    <a:pt x="327" y="11"/>
                  </a:lnTo>
                  <a:lnTo>
                    <a:pt x="354" y="8"/>
                  </a:lnTo>
                  <a:lnTo>
                    <a:pt x="375" y="0"/>
                  </a:lnTo>
                  <a:lnTo>
                    <a:pt x="381" y="1"/>
                  </a:lnTo>
                  <a:lnTo>
                    <a:pt x="394" y="10"/>
                  </a:lnTo>
                  <a:lnTo>
                    <a:pt x="405" y="21"/>
                  </a:lnTo>
                  <a:lnTo>
                    <a:pt x="409" y="30"/>
                  </a:lnTo>
                  <a:lnTo>
                    <a:pt x="416" y="48"/>
                  </a:lnTo>
                  <a:lnTo>
                    <a:pt x="417" y="65"/>
                  </a:lnTo>
                  <a:lnTo>
                    <a:pt x="420" y="62"/>
                  </a:lnTo>
                  <a:lnTo>
                    <a:pt x="424" y="47"/>
                  </a:lnTo>
                  <a:lnTo>
                    <a:pt x="425" y="35"/>
                  </a:lnTo>
                  <a:lnTo>
                    <a:pt x="427" y="32"/>
                  </a:lnTo>
                  <a:lnTo>
                    <a:pt x="434" y="31"/>
                  </a:lnTo>
                  <a:lnTo>
                    <a:pt x="441" y="32"/>
                  </a:lnTo>
                  <a:lnTo>
                    <a:pt x="447" y="36"/>
                  </a:lnTo>
                  <a:lnTo>
                    <a:pt x="465" y="38"/>
                  </a:lnTo>
                  <a:lnTo>
                    <a:pt x="496" y="52"/>
                  </a:lnTo>
                  <a:lnTo>
                    <a:pt x="520" y="57"/>
                  </a:lnTo>
                  <a:lnTo>
                    <a:pt x="532" y="62"/>
                  </a:lnTo>
                  <a:lnTo>
                    <a:pt x="544" y="78"/>
                  </a:lnTo>
                  <a:lnTo>
                    <a:pt x="575" y="94"/>
                  </a:lnTo>
                  <a:close/>
                  <a:moveTo>
                    <a:pt x="99" y="171"/>
                  </a:moveTo>
                  <a:lnTo>
                    <a:pt x="97" y="164"/>
                  </a:lnTo>
                  <a:lnTo>
                    <a:pt x="87" y="150"/>
                  </a:lnTo>
                  <a:lnTo>
                    <a:pt x="77" y="146"/>
                  </a:lnTo>
                  <a:lnTo>
                    <a:pt x="77" y="176"/>
                  </a:lnTo>
                  <a:lnTo>
                    <a:pt x="81" y="180"/>
                  </a:lnTo>
                  <a:lnTo>
                    <a:pt x="99" y="171"/>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65" name="Zamora" descr="{&quot;Key&quot;:&quot;zamora&quot;,&quot;Name&quot;:&quot;Zamora&quot;,&quot;Value&quot;:1.0,&quot;Formula&quot;:&quot;&quot;,&quot;Text&quot;:&quot;1&quot;,&quot;HasValue&quot;:true}">
              <a:extLst>
                <a:ext uri="{FF2B5EF4-FFF2-40B4-BE49-F238E27FC236}">
                  <a16:creationId xmlns:a16="http://schemas.microsoft.com/office/drawing/2014/main" id="{EF5F0113-DFDB-9F30-C12B-9E8243B10059}"/>
                </a:ext>
              </a:extLst>
            </p:cNvPr>
            <p:cNvSpPr>
              <a:spLocks/>
            </p:cNvSpPr>
            <p:nvPr/>
          </p:nvSpPr>
          <p:spPr bwMode="auto">
            <a:xfrm>
              <a:off x="2029343" y="2736078"/>
              <a:ext cx="687135" cy="583710"/>
            </a:xfrm>
            <a:custGeom>
              <a:avLst/>
              <a:gdLst>
                <a:gd name="T0" fmla="*/ 855 w 997"/>
                <a:gd name="T1" fmla="*/ 202 h 845"/>
                <a:gd name="T2" fmla="*/ 968 w 997"/>
                <a:gd name="T3" fmla="*/ 205 h 845"/>
                <a:gd name="T4" fmla="*/ 959 w 997"/>
                <a:gd name="T5" fmla="*/ 258 h 845"/>
                <a:gd name="T6" fmla="*/ 968 w 997"/>
                <a:gd name="T7" fmla="*/ 329 h 845"/>
                <a:gd name="T8" fmla="*/ 942 w 997"/>
                <a:gd name="T9" fmla="*/ 435 h 845"/>
                <a:gd name="T10" fmla="*/ 970 w 997"/>
                <a:gd name="T11" fmla="*/ 490 h 845"/>
                <a:gd name="T12" fmla="*/ 963 w 997"/>
                <a:gd name="T13" fmla="*/ 515 h 845"/>
                <a:gd name="T14" fmla="*/ 953 w 997"/>
                <a:gd name="T15" fmla="*/ 563 h 845"/>
                <a:gd name="T16" fmla="*/ 935 w 997"/>
                <a:gd name="T17" fmla="*/ 599 h 845"/>
                <a:gd name="T18" fmla="*/ 946 w 997"/>
                <a:gd name="T19" fmla="*/ 628 h 845"/>
                <a:gd name="T20" fmla="*/ 956 w 997"/>
                <a:gd name="T21" fmla="*/ 705 h 845"/>
                <a:gd name="T22" fmla="*/ 953 w 997"/>
                <a:gd name="T23" fmla="*/ 770 h 845"/>
                <a:gd name="T24" fmla="*/ 961 w 997"/>
                <a:gd name="T25" fmla="*/ 834 h 845"/>
                <a:gd name="T26" fmla="*/ 946 w 997"/>
                <a:gd name="T27" fmla="*/ 845 h 845"/>
                <a:gd name="T28" fmla="*/ 922 w 997"/>
                <a:gd name="T29" fmla="*/ 825 h 845"/>
                <a:gd name="T30" fmla="*/ 848 w 997"/>
                <a:gd name="T31" fmla="*/ 800 h 845"/>
                <a:gd name="T32" fmla="*/ 757 w 997"/>
                <a:gd name="T33" fmla="*/ 752 h 845"/>
                <a:gd name="T34" fmla="*/ 631 w 997"/>
                <a:gd name="T35" fmla="*/ 758 h 845"/>
                <a:gd name="T36" fmla="*/ 615 w 997"/>
                <a:gd name="T37" fmla="*/ 798 h 845"/>
                <a:gd name="T38" fmla="*/ 607 w 997"/>
                <a:gd name="T39" fmla="*/ 825 h 845"/>
                <a:gd name="T40" fmla="*/ 582 w 997"/>
                <a:gd name="T41" fmla="*/ 810 h 845"/>
                <a:gd name="T42" fmla="*/ 565 w 997"/>
                <a:gd name="T43" fmla="*/ 819 h 845"/>
                <a:gd name="T44" fmla="*/ 557 w 997"/>
                <a:gd name="T45" fmla="*/ 792 h 845"/>
                <a:gd name="T46" fmla="*/ 508 w 997"/>
                <a:gd name="T47" fmla="*/ 774 h 845"/>
                <a:gd name="T48" fmla="*/ 312 w 997"/>
                <a:gd name="T49" fmla="*/ 699 h 845"/>
                <a:gd name="T50" fmla="*/ 357 w 997"/>
                <a:gd name="T51" fmla="*/ 653 h 845"/>
                <a:gd name="T52" fmla="*/ 366 w 997"/>
                <a:gd name="T53" fmla="*/ 632 h 845"/>
                <a:gd name="T54" fmla="*/ 412 w 997"/>
                <a:gd name="T55" fmla="*/ 588 h 845"/>
                <a:gd name="T56" fmla="*/ 415 w 997"/>
                <a:gd name="T57" fmla="*/ 564 h 845"/>
                <a:gd name="T58" fmla="*/ 418 w 997"/>
                <a:gd name="T59" fmla="*/ 467 h 845"/>
                <a:gd name="T60" fmla="*/ 313 w 997"/>
                <a:gd name="T61" fmla="*/ 430 h 845"/>
                <a:gd name="T62" fmla="*/ 285 w 997"/>
                <a:gd name="T63" fmla="*/ 450 h 845"/>
                <a:gd name="T64" fmla="*/ 257 w 997"/>
                <a:gd name="T65" fmla="*/ 404 h 845"/>
                <a:gd name="T66" fmla="*/ 252 w 997"/>
                <a:gd name="T67" fmla="*/ 377 h 845"/>
                <a:gd name="T68" fmla="*/ 278 w 997"/>
                <a:gd name="T69" fmla="*/ 289 h 845"/>
                <a:gd name="T70" fmla="*/ 255 w 997"/>
                <a:gd name="T71" fmla="*/ 245 h 845"/>
                <a:gd name="T72" fmla="*/ 225 w 997"/>
                <a:gd name="T73" fmla="*/ 234 h 845"/>
                <a:gd name="T74" fmla="*/ 130 w 997"/>
                <a:gd name="T75" fmla="*/ 205 h 845"/>
                <a:gd name="T76" fmla="*/ 61 w 997"/>
                <a:gd name="T77" fmla="*/ 235 h 845"/>
                <a:gd name="T78" fmla="*/ 25 w 997"/>
                <a:gd name="T79" fmla="*/ 209 h 845"/>
                <a:gd name="T80" fmla="*/ 33 w 997"/>
                <a:gd name="T81" fmla="*/ 163 h 845"/>
                <a:gd name="T82" fmla="*/ 8 w 997"/>
                <a:gd name="T83" fmla="*/ 152 h 845"/>
                <a:gd name="T84" fmla="*/ 8 w 997"/>
                <a:gd name="T85" fmla="*/ 127 h 845"/>
                <a:gd name="T86" fmla="*/ 40 w 997"/>
                <a:gd name="T87" fmla="*/ 92 h 845"/>
                <a:gd name="T88" fmla="*/ 71 w 997"/>
                <a:gd name="T89" fmla="*/ 40 h 845"/>
                <a:gd name="T90" fmla="*/ 110 w 997"/>
                <a:gd name="T91" fmla="*/ 25 h 845"/>
                <a:gd name="T92" fmla="*/ 126 w 997"/>
                <a:gd name="T93" fmla="*/ 12 h 845"/>
                <a:gd name="T94" fmla="*/ 207 w 997"/>
                <a:gd name="T95" fmla="*/ 28 h 845"/>
                <a:gd name="T96" fmla="*/ 280 w 997"/>
                <a:gd name="T97" fmla="*/ 40 h 845"/>
                <a:gd name="T98" fmla="*/ 392 w 997"/>
                <a:gd name="T99" fmla="*/ 35 h 845"/>
                <a:gd name="T100" fmla="*/ 415 w 997"/>
                <a:gd name="T101" fmla="*/ 57 h 845"/>
                <a:gd name="T102" fmla="*/ 545 w 997"/>
                <a:gd name="T103" fmla="*/ 72 h 845"/>
                <a:gd name="T104" fmla="*/ 607 w 997"/>
                <a:gd name="T105" fmla="*/ 88 h 845"/>
                <a:gd name="T106" fmla="*/ 623 w 997"/>
                <a:gd name="T107" fmla="*/ 77 h 845"/>
                <a:gd name="T108" fmla="*/ 660 w 997"/>
                <a:gd name="T109" fmla="*/ 102 h 845"/>
                <a:gd name="T110" fmla="*/ 747 w 997"/>
                <a:gd name="T111" fmla="*/ 85 h 845"/>
                <a:gd name="T112" fmla="*/ 780 w 997"/>
                <a:gd name="T113" fmla="*/ 114 h 845"/>
                <a:gd name="T114" fmla="*/ 834 w 997"/>
                <a:gd name="T115" fmla="*/ 1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7" h="845">
                  <a:moveTo>
                    <a:pt x="834" y="118"/>
                  </a:moveTo>
                  <a:lnTo>
                    <a:pt x="842" y="147"/>
                  </a:lnTo>
                  <a:lnTo>
                    <a:pt x="862" y="185"/>
                  </a:lnTo>
                  <a:lnTo>
                    <a:pt x="855" y="202"/>
                  </a:lnTo>
                  <a:lnTo>
                    <a:pt x="881" y="214"/>
                  </a:lnTo>
                  <a:lnTo>
                    <a:pt x="890" y="167"/>
                  </a:lnTo>
                  <a:lnTo>
                    <a:pt x="915" y="159"/>
                  </a:lnTo>
                  <a:lnTo>
                    <a:pt x="968" y="205"/>
                  </a:lnTo>
                  <a:lnTo>
                    <a:pt x="955" y="223"/>
                  </a:lnTo>
                  <a:lnTo>
                    <a:pt x="955" y="232"/>
                  </a:lnTo>
                  <a:lnTo>
                    <a:pt x="959" y="249"/>
                  </a:lnTo>
                  <a:lnTo>
                    <a:pt x="959" y="258"/>
                  </a:lnTo>
                  <a:lnTo>
                    <a:pt x="955" y="270"/>
                  </a:lnTo>
                  <a:lnTo>
                    <a:pt x="953" y="287"/>
                  </a:lnTo>
                  <a:lnTo>
                    <a:pt x="956" y="302"/>
                  </a:lnTo>
                  <a:lnTo>
                    <a:pt x="968" y="329"/>
                  </a:lnTo>
                  <a:lnTo>
                    <a:pt x="907" y="368"/>
                  </a:lnTo>
                  <a:lnTo>
                    <a:pt x="920" y="399"/>
                  </a:lnTo>
                  <a:lnTo>
                    <a:pt x="937" y="424"/>
                  </a:lnTo>
                  <a:lnTo>
                    <a:pt x="942" y="435"/>
                  </a:lnTo>
                  <a:lnTo>
                    <a:pt x="945" y="465"/>
                  </a:lnTo>
                  <a:lnTo>
                    <a:pt x="950" y="477"/>
                  </a:lnTo>
                  <a:lnTo>
                    <a:pt x="967" y="484"/>
                  </a:lnTo>
                  <a:lnTo>
                    <a:pt x="970" y="490"/>
                  </a:lnTo>
                  <a:lnTo>
                    <a:pt x="967" y="497"/>
                  </a:lnTo>
                  <a:lnTo>
                    <a:pt x="963" y="502"/>
                  </a:lnTo>
                  <a:lnTo>
                    <a:pt x="961" y="508"/>
                  </a:lnTo>
                  <a:lnTo>
                    <a:pt x="963" y="515"/>
                  </a:lnTo>
                  <a:lnTo>
                    <a:pt x="997" y="540"/>
                  </a:lnTo>
                  <a:lnTo>
                    <a:pt x="982" y="557"/>
                  </a:lnTo>
                  <a:lnTo>
                    <a:pt x="977" y="559"/>
                  </a:lnTo>
                  <a:lnTo>
                    <a:pt x="953" y="563"/>
                  </a:lnTo>
                  <a:lnTo>
                    <a:pt x="947" y="568"/>
                  </a:lnTo>
                  <a:lnTo>
                    <a:pt x="940" y="577"/>
                  </a:lnTo>
                  <a:lnTo>
                    <a:pt x="936" y="587"/>
                  </a:lnTo>
                  <a:lnTo>
                    <a:pt x="935" y="599"/>
                  </a:lnTo>
                  <a:lnTo>
                    <a:pt x="936" y="612"/>
                  </a:lnTo>
                  <a:lnTo>
                    <a:pt x="938" y="619"/>
                  </a:lnTo>
                  <a:lnTo>
                    <a:pt x="943" y="623"/>
                  </a:lnTo>
                  <a:lnTo>
                    <a:pt x="946" y="628"/>
                  </a:lnTo>
                  <a:lnTo>
                    <a:pt x="941" y="668"/>
                  </a:lnTo>
                  <a:lnTo>
                    <a:pt x="942" y="678"/>
                  </a:lnTo>
                  <a:lnTo>
                    <a:pt x="945" y="685"/>
                  </a:lnTo>
                  <a:lnTo>
                    <a:pt x="956" y="705"/>
                  </a:lnTo>
                  <a:lnTo>
                    <a:pt x="958" y="715"/>
                  </a:lnTo>
                  <a:lnTo>
                    <a:pt x="961" y="744"/>
                  </a:lnTo>
                  <a:lnTo>
                    <a:pt x="960" y="759"/>
                  </a:lnTo>
                  <a:lnTo>
                    <a:pt x="953" y="770"/>
                  </a:lnTo>
                  <a:lnTo>
                    <a:pt x="935" y="788"/>
                  </a:lnTo>
                  <a:lnTo>
                    <a:pt x="943" y="800"/>
                  </a:lnTo>
                  <a:lnTo>
                    <a:pt x="963" y="797"/>
                  </a:lnTo>
                  <a:lnTo>
                    <a:pt x="961" y="834"/>
                  </a:lnTo>
                  <a:lnTo>
                    <a:pt x="960" y="839"/>
                  </a:lnTo>
                  <a:lnTo>
                    <a:pt x="957" y="843"/>
                  </a:lnTo>
                  <a:lnTo>
                    <a:pt x="952" y="845"/>
                  </a:lnTo>
                  <a:lnTo>
                    <a:pt x="946" y="845"/>
                  </a:lnTo>
                  <a:lnTo>
                    <a:pt x="941" y="844"/>
                  </a:lnTo>
                  <a:lnTo>
                    <a:pt x="937" y="842"/>
                  </a:lnTo>
                  <a:lnTo>
                    <a:pt x="926" y="828"/>
                  </a:lnTo>
                  <a:lnTo>
                    <a:pt x="922" y="825"/>
                  </a:lnTo>
                  <a:lnTo>
                    <a:pt x="903" y="823"/>
                  </a:lnTo>
                  <a:lnTo>
                    <a:pt x="901" y="822"/>
                  </a:lnTo>
                  <a:lnTo>
                    <a:pt x="898" y="794"/>
                  </a:lnTo>
                  <a:lnTo>
                    <a:pt x="848" y="800"/>
                  </a:lnTo>
                  <a:lnTo>
                    <a:pt x="820" y="779"/>
                  </a:lnTo>
                  <a:lnTo>
                    <a:pt x="785" y="777"/>
                  </a:lnTo>
                  <a:lnTo>
                    <a:pt x="775" y="772"/>
                  </a:lnTo>
                  <a:lnTo>
                    <a:pt x="757" y="752"/>
                  </a:lnTo>
                  <a:lnTo>
                    <a:pt x="751" y="750"/>
                  </a:lnTo>
                  <a:lnTo>
                    <a:pt x="730" y="763"/>
                  </a:lnTo>
                  <a:lnTo>
                    <a:pt x="675" y="772"/>
                  </a:lnTo>
                  <a:lnTo>
                    <a:pt x="631" y="758"/>
                  </a:lnTo>
                  <a:lnTo>
                    <a:pt x="621" y="759"/>
                  </a:lnTo>
                  <a:lnTo>
                    <a:pt x="615" y="768"/>
                  </a:lnTo>
                  <a:lnTo>
                    <a:pt x="613" y="780"/>
                  </a:lnTo>
                  <a:lnTo>
                    <a:pt x="615" y="798"/>
                  </a:lnTo>
                  <a:lnTo>
                    <a:pt x="617" y="807"/>
                  </a:lnTo>
                  <a:lnTo>
                    <a:pt x="617" y="812"/>
                  </a:lnTo>
                  <a:lnTo>
                    <a:pt x="613" y="819"/>
                  </a:lnTo>
                  <a:lnTo>
                    <a:pt x="607" y="825"/>
                  </a:lnTo>
                  <a:lnTo>
                    <a:pt x="598" y="827"/>
                  </a:lnTo>
                  <a:lnTo>
                    <a:pt x="592" y="824"/>
                  </a:lnTo>
                  <a:lnTo>
                    <a:pt x="586" y="810"/>
                  </a:lnTo>
                  <a:lnTo>
                    <a:pt x="582" y="810"/>
                  </a:lnTo>
                  <a:lnTo>
                    <a:pt x="580" y="812"/>
                  </a:lnTo>
                  <a:lnTo>
                    <a:pt x="573" y="820"/>
                  </a:lnTo>
                  <a:lnTo>
                    <a:pt x="570" y="822"/>
                  </a:lnTo>
                  <a:lnTo>
                    <a:pt x="565" y="819"/>
                  </a:lnTo>
                  <a:lnTo>
                    <a:pt x="555" y="809"/>
                  </a:lnTo>
                  <a:lnTo>
                    <a:pt x="553" y="807"/>
                  </a:lnTo>
                  <a:lnTo>
                    <a:pt x="557" y="797"/>
                  </a:lnTo>
                  <a:lnTo>
                    <a:pt x="557" y="792"/>
                  </a:lnTo>
                  <a:lnTo>
                    <a:pt x="555" y="787"/>
                  </a:lnTo>
                  <a:lnTo>
                    <a:pt x="552" y="783"/>
                  </a:lnTo>
                  <a:lnTo>
                    <a:pt x="538" y="778"/>
                  </a:lnTo>
                  <a:lnTo>
                    <a:pt x="508" y="774"/>
                  </a:lnTo>
                  <a:lnTo>
                    <a:pt x="498" y="785"/>
                  </a:lnTo>
                  <a:lnTo>
                    <a:pt x="391" y="724"/>
                  </a:lnTo>
                  <a:lnTo>
                    <a:pt x="302" y="708"/>
                  </a:lnTo>
                  <a:lnTo>
                    <a:pt x="312" y="699"/>
                  </a:lnTo>
                  <a:lnTo>
                    <a:pt x="331" y="682"/>
                  </a:lnTo>
                  <a:lnTo>
                    <a:pt x="348" y="653"/>
                  </a:lnTo>
                  <a:lnTo>
                    <a:pt x="350" y="652"/>
                  </a:lnTo>
                  <a:lnTo>
                    <a:pt x="357" y="653"/>
                  </a:lnTo>
                  <a:lnTo>
                    <a:pt x="360" y="653"/>
                  </a:lnTo>
                  <a:lnTo>
                    <a:pt x="361" y="648"/>
                  </a:lnTo>
                  <a:lnTo>
                    <a:pt x="361" y="638"/>
                  </a:lnTo>
                  <a:lnTo>
                    <a:pt x="366" y="632"/>
                  </a:lnTo>
                  <a:lnTo>
                    <a:pt x="375" y="629"/>
                  </a:lnTo>
                  <a:lnTo>
                    <a:pt x="391" y="628"/>
                  </a:lnTo>
                  <a:lnTo>
                    <a:pt x="391" y="622"/>
                  </a:lnTo>
                  <a:lnTo>
                    <a:pt x="412" y="588"/>
                  </a:lnTo>
                  <a:lnTo>
                    <a:pt x="413" y="583"/>
                  </a:lnTo>
                  <a:lnTo>
                    <a:pt x="411" y="578"/>
                  </a:lnTo>
                  <a:lnTo>
                    <a:pt x="411" y="572"/>
                  </a:lnTo>
                  <a:lnTo>
                    <a:pt x="415" y="564"/>
                  </a:lnTo>
                  <a:lnTo>
                    <a:pt x="428" y="549"/>
                  </a:lnTo>
                  <a:lnTo>
                    <a:pt x="455" y="510"/>
                  </a:lnTo>
                  <a:lnTo>
                    <a:pt x="442" y="492"/>
                  </a:lnTo>
                  <a:lnTo>
                    <a:pt x="418" y="467"/>
                  </a:lnTo>
                  <a:lnTo>
                    <a:pt x="393" y="450"/>
                  </a:lnTo>
                  <a:lnTo>
                    <a:pt x="367" y="440"/>
                  </a:lnTo>
                  <a:lnTo>
                    <a:pt x="322" y="432"/>
                  </a:lnTo>
                  <a:lnTo>
                    <a:pt x="313" y="430"/>
                  </a:lnTo>
                  <a:lnTo>
                    <a:pt x="306" y="439"/>
                  </a:lnTo>
                  <a:lnTo>
                    <a:pt x="298" y="444"/>
                  </a:lnTo>
                  <a:lnTo>
                    <a:pt x="291" y="448"/>
                  </a:lnTo>
                  <a:lnTo>
                    <a:pt x="285" y="450"/>
                  </a:lnTo>
                  <a:lnTo>
                    <a:pt x="270" y="444"/>
                  </a:lnTo>
                  <a:lnTo>
                    <a:pt x="262" y="432"/>
                  </a:lnTo>
                  <a:lnTo>
                    <a:pt x="258" y="418"/>
                  </a:lnTo>
                  <a:lnTo>
                    <a:pt x="257" y="404"/>
                  </a:lnTo>
                  <a:lnTo>
                    <a:pt x="255" y="397"/>
                  </a:lnTo>
                  <a:lnTo>
                    <a:pt x="251" y="390"/>
                  </a:lnTo>
                  <a:lnTo>
                    <a:pt x="250" y="384"/>
                  </a:lnTo>
                  <a:lnTo>
                    <a:pt x="252" y="377"/>
                  </a:lnTo>
                  <a:lnTo>
                    <a:pt x="257" y="370"/>
                  </a:lnTo>
                  <a:lnTo>
                    <a:pt x="258" y="364"/>
                  </a:lnTo>
                  <a:lnTo>
                    <a:pt x="272" y="303"/>
                  </a:lnTo>
                  <a:lnTo>
                    <a:pt x="278" y="289"/>
                  </a:lnTo>
                  <a:lnTo>
                    <a:pt x="265" y="284"/>
                  </a:lnTo>
                  <a:lnTo>
                    <a:pt x="255" y="283"/>
                  </a:lnTo>
                  <a:lnTo>
                    <a:pt x="250" y="278"/>
                  </a:lnTo>
                  <a:lnTo>
                    <a:pt x="255" y="245"/>
                  </a:lnTo>
                  <a:lnTo>
                    <a:pt x="252" y="233"/>
                  </a:lnTo>
                  <a:lnTo>
                    <a:pt x="245" y="224"/>
                  </a:lnTo>
                  <a:lnTo>
                    <a:pt x="232" y="218"/>
                  </a:lnTo>
                  <a:lnTo>
                    <a:pt x="225" y="234"/>
                  </a:lnTo>
                  <a:lnTo>
                    <a:pt x="206" y="240"/>
                  </a:lnTo>
                  <a:lnTo>
                    <a:pt x="166" y="242"/>
                  </a:lnTo>
                  <a:lnTo>
                    <a:pt x="150" y="237"/>
                  </a:lnTo>
                  <a:lnTo>
                    <a:pt x="130" y="205"/>
                  </a:lnTo>
                  <a:lnTo>
                    <a:pt x="112" y="202"/>
                  </a:lnTo>
                  <a:lnTo>
                    <a:pt x="108" y="224"/>
                  </a:lnTo>
                  <a:lnTo>
                    <a:pt x="96" y="233"/>
                  </a:lnTo>
                  <a:lnTo>
                    <a:pt x="61" y="235"/>
                  </a:lnTo>
                  <a:lnTo>
                    <a:pt x="46" y="233"/>
                  </a:lnTo>
                  <a:lnTo>
                    <a:pt x="32" y="222"/>
                  </a:lnTo>
                  <a:lnTo>
                    <a:pt x="25" y="218"/>
                  </a:lnTo>
                  <a:lnTo>
                    <a:pt x="25" y="209"/>
                  </a:lnTo>
                  <a:lnTo>
                    <a:pt x="22" y="203"/>
                  </a:lnTo>
                  <a:lnTo>
                    <a:pt x="25" y="193"/>
                  </a:lnTo>
                  <a:lnTo>
                    <a:pt x="35" y="169"/>
                  </a:lnTo>
                  <a:lnTo>
                    <a:pt x="33" y="163"/>
                  </a:lnTo>
                  <a:lnTo>
                    <a:pt x="27" y="154"/>
                  </a:lnTo>
                  <a:lnTo>
                    <a:pt x="23" y="152"/>
                  </a:lnTo>
                  <a:lnTo>
                    <a:pt x="12" y="152"/>
                  </a:lnTo>
                  <a:lnTo>
                    <a:pt x="8" y="152"/>
                  </a:lnTo>
                  <a:lnTo>
                    <a:pt x="1" y="144"/>
                  </a:lnTo>
                  <a:lnTo>
                    <a:pt x="0" y="139"/>
                  </a:lnTo>
                  <a:lnTo>
                    <a:pt x="1" y="133"/>
                  </a:lnTo>
                  <a:lnTo>
                    <a:pt x="8" y="127"/>
                  </a:lnTo>
                  <a:lnTo>
                    <a:pt x="22" y="105"/>
                  </a:lnTo>
                  <a:lnTo>
                    <a:pt x="27" y="100"/>
                  </a:lnTo>
                  <a:lnTo>
                    <a:pt x="36" y="95"/>
                  </a:lnTo>
                  <a:lnTo>
                    <a:pt x="40" y="92"/>
                  </a:lnTo>
                  <a:lnTo>
                    <a:pt x="46" y="72"/>
                  </a:lnTo>
                  <a:lnTo>
                    <a:pt x="48" y="67"/>
                  </a:lnTo>
                  <a:lnTo>
                    <a:pt x="52" y="60"/>
                  </a:lnTo>
                  <a:lnTo>
                    <a:pt x="71" y="40"/>
                  </a:lnTo>
                  <a:lnTo>
                    <a:pt x="80" y="33"/>
                  </a:lnTo>
                  <a:lnTo>
                    <a:pt x="88" y="28"/>
                  </a:lnTo>
                  <a:lnTo>
                    <a:pt x="101" y="25"/>
                  </a:lnTo>
                  <a:lnTo>
                    <a:pt x="110" y="25"/>
                  </a:lnTo>
                  <a:lnTo>
                    <a:pt x="120" y="28"/>
                  </a:lnTo>
                  <a:lnTo>
                    <a:pt x="123" y="27"/>
                  </a:lnTo>
                  <a:lnTo>
                    <a:pt x="125" y="18"/>
                  </a:lnTo>
                  <a:lnTo>
                    <a:pt x="126" y="12"/>
                  </a:lnTo>
                  <a:lnTo>
                    <a:pt x="135" y="0"/>
                  </a:lnTo>
                  <a:lnTo>
                    <a:pt x="178" y="28"/>
                  </a:lnTo>
                  <a:lnTo>
                    <a:pt x="187" y="30"/>
                  </a:lnTo>
                  <a:lnTo>
                    <a:pt x="207" y="28"/>
                  </a:lnTo>
                  <a:lnTo>
                    <a:pt x="212" y="29"/>
                  </a:lnTo>
                  <a:lnTo>
                    <a:pt x="227" y="37"/>
                  </a:lnTo>
                  <a:lnTo>
                    <a:pt x="260" y="35"/>
                  </a:lnTo>
                  <a:lnTo>
                    <a:pt x="280" y="40"/>
                  </a:lnTo>
                  <a:lnTo>
                    <a:pt x="297" y="53"/>
                  </a:lnTo>
                  <a:lnTo>
                    <a:pt x="332" y="39"/>
                  </a:lnTo>
                  <a:lnTo>
                    <a:pt x="381" y="40"/>
                  </a:lnTo>
                  <a:lnTo>
                    <a:pt x="392" y="35"/>
                  </a:lnTo>
                  <a:lnTo>
                    <a:pt x="397" y="34"/>
                  </a:lnTo>
                  <a:lnTo>
                    <a:pt x="402" y="39"/>
                  </a:lnTo>
                  <a:lnTo>
                    <a:pt x="408" y="52"/>
                  </a:lnTo>
                  <a:lnTo>
                    <a:pt x="415" y="57"/>
                  </a:lnTo>
                  <a:lnTo>
                    <a:pt x="435" y="64"/>
                  </a:lnTo>
                  <a:lnTo>
                    <a:pt x="451" y="78"/>
                  </a:lnTo>
                  <a:lnTo>
                    <a:pt x="456" y="79"/>
                  </a:lnTo>
                  <a:lnTo>
                    <a:pt x="545" y="72"/>
                  </a:lnTo>
                  <a:lnTo>
                    <a:pt x="593" y="97"/>
                  </a:lnTo>
                  <a:lnTo>
                    <a:pt x="597" y="95"/>
                  </a:lnTo>
                  <a:lnTo>
                    <a:pt x="603" y="89"/>
                  </a:lnTo>
                  <a:lnTo>
                    <a:pt x="607" y="88"/>
                  </a:lnTo>
                  <a:lnTo>
                    <a:pt x="613" y="88"/>
                  </a:lnTo>
                  <a:lnTo>
                    <a:pt x="618" y="85"/>
                  </a:lnTo>
                  <a:lnTo>
                    <a:pt x="621" y="79"/>
                  </a:lnTo>
                  <a:lnTo>
                    <a:pt x="623" y="77"/>
                  </a:lnTo>
                  <a:lnTo>
                    <a:pt x="628" y="78"/>
                  </a:lnTo>
                  <a:lnTo>
                    <a:pt x="633" y="84"/>
                  </a:lnTo>
                  <a:lnTo>
                    <a:pt x="642" y="99"/>
                  </a:lnTo>
                  <a:lnTo>
                    <a:pt x="660" y="102"/>
                  </a:lnTo>
                  <a:lnTo>
                    <a:pt x="705" y="88"/>
                  </a:lnTo>
                  <a:lnTo>
                    <a:pt x="712" y="105"/>
                  </a:lnTo>
                  <a:lnTo>
                    <a:pt x="748" y="100"/>
                  </a:lnTo>
                  <a:lnTo>
                    <a:pt x="747" y="85"/>
                  </a:lnTo>
                  <a:lnTo>
                    <a:pt x="760" y="89"/>
                  </a:lnTo>
                  <a:lnTo>
                    <a:pt x="767" y="94"/>
                  </a:lnTo>
                  <a:lnTo>
                    <a:pt x="777" y="107"/>
                  </a:lnTo>
                  <a:lnTo>
                    <a:pt x="780" y="114"/>
                  </a:lnTo>
                  <a:lnTo>
                    <a:pt x="777" y="128"/>
                  </a:lnTo>
                  <a:lnTo>
                    <a:pt x="817" y="143"/>
                  </a:lnTo>
                  <a:lnTo>
                    <a:pt x="823" y="117"/>
                  </a:lnTo>
                  <a:lnTo>
                    <a:pt x="834" y="118"/>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37CBA"/>
                </a:solidFill>
                <a:effectLst/>
                <a:uLnTx/>
                <a:uFillTx/>
                <a:latin typeface="Arial"/>
              </a:endParaRPr>
            </a:p>
          </p:txBody>
        </p:sp>
        <p:sp>
          <p:nvSpPr>
            <p:cNvPr id="66" name="Zaragoza" descr="{&quot;Key&quot;:&quot;zaragoza&quot;,&quot;Name&quot;:&quot;Zaragoza&quot;,&quot;Value&quot;:1.0,&quot;Formula&quot;:&quot;&quot;,&quot;Text&quot;:&quot;1&quot;,&quot;HasValue&quot;:true}">
              <a:extLst>
                <a:ext uri="{FF2B5EF4-FFF2-40B4-BE49-F238E27FC236}">
                  <a16:creationId xmlns:a16="http://schemas.microsoft.com/office/drawing/2014/main" id="{8EE50FDC-503F-E8B2-BE87-7330DD0CF683}"/>
                </a:ext>
              </a:extLst>
            </p:cNvPr>
            <p:cNvSpPr>
              <a:spLocks noEditPoints="1"/>
            </p:cNvSpPr>
            <p:nvPr/>
          </p:nvSpPr>
          <p:spPr bwMode="auto">
            <a:xfrm>
              <a:off x="3885314" y="2482475"/>
              <a:ext cx="974739" cy="925152"/>
            </a:xfrm>
            <a:custGeom>
              <a:avLst/>
              <a:gdLst>
                <a:gd name="T0" fmla="*/ 1414 w 1414"/>
                <a:gd name="T1" fmla="*/ 1061 h 1339"/>
                <a:gd name="T2" fmla="*/ 1376 w 1414"/>
                <a:gd name="T3" fmla="*/ 1151 h 1339"/>
                <a:gd name="T4" fmla="*/ 1339 w 1414"/>
                <a:gd name="T5" fmla="*/ 1201 h 1339"/>
                <a:gd name="T6" fmla="*/ 1325 w 1414"/>
                <a:gd name="T7" fmla="*/ 1246 h 1339"/>
                <a:gd name="T8" fmla="*/ 1226 w 1414"/>
                <a:gd name="T9" fmla="*/ 1262 h 1339"/>
                <a:gd name="T10" fmla="*/ 966 w 1414"/>
                <a:gd name="T11" fmla="*/ 1079 h 1339"/>
                <a:gd name="T12" fmla="*/ 931 w 1414"/>
                <a:gd name="T13" fmla="*/ 1036 h 1339"/>
                <a:gd name="T14" fmla="*/ 917 w 1414"/>
                <a:gd name="T15" fmla="*/ 1130 h 1339"/>
                <a:gd name="T16" fmla="*/ 857 w 1414"/>
                <a:gd name="T17" fmla="*/ 1115 h 1339"/>
                <a:gd name="T18" fmla="*/ 765 w 1414"/>
                <a:gd name="T19" fmla="*/ 1222 h 1339"/>
                <a:gd name="T20" fmla="*/ 656 w 1414"/>
                <a:gd name="T21" fmla="*/ 1230 h 1339"/>
                <a:gd name="T22" fmla="*/ 562 w 1414"/>
                <a:gd name="T23" fmla="*/ 1207 h 1339"/>
                <a:gd name="T24" fmla="*/ 504 w 1414"/>
                <a:gd name="T25" fmla="*/ 1231 h 1339"/>
                <a:gd name="T26" fmla="*/ 439 w 1414"/>
                <a:gd name="T27" fmla="*/ 1244 h 1339"/>
                <a:gd name="T28" fmla="*/ 396 w 1414"/>
                <a:gd name="T29" fmla="*/ 1287 h 1339"/>
                <a:gd name="T30" fmla="*/ 359 w 1414"/>
                <a:gd name="T31" fmla="*/ 1332 h 1339"/>
                <a:gd name="T32" fmla="*/ 236 w 1414"/>
                <a:gd name="T33" fmla="*/ 1270 h 1339"/>
                <a:gd name="T34" fmla="*/ 135 w 1414"/>
                <a:gd name="T35" fmla="*/ 1187 h 1339"/>
                <a:gd name="T36" fmla="*/ 34 w 1414"/>
                <a:gd name="T37" fmla="*/ 1167 h 1339"/>
                <a:gd name="T38" fmla="*/ 0 w 1414"/>
                <a:gd name="T39" fmla="*/ 1081 h 1339"/>
                <a:gd name="T40" fmla="*/ 30 w 1414"/>
                <a:gd name="T41" fmla="*/ 985 h 1339"/>
                <a:gd name="T42" fmla="*/ 74 w 1414"/>
                <a:gd name="T43" fmla="*/ 995 h 1339"/>
                <a:gd name="T44" fmla="*/ 117 w 1414"/>
                <a:gd name="T45" fmla="*/ 996 h 1339"/>
                <a:gd name="T46" fmla="*/ 107 w 1414"/>
                <a:gd name="T47" fmla="*/ 923 h 1339"/>
                <a:gd name="T48" fmla="*/ 119 w 1414"/>
                <a:gd name="T49" fmla="*/ 848 h 1339"/>
                <a:gd name="T50" fmla="*/ 170 w 1414"/>
                <a:gd name="T51" fmla="*/ 822 h 1339"/>
                <a:gd name="T52" fmla="*/ 211 w 1414"/>
                <a:gd name="T53" fmla="*/ 782 h 1339"/>
                <a:gd name="T54" fmla="*/ 187 w 1414"/>
                <a:gd name="T55" fmla="*/ 723 h 1339"/>
                <a:gd name="T56" fmla="*/ 197 w 1414"/>
                <a:gd name="T57" fmla="*/ 667 h 1339"/>
                <a:gd name="T58" fmla="*/ 194 w 1414"/>
                <a:gd name="T59" fmla="*/ 561 h 1339"/>
                <a:gd name="T60" fmla="*/ 265 w 1414"/>
                <a:gd name="T61" fmla="*/ 592 h 1339"/>
                <a:gd name="T62" fmla="*/ 324 w 1414"/>
                <a:gd name="T63" fmla="*/ 612 h 1339"/>
                <a:gd name="T64" fmla="*/ 399 w 1414"/>
                <a:gd name="T65" fmla="*/ 620 h 1339"/>
                <a:gd name="T66" fmla="*/ 438 w 1414"/>
                <a:gd name="T67" fmla="*/ 592 h 1339"/>
                <a:gd name="T68" fmla="*/ 471 w 1414"/>
                <a:gd name="T69" fmla="*/ 507 h 1339"/>
                <a:gd name="T70" fmla="*/ 432 w 1414"/>
                <a:gd name="T71" fmla="*/ 467 h 1339"/>
                <a:gd name="T72" fmla="*/ 420 w 1414"/>
                <a:gd name="T73" fmla="*/ 403 h 1339"/>
                <a:gd name="T74" fmla="*/ 433 w 1414"/>
                <a:gd name="T75" fmla="*/ 342 h 1339"/>
                <a:gd name="T76" fmla="*/ 456 w 1414"/>
                <a:gd name="T77" fmla="*/ 273 h 1339"/>
                <a:gd name="T78" fmla="*/ 498 w 1414"/>
                <a:gd name="T79" fmla="*/ 186 h 1339"/>
                <a:gd name="T80" fmla="*/ 523 w 1414"/>
                <a:gd name="T81" fmla="*/ 145 h 1339"/>
                <a:gd name="T82" fmla="*/ 556 w 1414"/>
                <a:gd name="T83" fmla="*/ 98 h 1339"/>
                <a:gd name="T84" fmla="*/ 620 w 1414"/>
                <a:gd name="T85" fmla="*/ 72 h 1339"/>
                <a:gd name="T86" fmla="*/ 670 w 1414"/>
                <a:gd name="T87" fmla="*/ 23 h 1339"/>
                <a:gd name="T88" fmla="*/ 713 w 1414"/>
                <a:gd name="T89" fmla="*/ 55 h 1339"/>
                <a:gd name="T90" fmla="*/ 711 w 1414"/>
                <a:gd name="T91" fmla="*/ 213 h 1339"/>
                <a:gd name="T92" fmla="*/ 692 w 1414"/>
                <a:gd name="T93" fmla="*/ 361 h 1339"/>
                <a:gd name="T94" fmla="*/ 732 w 1414"/>
                <a:gd name="T95" fmla="*/ 345 h 1339"/>
                <a:gd name="T96" fmla="*/ 771 w 1414"/>
                <a:gd name="T97" fmla="*/ 271 h 1339"/>
                <a:gd name="T98" fmla="*/ 798 w 1414"/>
                <a:gd name="T99" fmla="*/ 333 h 1339"/>
                <a:gd name="T100" fmla="*/ 771 w 1414"/>
                <a:gd name="T101" fmla="*/ 515 h 1339"/>
                <a:gd name="T102" fmla="*/ 730 w 1414"/>
                <a:gd name="T103" fmla="*/ 512 h 1339"/>
                <a:gd name="T104" fmla="*/ 897 w 1414"/>
                <a:gd name="T105" fmla="*/ 656 h 1339"/>
                <a:gd name="T106" fmla="*/ 1010 w 1414"/>
                <a:gd name="T107" fmla="*/ 827 h 1339"/>
                <a:gd name="T108" fmla="*/ 1101 w 1414"/>
                <a:gd name="T109" fmla="*/ 861 h 1339"/>
                <a:gd name="T110" fmla="*/ 1196 w 1414"/>
                <a:gd name="T111" fmla="*/ 1015 h 1339"/>
                <a:gd name="T112" fmla="*/ 1326 w 1414"/>
                <a:gd name="T113" fmla="*/ 1000 h 1339"/>
                <a:gd name="T114" fmla="*/ 554 w 1414"/>
                <a:gd name="T115" fmla="*/ 230 h 1339"/>
                <a:gd name="T116" fmla="*/ 602 w 1414"/>
                <a:gd name="T117" fmla="*/ 214 h 1339"/>
                <a:gd name="T118" fmla="*/ 581 w 1414"/>
                <a:gd name="T119" fmla="*/ 227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4" h="1339">
                  <a:moveTo>
                    <a:pt x="1392" y="999"/>
                  </a:moveTo>
                  <a:lnTo>
                    <a:pt x="1384" y="1010"/>
                  </a:lnTo>
                  <a:lnTo>
                    <a:pt x="1386" y="1025"/>
                  </a:lnTo>
                  <a:lnTo>
                    <a:pt x="1390" y="1026"/>
                  </a:lnTo>
                  <a:lnTo>
                    <a:pt x="1400" y="1031"/>
                  </a:lnTo>
                  <a:lnTo>
                    <a:pt x="1407" y="1038"/>
                  </a:lnTo>
                  <a:lnTo>
                    <a:pt x="1411" y="1049"/>
                  </a:lnTo>
                  <a:lnTo>
                    <a:pt x="1414" y="1061"/>
                  </a:lnTo>
                  <a:lnTo>
                    <a:pt x="1400" y="1092"/>
                  </a:lnTo>
                  <a:lnTo>
                    <a:pt x="1401" y="1109"/>
                  </a:lnTo>
                  <a:lnTo>
                    <a:pt x="1404" y="1126"/>
                  </a:lnTo>
                  <a:lnTo>
                    <a:pt x="1397" y="1131"/>
                  </a:lnTo>
                  <a:lnTo>
                    <a:pt x="1391" y="1135"/>
                  </a:lnTo>
                  <a:lnTo>
                    <a:pt x="1382" y="1140"/>
                  </a:lnTo>
                  <a:lnTo>
                    <a:pt x="1379" y="1146"/>
                  </a:lnTo>
                  <a:lnTo>
                    <a:pt x="1376" y="1151"/>
                  </a:lnTo>
                  <a:lnTo>
                    <a:pt x="1375" y="1162"/>
                  </a:lnTo>
                  <a:lnTo>
                    <a:pt x="1371" y="1176"/>
                  </a:lnTo>
                  <a:lnTo>
                    <a:pt x="1367" y="1181"/>
                  </a:lnTo>
                  <a:lnTo>
                    <a:pt x="1362" y="1185"/>
                  </a:lnTo>
                  <a:lnTo>
                    <a:pt x="1357" y="1187"/>
                  </a:lnTo>
                  <a:lnTo>
                    <a:pt x="1347" y="1190"/>
                  </a:lnTo>
                  <a:lnTo>
                    <a:pt x="1342" y="1197"/>
                  </a:lnTo>
                  <a:lnTo>
                    <a:pt x="1339" y="1201"/>
                  </a:lnTo>
                  <a:lnTo>
                    <a:pt x="1329" y="1202"/>
                  </a:lnTo>
                  <a:lnTo>
                    <a:pt x="1322" y="1205"/>
                  </a:lnTo>
                  <a:lnTo>
                    <a:pt x="1320" y="1210"/>
                  </a:lnTo>
                  <a:lnTo>
                    <a:pt x="1319" y="1221"/>
                  </a:lnTo>
                  <a:lnTo>
                    <a:pt x="1319" y="1226"/>
                  </a:lnTo>
                  <a:lnTo>
                    <a:pt x="1320" y="1232"/>
                  </a:lnTo>
                  <a:lnTo>
                    <a:pt x="1322" y="1236"/>
                  </a:lnTo>
                  <a:lnTo>
                    <a:pt x="1325" y="1246"/>
                  </a:lnTo>
                  <a:lnTo>
                    <a:pt x="1297" y="1250"/>
                  </a:lnTo>
                  <a:lnTo>
                    <a:pt x="1284" y="1249"/>
                  </a:lnTo>
                  <a:lnTo>
                    <a:pt x="1270" y="1241"/>
                  </a:lnTo>
                  <a:lnTo>
                    <a:pt x="1245" y="1241"/>
                  </a:lnTo>
                  <a:lnTo>
                    <a:pt x="1239" y="1244"/>
                  </a:lnTo>
                  <a:lnTo>
                    <a:pt x="1235" y="1249"/>
                  </a:lnTo>
                  <a:lnTo>
                    <a:pt x="1229" y="1260"/>
                  </a:lnTo>
                  <a:lnTo>
                    <a:pt x="1226" y="1262"/>
                  </a:lnTo>
                  <a:lnTo>
                    <a:pt x="1216" y="1259"/>
                  </a:lnTo>
                  <a:lnTo>
                    <a:pt x="1195" y="1209"/>
                  </a:lnTo>
                  <a:lnTo>
                    <a:pt x="1185" y="1199"/>
                  </a:lnTo>
                  <a:lnTo>
                    <a:pt x="1056" y="1140"/>
                  </a:lnTo>
                  <a:lnTo>
                    <a:pt x="1031" y="1110"/>
                  </a:lnTo>
                  <a:lnTo>
                    <a:pt x="1017" y="1120"/>
                  </a:lnTo>
                  <a:lnTo>
                    <a:pt x="980" y="1097"/>
                  </a:lnTo>
                  <a:lnTo>
                    <a:pt x="966" y="1079"/>
                  </a:lnTo>
                  <a:lnTo>
                    <a:pt x="960" y="1066"/>
                  </a:lnTo>
                  <a:lnTo>
                    <a:pt x="957" y="1064"/>
                  </a:lnTo>
                  <a:lnTo>
                    <a:pt x="946" y="1064"/>
                  </a:lnTo>
                  <a:lnTo>
                    <a:pt x="944" y="1060"/>
                  </a:lnTo>
                  <a:lnTo>
                    <a:pt x="941" y="1056"/>
                  </a:lnTo>
                  <a:lnTo>
                    <a:pt x="939" y="1044"/>
                  </a:lnTo>
                  <a:lnTo>
                    <a:pt x="935" y="1039"/>
                  </a:lnTo>
                  <a:lnTo>
                    <a:pt x="931" y="1036"/>
                  </a:lnTo>
                  <a:lnTo>
                    <a:pt x="899" y="1037"/>
                  </a:lnTo>
                  <a:lnTo>
                    <a:pt x="892" y="1042"/>
                  </a:lnTo>
                  <a:lnTo>
                    <a:pt x="891" y="1050"/>
                  </a:lnTo>
                  <a:lnTo>
                    <a:pt x="895" y="1059"/>
                  </a:lnTo>
                  <a:lnTo>
                    <a:pt x="915" y="1094"/>
                  </a:lnTo>
                  <a:lnTo>
                    <a:pt x="922" y="1114"/>
                  </a:lnTo>
                  <a:lnTo>
                    <a:pt x="921" y="1124"/>
                  </a:lnTo>
                  <a:lnTo>
                    <a:pt x="917" y="1130"/>
                  </a:lnTo>
                  <a:lnTo>
                    <a:pt x="914" y="1131"/>
                  </a:lnTo>
                  <a:lnTo>
                    <a:pt x="909" y="1126"/>
                  </a:lnTo>
                  <a:lnTo>
                    <a:pt x="871" y="1062"/>
                  </a:lnTo>
                  <a:lnTo>
                    <a:pt x="866" y="1059"/>
                  </a:lnTo>
                  <a:lnTo>
                    <a:pt x="861" y="1057"/>
                  </a:lnTo>
                  <a:lnTo>
                    <a:pt x="856" y="1062"/>
                  </a:lnTo>
                  <a:lnTo>
                    <a:pt x="855" y="1070"/>
                  </a:lnTo>
                  <a:lnTo>
                    <a:pt x="857" y="1115"/>
                  </a:lnTo>
                  <a:lnTo>
                    <a:pt x="849" y="1122"/>
                  </a:lnTo>
                  <a:lnTo>
                    <a:pt x="866" y="1157"/>
                  </a:lnTo>
                  <a:lnTo>
                    <a:pt x="820" y="1215"/>
                  </a:lnTo>
                  <a:lnTo>
                    <a:pt x="794" y="1182"/>
                  </a:lnTo>
                  <a:lnTo>
                    <a:pt x="789" y="1179"/>
                  </a:lnTo>
                  <a:lnTo>
                    <a:pt x="782" y="1179"/>
                  </a:lnTo>
                  <a:lnTo>
                    <a:pt x="776" y="1186"/>
                  </a:lnTo>
                  <a:lnTo>
                    <a:pt x="765" y="1222"/>
                  </a:lnTo>
                  <a:lnTo>
                    <a:pt x="760" y="1229"/>
                  </a:lnTo>
                  <a:lnTo>
                    <a:pt x="754" y="1231"/>
                  </a:lnTo>
                  <a:lnTo>
                    <a:pt x="747" y="1230"/>
                  </a:lnTo>
                  <a:lnTo>
                    <a:pt x="715" y="1202"/>
                  </a:lnTo>
                  <a:lnTo>
                    <a:pt x="685" y="1237"/>
                  </a:lnTo>
                  <a:lnTo>
                    <a:pt x="680" y="1240"/>
                  </a:lnTo>
                  <a:lnTo>
                    <a:pt x="675" y="1240"/>
                  </a:lnTo>
                  <a:lnTo>
                    <a:pt x="656" y="1230"/>
                  </a:lnTo>
                  <a:lnTo>
                    <a:pt x="652" y="1226"/>
                  </a:lnTo>
                  <a:lnTo>
                    <a:pt x="651" y="1221"/>
                  </a:lnTo>
                  <a:lnTo>
                    <a:pt x="650" y="1214"/>
                  </a:lnTo>
                  <a:lnTo>
                    <a:pt x="602" y="1181"/>
                  </a:lnTo>
                  <a:lnTo>
                    <a:pt x="594" y="1180"/>
                  </a:lnTo>
                  <a:lnTo>
                    <a:pt x="589" y="1184"/>
                  </a:lnTo>
                  <a:lnTo>
                    <a:pt x="582" y="1197"/>
                  </a:lnTo>
                  <a:lnTo>
                    <a:pt x="562" y="1207"/>
                  </a:lnTo>
                  <a:lnTo>
                    <a:pt x="557" y="1209"/>
                  </a:lnTo>
                  <a:lnTo>
                    <a:pt x="531" y="1197"/>
                  </a:lnTo>
                  <a:lnTo>
                    <a:pt x="520" y="1197"/>
                  </a:lnTo>
                  <a:lnTo>
                    <a:pt x="514" y="1200"/>
                  </a:lnTo>
                  <a:lnTo>
                    <a:pt x="509" y="1204"/>
                  </a:lnTo>
                  <a:lnTo>
                    <a:pt x="502" y="1219"/>
                  </a:lnTo>
                  <a:lnTo>
                    <a:pt x="502" y="1224"/>
                  </a:lnTo>
                  <a:lnTo>
                    <a:pt x="504" y="1231"/>
                  </a:lnTo>
                  <a:lnTo>
                    <a:pt x="507" y="1239"/>
                  </a:lnTo>
                  <a:lnTo>
                    <a:pt x="510" y="1245"/>
                  </a:lnTo>
                  <a:lnTo>
                    <a:pt x="507" y="1254"/>
                  </a:lnTo>
                  <a:lnTo>
                    <a:pt x="500" y="1259"/>
                  </a:lnTo>
                  <a:lnTo>
                    <a:pt x="467" y="1257"/>
                  </a:lnTo>
                  <a:lnTo>
                    <a:pt x="451" y="1246"/>
                  </a:lnTo>
                  <a:lnTo>
                    <a:pt x="445" y="1244"/>
                  </a:lnTo>
                  <a:lnTo>
                    <a:pt x="439" y="1244"/>
                  </a:lnTo>
                  <a:lnTo>
                    <a:pt x="432" y="1246"/>
                  </a:lnTo>
                  <a:lnTo>
                    <a:pt x="426" y="1251"/>
                  </a:lnTo>
                  <a:lnTo>
                    <a:pt x="424" y="1256"/>
                  </a:lnTo>
                  <a:lnTo>
                    <a:pt x="419" y="1269"/>
                  </a:lnTo>
                  <a:lnTo>
                    <a:pt x="416" y="1274"/>
                  </a:lnTo>
                  <a:lnTo>
                    <a:pt x="412" y="1277"/>
                  </a:lnTo>
                  <a:lnTo>
                    <a:pt x="400" y="1281"/>
                  </a:lnTo>
                  <a:lnTo>
                    <a:pt x="396" y="1287"/>
                  </a:lnTo>
                  <a:lnTo>
                    <a:pt x="397" y="1296"/>
                  </a:lnTo>
                  <a:lnTo>
                    <a:pt x="401" y="1311"/>
                  </a:lnTo>
                  <a:lnTo>
                    <a:pt x="401" y="1320"/>
                  </a:lnTo>
                  <a:lnTo>
                    <a:pt x="397" y="1327"/>
                  </a:lnTo>
                  <a:lnTo>
                    <a:pt x="392" y="1334"/>
                  </a:lnTo>
                  <a:lnTo>
                    <a:pt x="386" y="1335"/>
                  </a:lnTo>
                  <a:lnTo>
                    <a:pt x="376" y="1331"/>
                  </a:lnTo>
                  <a:lnTo>
                    <a:pt x="359" y="1332"/>
                  </a:lnTo>
                  <a:lnTo>
                    <a:pt x="342" y="1339"/>
                  </a:lnTo>
                  <a:lnTo>
                    <a:pt x="305" y="1337"/>
                  </a:lnTo>
                  <a:lnTo>
                    <a:pt x="286" y="1320"/>
                  </a:lnTo>
                  <a:lnTo>
                    <a:pt x="282" y="1315"/>
                  </a:lnTo>
                  <a:lnTo>
                    <a:pt x="277" y="1310"/>
                  </a:lnTo>
                  <a:lnTo>
                    <a:pt x="274" y="1305"/>
                  </a:lnTo>
                  <a:lnTo>
                    <a:pt x="244" y="1278"/>
                  </a:lnTo>
                  <a:lnTo>
                    <a:pt x="236" y="1270"/>
                  </a:lnTo>
                  <a:lnTo>
                    <a:pt x="232" y="1265"/>
                  </a:lnTo>
                  <a:lnTo>
                    <a:pt x="231" y="1260"/>
                  </a:lnTo>
                  <a:lnTo>
                    <a:pt x="225" y="1250"/>
                  </a:lnTo>
                  <a:lnTo>
                    <a:pt x="197" y="1226"/>
                  </a:lnTo>
                  <a:lnTo>
                    <a:pt x="179" y="1216"/>
                  </a:lnTo>
                  <a:lnTo>
                    <a:pt x="156" y="1198"/>
                  </a:lnTo>
                  <a:lnTo>
                    <a:pt x="142" y="1192"/>
                  </a:lnTo>
                  <a:lnTo>
                    <a:pt x="135" y="1187"/>
                  </a:lnTo>
                  <a:lnTo>
                    <a:pt x="130" y="1182"/>
                  </a:lnTo>
                  <a:lnTo>
                    <a:pt x="126" y="1177"/>
                  </a:lnTo>
                  <a:lnTo>
                    <a:pt x="111" y="1172"/>
                  </a:lnTo>
                  <a:lnTo>
                    <a:pt x="66" y="1187"/>
                  </a:lnTo>
                  <a:lnTo>
                    <a:pt x="61" y="1181"/>
                  </a:lnTo>
                  <a:lnTo>
                    <a:pt x="50" y="1171"/>
                  </a:lnTo>
                  <a:lnTo>
                    <a:pt x="40" y="1167"/>
                  </a:lnTo>
                  <a:lnTo>
                    <a:pt x="34" y="1167"/>
                  </a:lnTo>
                  <a:lnTo>
                    <a:pt x="24" y="1166"/>
                  </a:lnTo>
                  <a:lnTo>
                    <a:pt x="19" y="1165"/>
                  </a:lnTo>
                  <a:lnTo>
                    <a:pt x="15" y="1161"/>
                  </a:lnTo>
                  <a:lnTo>
                    <a:pt x="14" y="1155"/>
                  </a:lnTo>
                  <a:lnTo>
                    <a:pt x="12" y="1127"/>
                  </a:lnTo>
                  <a:lnTo>
                    <a:pt x="7" y="1100"/>
                  </a:lnTo>
                  <a:lnTo>
                    <a:pt x="6" y="1095"/>
                  </a:lnTo>
                  <a:lnTo>
                    <a:pt x="0" y="1081"/>
                  </a:lnTo>
                  <a:lnTo>
                    <a:pt x="0" y="1056"/>
                  </a:lnTo>
                  <a:lnTo>
                    <a:pt x="4" y="1042"/>
                  </a:lnTo>
                  <a:lnTo>
                    <a:pt x="7" y="1037"/>
                  </a:lnTo>
                  <a:lnTo>
                    <a:pt x="10" y="1035"/>
                  </a:lnTo>
                  <a:lnTo>
                    <a:pt x="19" y="1031"/>
                  </a:lnTo>
                  <a:lnTo>
                    <a:pt x="25" y="1020"/>
                  </a:lnTo>
                  <a:lnTo>
                    <a:pt x="27" y="1003"/>
                  </a:lnTo>
                  <a:lnTo>
                    <a:pt x="30" y="985"/>
                  </a:lnTo>
                  <a:lnTo>
                    <a:pt x="31" y="980"/>
                  </a:lnTo>
                  <a:lnTo>
                    <a:pt x="34" y="975"/>
                  </a:lnTo>
                  <a:lnTo>
                    <a:pt x="40" y="971"/>
                  </a:lnTo>
                  <a:lnTo>
                    <a:pt x="57" y="973"/>
                  </a:lnTo>
                  <a:lnTo>
                    <a:pt x="67" y="977"/>
                  </a:lnTo>
                  <a:lnTo>
                    <a:pt x="71" y="980"/>
                  </a:lnTo>
                  <a:lnTo>
                    <a:pt x="74" y="985"/>
                  </a:lnTo>
                  <a:lnTo>
                    <a:pt x="74" y="995"/>
                  </a:lnTo>
                  <a:lnTo>
                    <a:pt x="74" y="1007"/>
                  </a:lnTo>
                  <a:lnTo>
                    <a:pt x="75" y="1011"/>
                  </a:lnTo>
                  <a:lnTo>
                    <a:pt x="79" y="1013"/>
                  </a:lnTo>
                  <a:lnTo>
                    <a:pt x="84" y="1013"/>
                  </a:lnTo>
                  <a:lnTo>
                    <a:pt x="87" y="1012"/>
                  </a:lnTo>
                  <a:lnTo>
                    <a:pt x="97" y="1005"/>
                  </a:lnTo>
                  <a:lnTo>
                    <a:pt x="107" y="1000"/>
                  </a:lnTo>
                  <a:lnTo>
                    <a:pt x="117" y="996"/>
                  </a:lnTo>
                  <a:lnTo>
                    <a:pt x="122" y="995"/>
                  </a:lnTo>
                  <a:lnTo>
                    <a:pt x="126" y="991"/>
                  </a:lnTo>
                  <a:lnTo>
                    <a:pt x="122" y="960"/>
                  </a:lnTo>
                  <a:lnTo>
                    <a:pt x="120" y="953"/>
                  </a:lnTo>
                  <a:lnTo>
                    <a:pt x="117" y="948"/>
                  </a:lnTo>
                  <a:lnTo>
                    <a:pt x="112" y="943"/>
                  </a:lnTo>
                  <a:lnTo>
                    <a:pt x="110" y="935"/>
                  </a:lnTo>
                  <a:lnTo>
                    <a:pt x="107" y="923"/>
                  </a:lnTo>
                  <a:lnTo>
                    <a:pt x="109" y="897"/>
                  </a:lnTo>
                  <a:lnTo>
                    <a:pt x="106" y="876"/>
                  </a:lnTo>
                  <a:lnTo>
                    <a:pt x="102" y="873"/>
                  </a:lnTo>
                  <a:lnTo>
                    <a:pt x="101" y="863"/>
                  </a:lnTo>
                  <a:lnTo>
                    <a:pt x="102" y="858"/>
                  </a:lnTo>
                  <a:lnTo>
                    <a:pt x="106" y="853"/>
                  </a:lnTo>
                  <a:lnTo>
                    <a:pt x="112" y="848"/>
                  </a:lnTo>
                  <a:lnTo>
                    <a:pt x="119" y="848"/>
                  </a:lnTo>
                  <a:lnTo>
                    <a:pt x="124" y="850"/>
                  </a:lnTo>
                  <a:lnTo>
                    <a:pt x="134" y="853"/>
                  </a:lnTo>
                  <a:lnTo>
                    <a:pt x="139" y="852"/>
                  </a:lnTo>
                  <a:lnTo>
                    <a:pt x="141" y="850"/>
                  </a:lnTo>
                  <a:lnTo>
                    <a:pt x="145" y="845"/>
                  </a:lnTo>
                  <a:lnTo>
                    <a:pt x="155" y="832"/>
                  </a:lnTo>
                  <a:lnTo>
                    <a:pt x="165" y="827"/>
                  </a:lnTo>
                  <a:lnTo>
                    <a:pt x="170" y="822"/>
                  </a:lnTo>
                  <a:lnTo>
                    <a:pt x="176" y="816"/>
                  </a:lnTo>
                  <a:lnTo>
                    <a:pt x="182" y="812"/>
                  </a:lnTo>
                  <a:lnTo>
                    <a:pt x="187" y="811"/>
                  </a:lnTo>
                  <a:lnTo>
                    <a:pt x="192" y="811"/>
                  </a:lnTo>
                  <a:lnTo>
                    <a:pt x="197" y="808"/>
                  </a:lnTo>
                  <a:lnTo>
                    <a:pt x="202" y="802"/>
                  </a:lnTo>
                  <a:lnTo>
                    <a:pt x="207" y="790"/>
                  </a:lnTo>
                  <a:lnTo>
                    <a:pt x="211" y="782"/>
                  </a:lnTo>
                  <a:lnTo>
                    <a:pt x="214" y="776"/>
                  </a:lnTo>
                  <a:lnTo>
                    <a:pt x="215" y="766"/>
                  </a:lnTo>
                  <a:lnTo>
                    <a:pt x="209" y="758"/>
                  </a:lnTo>
                  <a:lnTo>
                    <a:pt x="205" y="757"/>
                  </a:lnTo>
                  <a:lnTo>
                    <a:pt x="202" y="752"/>
                  </a:lnTo>
                  <a:lnTo>
                    <a:pt x="201" y="747"/>
                  </a:lnTo>
                  <a:lnTo>
                    <a:pt x="196" y="737"/>
                  </a:lnTo>
                  <a:lnTo>
                    <a:pt x="187" y="723"/>
                  </a:lnTo>
                  <a:lnTo>
                    <a:pt x="184" y="718"/>
                  </a:lnTo>
                  <a:lnTo>
                    <a:pt x="181" y="713"/>
                  </a:lnTo>
                  <a:lnTo>
                    <a:pt x="182" y="706"/>
                  </a:lnTo>
                  <a:lnTo>
                    <a:pt x="189" y="696"/>
                  </a:lnTo>
                  <a:lnTo>
                    <a:pt x="192" y="691"/>
                  </a:lnTo>
                  <a:lnTo>
                    <a:pt x="197" y="680"/>
                  </a:lnTo>
                  <a:lnTo>
                    <a:pt x="197" y="673"/>
                  </a:lnTo>
                  <a:lnTo>
                    <a:pt x="197" y="667"/>
                  </a:lnTo>
                  <a:lnTo>
                    <a:pt x="186" y="651"/>
                  </a:lnTo>
                  <a:lnTo>
                    <a:pt x="179" y="627"/>
                  </a:lnTo>
                  <a:lnTo>
                    <a:pt x="175" y="591"/>
                  </a:lnTo>
                  <a:lnTo>
                    <a:pt x="180" y="573"/>
                  </a:lnTo>
                  <a:lnTo>
                    <a:pt x="182" y="570"/>
                  </a:lnTo>
                  <a:lnTo>
                    <a:pt x="177" y="556"/>
                  </a:lnTo>
                  <a:lnTo>
                    <a:pt x="184" y="556"/>
                  </a:lnTo>
                  <a:lnTo>
                    <a:pt x="194" y="561"/>
                  </a:lnTo>
                  <a:lnTo>
                    <a:pt x="199" y="561"/>
                  </a:lnTo>
                  <a:lnTo>
                    <a:pt x="220" y="562"/>
                  </a:lnTo>
                  <a:lnTo>
                    <a:pt x="229" y="567"/>
                  </a:lnTo>
                  <a:lnTo>
                    <a:pt x="234" y="571"/>
                  </a:lnTo>
                  <a:lnTo>
                    <a:pt x="240" y="580"/>
                  </a:lnTo>
                  <a:lnTo>
                    <a:pt x="249" y="586"/>
                  </a:lnTo>
                  <a:lnTo>
                    <a:pt x="260" y="591"/>
                  </a:lnTo>
                  <a:lnTo>
                    <a:pt x="265" y="592"/>
                  </a:lnTo>
                  <a:lnTo>
                    <a:pt x="270" y="591"/>
                  </a:lnTo>
                  <a:lnTo>
                    <a:pt x="281" y="586"/>
                  </a:lnTo>
                  <a:lnTo>
                    <a:pt x="286" y="585"/>
                  </a:lnTo>
                  <a:lnTo>
                    <a:pt x="296" y="588"/>
                  </a:lnTo>
                  <a:lnTo>
                    <a:pt x="305" y="593"/>
                  </a:lnTo>
                  <a:lnTo>
                    <a:pt x="314" y="600"/>
                  </a:lnTo>
                  <a:lnTo>
                    <a:pt x="320" y="608"/>
                  </a:lnTo>
                  <a:lnTo>
                    <a:pt x="324" y="612"/>
                  </a:lnTo>
                  <a:lnTo>
                    <a:pt x="332" y="618"/>
                  </a:lnTo>
                  <a:lnTo>
                    <a:pt x="342" y="623"/>
                  </a:lnTo>
                  <a:lnTo>
                    <a:pt x="352" y="623"/>
                  </a:lnTo>
                  <a:lnTo>
                    <a:pt x="362" y="621"/>
                  </a:lnTo>
                  <a:lnTo>
                    <a:pt x="371" y="617"/>
                  </a:lnTo>
                  <a:lnTo>
                    <a:pt x="379" y="615"/>
                  </a:lnTo>
                  <a:lnTo>
                    <a:pt x="382" y="615"/>
                  </a:lnTo>
                  <a:lnTo>
                    <a:pt x="399" y="620"/>
                  </a:lnTo>
                  <a:lnTo>
                    <a:pt x="403" y="621"/>
                  </a:lnTo>
                  <a:lnTo>
                    <a:pt x="413" y="623"/>
                  </a:lnTo>
                  <a:lnTo>
                    <a:pt x="417" y="625"/>
                  </a:lnTo>
                  <a:lnTo>
                    <a:pt x="423" y="620"/>
                  </a:lnTo>
                  <a:lnTo>
                    <a:pt x="426" y="612"/>
                  </a:lnTo>
                  <a:lnTo>
                    <a:pt x="431" y="607"/>
                  </a:lnTo>
                  <a:lnTo>
                    <a:pt x="437" y="598"/>
                  </a:lnTo>
                  <a:lnTo>
                    <a:pt x="438" y="592"/>
                  </a:lnTo>
                  <a:lnTo>
                    <a:pt x="442" y="586"/>
                  </a:lnTo>
                  <a:lnTo>
                    <a:pt x="450" y="568"/>
                  </a:lnTo>
                  <a:lnTo>
                    <a:pt x="460" y="552"/>
                  </a:lnTo>
                  <a:lnTo>
                    <a:pt x="471" y="536"/>
                  </a:lnTo>
                  <a:lnTo>
                    <a:pt x="475" y="530"/>
                  </a:lnTo>
                  <a:lnTo>
                    <a:pt x="477" y="516"/>
                  </a:lnTo>
                  <a:lnTo>
                    <a:pt x="475" y="510"/>
                  </a:lnTo>
                  <a:lnTo>
                    <a:pt x="471" y="507"/>
                  </a:lnTo>
                  <a:lnTo>
                    <a:pt x="465" y="506"/>
                  </a:lnTo>
                  <a:lnTo>
                    <a:pt x="460" y="505"/>
                  </a:lnTo>
                  <a:lnTo>
                    <a:pt x="456" y="502"/>
                  </a:lnTo>
                  <a:lnTo>
                    <a:pt x="450" y="493"/>
                  </a:lnTo>
                  <a:lnTo>
                    <a:pt x="448" y="488"/>
                  </a:lnTo>
                  <a:lnTo>
                    <a:pt x="443" y="478"/>
                  </a:lnTo>
                  <a:lnTo>
                    <a:pt x="435" y="471"/>
                  </a:lnTo>
                  <a:lnTo>
                    <a:pt x="432" y="467"/>
                  </a:lnTo>
                  <a:lnTo>
                    <a:pt x="431" y="461"/>
                  </a:lnTo>
                  <a:lnTo>
                    <a:pt x="432" y="451"/>
                  </a:lnTo>
                  <a:lnTo>
                    <a:pt x="431" y="445"/>
                  </a:lnTo>
                  <a:lnTo>
                    <a:pt x="431" y="430"/>
                  </a:lnTo>
                  <a:lnTo>
                    <a:pt x="430" y="423"/>
                  </a:lnTo>
                  <a:lnTo>
                    <a:pt x="428" y="418"/>
                  </a:lnTo>
                  <a:lnTo>
                    <a:pt x="422" y="410"/>
                  </a:lnTo>
                  <a:lnTo>
                    <a:pt x="420" y="403"/>
                  </a:lnTo>
                  <a:lnTo>
                    <a:pt x="418" y="398"/>
                  </a:lnTo>
                  <a:lnTo>
                    <a:pt x="418" y="392"/>
                  </a:lnTo>
                  <a:lnTo>
                    <a:pt x="421" y="385"/>
                  </a:lnTo>
                  <a:lnTo>
                    <a:pt x="426" y="375"/>
                  </a:lnTo>
                  <a:lnTo>
                    <a:pt x="427" y="367"/>
                  </a:lnTo>
                  <a:lnTo>
                    <a:pt x="431" y="355"/>
                  </a:lnTo>
                  <a:lnTo>
                    <a:pt x="431" y="350"/>
                  </a:lnTo>
                  <a:lnTo>
                    <a:pt x="433" y="342"/>
                  </a:lnTo>
                  <a:lnTo>
                    <a:pt x="437" y="332"/>
                  </a:lnTo>
                  <a:lnTo>
                    <a:pt x="448" y="315"/>
                  </a:lnTo>
                  <a:lnTo>
                    <a:pt x="465" y="295"/>
                  </a:lnTo>
                  <a:lnTo>
                    <a:pt x="466" y="288"/>
                  </a:lnTo>
                  <a:lnTo>
                    <a:pt x="465" y="285"/>
                  </a:lnTo>
                  <a:lnTo>
                    <a:pt x="462" y="280"/>
                  </a:lnTo>
                  <a:lnTo>
                    <a:pt x="458" y="277"/>
                  </a:lnTo>
                  <a:lnTo>
                    <a:pt x="456" y="273"/>
                  </a:lnTo>
                  <a:lnTo>
                    <a:pt x="456" y="267"/>
                  </a:lnTo>
                  <a:lnTo>
                    <a:pt x="457" y="260"/>
                  </a:lnTo>
                  <a:lnTo>
                    <a:pt x="461" y="246"/>
                  </a:lnTo>
                  <a:lnTo>
                    <a:pt x="472" y="226"/>
                  </a:lnTo>
                  <a:lnTo>
                    <a:pt x="487" y="212"/>
                  </a:lnTo>
                  <a:lnTo>
                    <a:pt x="495" y="200"/>
                  </a:lnTo>
                  <a:lnTo>
                    <a:pt x="498" y="191"/>
                  </a:lnTo>
                  <a:lnTo>
                    <a:pt x="498" y="186"/>
                  </a:lnTo>
                  <a:lnTo>
                    <a:pt x="493" y="175"/>
                  </a:lnTo>
                  <a:lnTo>
                    <a:pt x="492" y="170"/>
                  </a:lnTo>
                  <a:lnTo>
                    <a:pt x="496" y="158"/>
                  </a:lnTo>
                  <a:lnTo>
                    <a:pt x="500" y="151"/>
                  </a:lnTo>
                  <a:lnTo>
                    <a:pt x="503" y="146"/>
                  </a:lnTo>
                  <a:lnTo>
                    <a:pt x="507" y="142"/>
                  </a:lnTo>
                  <a:lnTo>
                    <a:pt x="513" y="142"/>
                  </a:lnTo>
                  <a:lnTo>
                    <a:pt x="523" y="145"/>
                  </a:lnTo>
                  <a:lnTo>
                    <a:pt x="528" y="143"/>
                  </a:lnTo>
                  <a:lnTo>
                    <a:pt x="536" y="138"/>
                  </a:lnTo>
                  <a:lnTo>
                    <a:pt x="537" y="132"/>
                  </a:lnTo>
                  <a:lnTo>
                    <a:pt x="541" y="126"/>
                  </a:lnTo>
                  <a:lnTo>
                    <a:pt x="547" y="118"/>
                  </a:lnTo>
                  <a:lnTo>
                    <a:pt x="561" y="110"/>
                  </a:lnTo>
                  <a:lnTo>
                    <a:pt x="565" y="102"/>
                  </a:lnTo>
                  <a:lnTo>
                    <a:pt x="556" y="98"/>
                  </a:lnTo>
                  <a:lnTo>
                    <a:pt x="558" y="96"/>
                  </a:lnTo>
                  <a:lnTo>
                    <a:pt x="563" y="92"/>
                  </a:lnTo>
                  <a:lnTo>
                    <a:pt x="565" y="85"/>
                  </a:lnTo>
                  <a:lnTo>
                    <a:pt x="566" y="80"/>
                  </a:lnTo>
                  <a:lnTo>
                    <a:pt x="570" y="76"/>
                  </a:lnTo>
                  <a:lnTo>
                    <a:pt x="602" y="71"/>
                  </a:lnTo>
                  <a:lnTo>
                    <a:pt x="608" y="72"/>
                  </a:lnTo>
                  <a:lnTo>
                    <a:pt x="620" y="72"/>
                  </a:lnTo>
                  <a:lnTo>
                    <a:pt x="625" y="70"/>
                  </a:lnTo>
                  <a:lnTo>
                    <a:pt x="627" y="65"/>
                  </a:lnTo>
                  <a:lnTo>
                    <a:pt x="631" y="55"/>
                  </a:lnTo>
                  <a:lnTo>
                    <a:pt x="631" y="45"/>
                  </a:lnTo>
                  <a:lnTo>
                    <a:pt x="632" y="38"/>
                  </a:lnTo>
                  <a:lnTo>
                    <a:pt x="636" y="35"/>
                  </a:lnTo>
                  <a:lnTo>
                    <a:pt x="662" y="27"/>
                  </a:lnTo>
                  <a:lnTo>
                    <a:pt x="670" y="23"/>
                  </a:lnTo>
                  <a:lnTo>
                    <a:pt x="677" y="18"/>
                  </a:lnTo>
                  <a:lnTo>
                    <a:pt x="691" y="5"/>
                  </a:lnTo>
                  <a:lnTo>
                    <a:pt x="703" y="0"/>
                  </a:lnTo>
                  <a:lnTo>
                    <a:pt x="698" y="20"/>
                  </a:lnTo>
                  <a:lnTo>
                    <a:pt x="700" y="26"/>
                  </a:lnTo>
                  <a:lnTo>
                    <a:pt x="715" y="40"/>
                  </a:lnTo>
                  <a:lnTo>
                    <a:pt x="716" y="47"/>
                  </a:lnTo>
                  <a:lnTo>
                    <a:pt x="713" y="55"/>
                  </a:lnTo>
                  <a:lnTo>
                    <a:pt x="708" y="58"/>
                  </a:lnTo>
                  <a:lnTo>
                    <a:pt x="696" y="62"/>
                  </a:lnTo>
                  <a:lnTo>
                    <a:pt x="693" y="65"/>
                  </a:lnTo>
                  <a:lnTo>
                    <a:pt x="692" y="72"/>
                  </a:lnTo>
                  <a:lnTo>
                    <a:pt x="702" y="97"/>
                  </a:lnTo>
                  <a:lnTo>
                    <a:pt x="707" y="186"/>
                  </a:lnTo>
                  <a:lnTo>
                    <a:pt x="711" y="203"/>
                  </a:lnTo>
                  <a:lnTo>
                    <a:pt x="711" y="213"/>
                  </a:lnTo>
                  <a:lnTo>
                    <a:pt x="705" y="227"/>
                  </a:lnTo>
                  <a:lnTo>
                    <a:pt x="706" y="232"/>
                  </a:lnTo>
                  <a:lnTo>
                    <a:pt x="737" y="252"/>
                  </a:lnTo>
                  <a:lnTo>
                    <a:pt x="741" y="266"/>
                  </a:lnTo>
                  <a:lnTo>
                    <a:pt x="741" y="272"/>
                  </a:lnTo>
                  <a:lnTo>
                    <a:pt x="740" y="281"/>
                  </a:lnTo>
                  <a:lnTo>
                    <a:pt x="693" y="353"/>
                  </a:lnTo>
                  <a:lnTo>
                    <a:pt x="692" y="361"/>
                  </a:lnTo>
                  <a:lnTo>
                    <a:pt x="696" y="367"/>
                  </a:lnTo>
                  <a:lnTo>
                    <a:pt x="702" y="370"/>
                  </a:lnTo>
                  <a:lnTo>
                    <a:pt x="710" y="370"/>
                  </a:lnTo>
                  <a:lnTo>
                    <a:pt x="713" y="366"/>
                  </a:lnTo>
                  <a:lnTo>
                    <a:pt x="717" y="352"/>
                  </a:lnTo>
                  <a:lnTo>
                    <a:pt x="721" y="348"/>
                  </a:lnTo>
                  <a:lnTo>
                    <a:pt x="727" y="346"/>
                  </a:lnTo>
                  <a:lnTo>
                    <a:pt x="732" y="345"/>
                  </a:lnTo>
                  <a:lnTo>
                    <a:pt x="737" y="346"/>
                  </a:lnTo>
                  <a:lnTo>
                    <a:pt x="745" y="351"/>
                  </a:lnTo>
                  <a:lnTo>
                    <a:pt x="748" y="352"/>
                  </a:lnTo>
                  <a:lnTo>
                    <a:pt x="753" y="351"/>
                  </a:lnTo>
                  <a:lnTo>
                    <a:pt x="758" y="345"/>
                  </a:lnTo>
                  <a:lnTo>
                    <a:pt x="776" y="298"/>
                  </a:lnTo>
                  <a:lnTo>
                    <a:pt x="776" y="292"/>
                  </a:lnTo>
                  <a:lnTo>
                    <a:pt x="771" y="271"/>
                  </a:lnTo>
                  <a:lnTo>
                    <a:pt x="771" y="266"/>
                  </a:lnTo>
                  <a:lnTo>
                    <a:pt x="772" y="263"/>
                  </a:lnTo>
                  <a:lnTo>
                    <a:pt x="786" y="263"/>
                  </a:lnTo>
                  <a:lnTo>
                    <a:pt x="791" y="268"/>
                  </a:lnTo>
                  <a:lnTo>
                    <a:pt x="793" y="276"/>
                  </a:lnTo>
                  <a:lnTo>
                    <a:pt x="793" y="302"/>
                  </a:lnTo>
                  <a:lnTo>
                    <a:pt x="798" y="326"/>
                  </a:lnTo>
                  <a:lnTo>
                    <a:pt x="798" y="333"/>
                  </a:lnTo>
                  <a:lnTo>
                    <a:pt x="797" y="340"/>
                  </a:lnTo>
                  <a:lnTo>
                    <a:pt x="788" y="352"/>
                  </a:lnTo>
                  <a:lnTo>
                    <a:pt x="785" y="363"/>
                  </a:lnTo>
                  <a:lnTo>
                    <a:pt x="791" y="481"/>
                  </a:lnTo>
                  <a:lnTo>
                    <a:pt x="790" y="492"/>
                  </a:lnTo>
                  <a:lnTo>
                    <a:pt x="785" y="503"/>
                  </a:lnTo>
                  <a:lnTo>
                    <a:pt x="778" y="511"/>
                  </a:lnTo>
                  <a:lnTo>
                    <a:pt x="771" y="515"/>
                  </a:lnTo>
                  <a:lnTo>
                    <a:pt x="767" y="513"/>
                  </a:lnTo>
                  <a:lnTo>
                    <a:pt x="758" y="500"/>
                  </a:lnTo>
                  <a:lnTo>
                    <a:pt x="755" y="497"/>
                  </a:lnTo>
                  <a:lnTo>
                    <a:pt x="750" y="496"/>
                  </a:lnTo>
                  <a:lnTo>
                    <a:pt x="746" y="495"/>
                  </a:lnTo>
                  <a:lnTo>
                    <a:pt x="741" y="496"/>
                  </a:lnTo>
                  <a:lnTo>
                    <a:pt x="735" y="502"/>
                  </a:lnTo>
                  <a:lnTo>
                    <a:pt x="730" y="512"/>
                  </a:lnTo>
                  <a:lnTo>
                    <a:pt x="725" y="537"/>
                  </a:lnTo>
                  <a:lnTo>
                    <a:pt x="725" y="548"/>
                  </a:lnTo>
                  <a:lnTo>
                    <a:pt x="731" y="560"/>
                  </a:lnTo>
                  <a:lnTo>
                    <a:pt x="773" y="588"/>
                  </a:lnTo>
                  <a:lnTo>
                    <a:pt x="833" y="590"/>
                  </a:lnTo>
                  <a:lnTo>
                    <a:pt x="842" y="597"/>
                  </a:lnTo>
                  <a:lnTo>
                    <a:pt x="867" y="640"/>
                  </a:lnTo>
                  <a:lnTo>
                    <a:pt x="897" y="656"/>
                  </a:lnTo>
                  <a:lnTo>
                    <a:pt x="906" y="665"/>
                  </a:lnTo>
                  <a:lnTo>
                    <a:pt x="913" y="676"/>
                  </a:lnTo>
                  <a:lnTo>
                    <a:pt x="926" y="740"/>
                  </a:lnTo>
                  <a:lnTo>
                    <a:pt x="928" y="747"/>
                  </a:lnTo>
                  <a:lnTo>
                    <a:pt x="933" y="753"/>
                  </a:lnTo>
                  <a:lnTo>
                    <a:pt x="993" y="792"/>
                  </a:lnTo>
                  <a:lnTo>
                    <a:pt x="997" y="796"/>
                  </a:lnTo>
                  <a:lnTo>
                    <a:pt x="1010" y="827"/>
                  </a:lnTo>
                  <a:lnTo>
                    <a:pt x="1013" y="831"/>
                  </a:lnTo>
                  <a:lnTo>
                    <a:pt x="1030" y="837"/>
                  </a:lnTo>
                  <a:lnTo>
                    <a:pt x="1061" y="871"/>
                  </a:lnTo>
                  <a:lnTo>
                    <a:pt x="1068" y="872"/>
                  </a:lnTo>
                  <a:lnTo>
                    <a:pt x="1072" y="872"/>
                  </a:lnTo>
                  <a:lnTo>
                    <a:pt x="1088" y="858"/>
                  </a:lnTo>
                  <a:lnTo>
                    <a:pt x="1095" y="858"/>
                  </a:lnTo>
                  <a:lnTo>
                    <a:pt x="1101" y="861"/>
                  </a:lnTo>
                  <a:lnTo>
                    <a:pt x="1107" y="868"/>
                  </a:lnTo>
                  <a:lnTo>
                    <a:pt x="1112" y="877"/>
                  </a:lnTo>
                  <a:lnTo>
                    <a:pt x="1120" y="907"/>
                  </a:lnTo>
                  <a:lnTo>
                    <a:pt x="1140" y="931"/>
                  </a:lnTo>
                  <a:lnTo>
                    <a:pt x="1147" y="947"/>
                  </a:lnTo>
                  <a:lnTo>
                    <a:pt x="1166" y="1022"/>
                  </a:lnTo>
                  <a:lnTo>
                    <a:pt x="1186" y="1016"/>
                  </a:lnTo>
                  <a:lnTo>
                    <a:pt x="1196" y="1015"/>
                  </a:lnTo>
                  <a:lnTo>
                    <a:pt x="1205" y="1021"/>
                  </a:lnTo>
                  <a:lnTo>
                    <a:pt x="1211" y="1030"/>
                  </a:lnTo>
                  <a:lnTo>
                    <a:pt x="1215" y="1032"/>
                  </a:lnTo>
                  <a:lnTo>
                    <a:pt x="1263" y="1038"/>
                  </a:lnTo>
                  <a:lnTo>
                    <a:pt x="1276" y="1012"/>
                  </a:lnTo>
                  <a:lnTo>
                    <a:pt x="1295" y="998"/>
                  </a:lnTo>
                  <a:lnTo>
                    <a:pt x="1306" y="1007"/>
                  </a:lnTo>
                  <a:lnTo>
                    <a:pt x="1326" y="1000"/>
                  </a:lnTo>
                  <a:lnTo>
                    <a:pt x="1337" y="982"/>
                  </a:lnTo>
                  <a:lnTo>
                    <a:pt x="1392" y="999"/>
                  </a:lnTo>
                  <a:close/>
                  <a:moveTo>
                    <a:pt x="552" y="255"/>
                  </a:moveTo>
                  <a:lnTo>
                    <a:pt x="559" y="249"/>
                  </a:lnTo>
                  <a:lnTo>
                    <a:pt x="562" y="237"/>
                  </a:lnTo>
                  <a:lnTo>
                    <a:pt x="562" y="230"/>
                  </a:lnTo>
                  <a:lnTo>
                    <a:pt x="559" y="227"/>
                  </a:lnTo>
                  <a:lnTo>
                    <a:pt x="554" y="230"/>
                  </a:lnTo>
                  <a:lnTo>
                    <a:pt x="547" y="234"/>
                  </a:lnTo>
                  <a:lnTo>
                    <a:pt x="542" y="239"/>
                  </a:lnTo>
                  <a:lnTo>
                    <a:pt x="541" y="249"/>
                  </a:lnTo>
                  <a:lnTo>
                    <a:pt x="545" y="255"/>
                  </a:lnTo>
                  <a:lnTo>
                    <a:pt x="552" y="255"/>
                  </a:lnTo>
                  <a:close/>
                  <a:moveTo>
                    <a:pt x="612" y="230"/>
                  </a:moveTo>
                  <a:lnTo>
                    <a:pt x="612" y="224"/>
                  </a:lnTo>
                  <a:lnTo>
                    <a:pt x="602" y="214"/>
                  </a:lnTo>
                  <a:lnTo>
                    <a:pt x="597" y="210"/>
                  </a:lnTo>
                  <a:lnTo>
                    <a:pt x="597" y="201"/>
                  </a:lnTo>
                  <a:lnTo>
                    <a:pt x="595" y="196"/>
                  </a:lnTo>
                  <a:lnTo>
                    <a:pt x="587" y="196"/>
                  </a:lnTo>
                  <a:lnTo>
                    <a:pt x="581" y="202"/>
                  </a:lnTo>
                  <a:lnTo>
                    <a:pt x="576" y="215"/>
                  </a:lnTo>
                  <a:lnTo>
                    <a:pt x="576" y="222"/>
                  </a:lnTo>
                  <a:lnTo>
                    <a:pt x="581" y="227"/>
                  </a:lnTo>
                  <a:lnTo>
                    <a:pt x="590" y="230"/>
                  </a:lnTo>
                  <a:lnTo>
                    <a:pt x="602" y="232"/>
                  </a:lnTo>
                  <a:lnTo>
                    <a:pt x="609" y="232"/>
                  </a:lnTo>
                  <a:lnTo>
                    <a:pt x="612" y="230"/>
                  </a:lnTo>
                  <a:close/>
                </a:path>
              </a:pathLst>
            </a:custGeom>
            <a:solidFill>
              <a:srgbClr val="D9D9D9"/>
            </a:solid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67" name="Oval 146">
              <a:extLst>
                <a:ext uri="{FF2B5EF4-FFF2-40B4-BE49-F238E27FC236}">
                  <a16:creationId xmlns:a16="http://schemas.microsoft.com/office/drawing/2014/main" id="{81E33945-8A7F-E3A8-CC16-88D51585DDDD}"/>
                </a:ext>
              </a:extLst>
            </p:cNvPr>
            <p:cNvSpPr/>
            <p:nvPr/>
          </p:nvSpPr>
          <p:spPr>
            <a:xfrm>
              <a:off x="4320943" y="4807528"/>
              <a:ext cx="43578" cy="43497"/>
            </a:xfrm>
            <a:prstGeom prst="ellipse">
              <a:avLst/>
            </a:prstGeom>
            <a:solidFill>
              <a:srgbClr val="273B5E"/>
            </a:solidFill>
            <a:ln w="28575"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68" name="Oval 147">
              <a:extLst>
                <a:ext uri="{FF2B5EF4-FFF2-40B4-BE49-F238E27FC236}">
                  <a16:creationId xmlns:a16="http://schemas.microsoft.com/office/drawing/2014/main" id="{DA6A6213-CCC5-C11A-8608-385C82B215DB}"/>
                </a:ext>
              </a:extLst>
            </p:cNvPr>
            <p:cNvSpPr/>
            <p:nvPr/>
          </p:nvSpPr>
          <p:spPr>
            <a:xfrm>
              <a:off x="4216470" y="4956375"/>
              <a:ext cx="43578" cy="43497"/>
            </a:xfrm>
            <a:prstGeom prst="ellipse">
              <a:avLst/>
            </a:prstGeom>
            <a:solidFill>
              <a:srgbClr val="273B5E"/>
            </a:solidFill>
            <a:ln w="28575"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69" name="TextBox 148">
              <a:extLst>
                <a:ext uri="{FF2B5EF4-FFF2-40B4-BE49-F238E27FC236}">
                  <a16:creationId xmlns:a16="http://schemas.microsoft.com/office/drawing/2014/main" id="{41F31726-75C7-BCBD-C7EC-32B16682A96C}"/>
                </a:ext>
              </a:extLst>
            </p:cNvPr>
            <p:cNvSpPr txBox="1"/>
            <p:nvPr/>
          </p:nvSpPr>
          <p:spPr>
            <a:xfrm>
              <a:off x="4457394" y="4735834"/>
              <a:ext cx="1098497" cy="200135"/>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a:ln>
                    <a:noFill/>
                  </a:ln>
                  <a:solidFill>
                    <a:srgbClr val="273B5E"/>
                  </a:solidFill>
                  <a:effectLst/>
                  <a:uLnTx/>
                  <a:uFillTx/>
                  <a:latin typeface="Arial"/>
                </a:rPr>
                <a:t>Rocamora</a:t>
              </a:r>
            </a:p>
          </p:txBody>
        </p:sp>
        <p:sp>
          <p:nvSpPr>
            <p:cNvPr id="70" name="TextBox 149">
              <a:extLst>
                <a:ext uri="{FF2B5EF4-FFF2-40B4-BE49-F238E27FC236}">
                  <a16:creationId xmlns:a16="http://schemas.microsoft.com/office/drawing/2014/main" id="{A8B034A3-3673-34C8-4BCE-BB89729762C6}"/>
                </a:ext>
              </a:extLst>
            </p:cNvPr>
            <p:cNvSpPr txBox="1"/>
            <p:nvPr/>
          </p:nvSpPr>
          <p:spPr>
            <a:xfrm>
              <a:off x="4244221" y="4921703"/>
              <a:ext cx="963120" cy="181941"/>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a:ln>
                    <a:noFill/>
                  </a:ln>
                  <a:solidFill>
                    <a:srgbClr val="273B5E"/>
                  </a:solidFill>
                  <a:effectLst/>
                  <a:uLnTx/>
                  <a:uFillTx/>
                  <a:latin typeface="Arial"/>
                </a:rPr>
                <a:t>El Palmar</a:t>
              </a:r>
            </a:p>
          </p:txBody>
        </p:sp>
        <p:sp>
          <p:nvSpPr>
            <p:cNvPr id="71" name="Oval 151">
              <a:extLst>
                <a:ext uri="{FF2B5EF4-FFF2-40B4-BE49-F238E27FC236}">
                  <a16:creationId xmlns:a16="http://schemas.microsoft.com/office/drawing/2014/main" id="{361A0AE8-AA72-ED1E-2911-01635939800A}"/>
                </a:ext>
              </a:extLst>
            </p:cNvPr>
            <p:cNvSpPr/>
            <p:nvPr/>
          </p:nvSpPr>
          <p:spPr>
            <a:xfrm flipV="1">
              <a:off x="4067145" y="5107567"/>
              <a:ext cx="43578" cy="44068"/>
            </a:xfrm>
            <a:prstGeom prst="ellipse">
              <a:avLst/>
            </a:prstGeom>
            <a:solidFill>
              <a:srgbClr val="273B5E"/>
            </a:solidFill>
            <a:ln w="28575"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2" name="TextBox 155">
              <a:extLst>
                <a:ext uri="{FF2B5EF4-FFF2-40B4-BE49-F238E27FC236}">
                  <a16:creationId xmlns:a16="http://schemas.microsoft.com/office/drawing/2014/main" id="{97B8A712-4E60-A29B-2CDC-41822579C05A}"/>
                </a:ext>
              </a:extLst>
            </p:cNvPr>
            <p:cNvSpPr txBox="1"/>
            <p:nvPr/>
          </p:nvSpPr>
          <p:spPr>
            <a:xfrm>
              <a:off x="3871535" y="5178115"/>
              <a:ext cx="963120" cy="45719"/>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a:ln>
                    <a:noFill/>
                  </a:ln>
                  <a:solidFill>
                    <a:srgbClr val="273B5E"/>
                  </a:solidFill>
                  <a:effectLst/>
                  <a:uLnTx/>
                  <a:uFillTx/>
                  <a:latin typeface="Arial"/>
                </a:rPr>
                <a:t>Carril</a:t>
              </a:r>
            </a:p>
          </p:txBody>
        </p:sp>
        <p:sp>
          <p:nvSpPr>
            <p:cNvPr id="73" name="Oval 156">
              <a:extLst>
                <a:ext uri="{FF2B5EF4-FFF2-40B4-BE49-F238E27FC236}">
                  <a16:creationId xmlns:a16="http://schemas.microsoft.com/office/drawing/2014/main" id="{1D8C9D53-911F-B58B-34BA-C55B1A1A72EC}"/>
                </a:ext>
              </a:extLst>
            </p:cNvPr>
            <p:cNvSpPr/>
            <p:nvPr/>
          </p:nvSpPr>
          <p:spPr>
            <a:xfrm>
              <a:off x="4125253" y="4488091"/>
              <a:ext cx="43578" cy="43497"/>
            </a:xfrm>
            <a:prstGeom prst="ellipse">
              <a:avLst/>
            </a:prstGeom>
            <a:solidFill>
              <a:srgbClr val="273B5E"/>
            </a:solidFill>
            <a:ln w="28575"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4" name="Oval 157">
              <a:extLst>
                <a:ext uri="{FF2B5EF4-FFF2-40B4-BE49-F238E27FC236}">
                  <a16:creationId xmlns:a16="http://schemas.microsoft.com/office/drawing/2014/main" id="{C5F0E680-6FDF-463B-44D3-15602A8E598F}"/>
                </a:ext>
              </a:extLst>
            </p:cNvPr>
            <p:cNvSpPr/>
            <p:nvPr/>
          </p:nvSpPr>
          <p:spPr>
            <a:xfrm>
              <a:off x="4055340" y="4357185"/>
              <a:ext cx="43578" cy="43497"/>
            </a:xfrm>
            <a:prstGeom prst="ellipse">
              <a:avLst/>
            </a:prstGeom>
            <a:solidFill>
              <a:srgbClr val="273B5E"/>
            </a:solidFill>
            <a:ln w="28575"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5" name="Freeform: Shape 158">
              <a:extLst>
                <a:ext uri="{FF2B5EF4-FFF2-40B4-BE49-F238E27FC236}">
                  <a16:creationId xmlns:a16="http://schemas.microsoft.com/office/drawing/2014/main" id="{6AFBF26A-4738-E0F8-6280-DF778FC05854}"/>
                </a:ext>
              </a:extLst>
            </p:cNvPr>
            <p:cNvSpPr/>
            <p:nvPr/>
          </p:nvSpPr>
          <p:spPr>
            <a:xfrm>
              <a:off x="4078860" y="4384134"/>
              <a:ext cx="75052" cy="141369"/>
            </a:xfrm>
            <a:custGeom>
              <a:avLst/>
              <a:gdLst>
                <a:gd name="connsiteX0" fmla="*/ 149860 w 149860"/>
                <a:gd name="connsiteY0" fmla="*/ 200660 h 200660"/>
                <a:gd name="connsiteX1" fmla="*/ 0 w 149860"/>
                <a:gd name="connsiteY1" fmla="*/ 0 h 200660"/>
              </a:gdLst>
              <a:ahLst/>
              <a:cxnLst>
                <a:cxn ang="0">
                  <a:pos x="connsiteX0" y="connsiteY0"/>
                </a:cxn>
                <a:cxn ang="0">
                  <a:pos x="connsiteX1" y="connsiteY1"/>
                </a:cxn>
              </a:cxnLst>
              <a:rect l="l" t="t" r="r" b="b"/>
              <a:pathLst>
                <a:path w="149860" h="200660">
                  <a:moveTo>
                    <a:pt x="149860" y="200660"/>
                  </a:moveTo>
                  <a:cubicBezTo>
                    <a:pt x="76835" y="114300"/>
                    <a:pt x="3810" y="27940"/>
                    <a:pt x="0" y="0"/>
                  </a:cubicBezTo>
                </a:path>
              </a:pathLst>
            </a:custGeom>
            <a:noFill/>
            <a:ln w="19050"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6" name="TextBox 159">
              <a:extLst>
                <a:ext uri="{FF2B5EF4-FFF2-40B4-BE49-F238E27FC236}">
                  <a16:creationId xmlns:a16="http://schemas.microsoft.com/office/drawing/2014/main" id="{4BF8E0CB-5DE3-EA60-826F-5C109B11A26E}"/>
                </a:ext>
              </a:extLst>
            </p:cNvPr>
            <p:cNvSpPr txBox="1"/>
            <p:nvPr/>
          </p:nvSpPr>
          <p:spPr>
            <a:xfrm>
              <a:off x="3419546" y="3544943"/>
              <a:ext cx="614994"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a:ln>
                    <a:noFill/>
                  </a:ln>
                  <a:solidFill>
                    <a:srgbClr val="037CBA"/>
                  </a:solidFill>
                  <a:effectLst/>
                  <a:uLnTx/>
                  <a:uFillTx/>
                  <a:latin typeface="Arial"/>
                </a:rPr>
                <a:t>Morata</a:t>
              </a:r>
            </a:p>
          </p:txBody>
        </p:sp>
        <p:sp>
          <p:nvSpPr>
            <p:cNvPr id="77" name="TextBox 160">
              <a:extLst>
                <a:ext uri="{FF2B5EF4-FFF2-40B4-BE49-F238E27FC236}">
                  <a16:creationId xmlns:a16="http://schemas.microsoft.com/office/drawing/2014/main" id="{7AE60707-4856-9228-02C6-75F663194DB8}"/>
                </a:ext>
              </a:extLst>
            </p:cNvPr>
            <p:cNvSpPr txBox="1"/>
            <p:nvPr/>
          </p:nvSpPr>
          <p:spPr>
            <a:xfrm>
              <a:off x="4173635" y="4293788"/>
              <a:ext cx="965876"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a:ln>
                    <a:noFill/>
                  </a:ln>
                  <a:solidFill>
                    <a:srgbClr val="273B5E"/>
                  </a:solidFill>
                  <a:effectLst/>
                  <a:uLnTx/>
                  <a:uFillTx/>
                  <a:latin typeface="Arial"/>
                </a:rPr>
                <a:t>Pinilla</a:t>
              </a:r>
            </a:p>
          </p:txBody>
        </p:sp>
        <p:sp>
          <p:nvSpPr>
            <p:cNvPr id="78" name="Freeform: Shape 161">
              <a:extLst>
                <a:ext uri="{FF2B5EF4-FFF2-40B4-BE49-F238E27FC236}">
                  <a16:creationId xmlns:a16="http://schemas.microsoft.com/office/drawing/2014/main" id="{4BE56760-D68D-BC0D-2F12-D3709CA13477}"/>
                </a:ext>
              </a:extLst>
            </p:cNvPr>
            <p:cNvSpPr/>
            <p:nvPr/>
          </p:nvSpPr>
          <p:spPr>
            <a:xfrm>
              <a:off x="4146293" y="4501247"/>
              <a:ext cx="193059" cy="312628"/>
            </a:xfrm>
            <a:custGeom>
              <a:avLst/>
              <a:gdLst>
                <a:gd name="connsiteX0" fmla="*/ 149860 w 149860"/>
                <a:gd name="connsiteY0" fmla="*/ 200660 h 200660"/>
                <a:gd name="connsiteX1" fmla="*/ 0 w 149860"/>
                <a:gd name="connsiteY1" fmla="*/ 0 h 200660"/>
              </a:gdLst>
              <a:ahLst/>
              <a:cxnLst>
                <a:cxn ang="0">
                  <a:pos x="connsiteX0" y="connsiteY0"/>
                </a:cxn>
                <a:cxn ang="0">
                  <a:pos x="connsiteX1" y="connsiteY1"/>
                </a:cxn>
              </a:cxnLst>
              <a:rect l="l" t="t" r="r" b="b"/>
              <a:pathLst>
                <a:path w="149860" h="200660">
                  <a:moveTo>
                    <a:pt x="149860" y="200660"/>
                  </a:moveTo>
                  <a:cubicBezTo>
                    <a:pt x="76835" y="114300"/>
                    <a:pt x="3810" y="27940"/>
                    <a:pt x="0" y="0"/>
                  </a:cubicBezTo>
                </a:path>
              </a:pathLst>
            </a:custGeom>
            <a:noFill/>
            <a:ln w="19050"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9" name="Oval 162">
              <a:extLst>
                <a:ext uri="{FF2B5EF4-FFF2-40B4-BE49-F238E27FC236}">
                  <a16:creationId xmlns:a16="http://schemas.microsoft.com/office/drawing/2014/main" id="{82ED1BF7-A1AB-EBA1-0BC2-5C8024907AD7}"/>
                </a:ext>
              </a:extLst>
            </p:cNvPr>
            <p:cNvSpPr/>
            <p:nvPr/>
          </p:nvSpPr>
          <p:spPr>
            <a:xfrm>
              <a:off x="3209767" y="3513648"/>
              <a:ext cx="43578" cy="43497"/>
            </a:xfrm>
            <a:prstGeom prst="ellipse">
              <a:avLst/>
            </a:prstGeom>
            <a:solidFill>
              <a:srgbClr val="037CBA"/>
            </a:solidFill>
            <a:ln w="285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0" name="Oval 163">
              <a:extLst>
                <a:ext uri="{FF2B5EF4-FFF2-40B4-BE49-F238E27FC236}">
                  <a16:creationId xmlns:a16="http://schemas.microsoft.com/office/drawing/2014/main" id="{CECD884C-F513-3146-7CAB-396F637D1F6D}"/>
                </a:ext>
              </a:extLst>
            </p:cNvPr>
            <p:cNvSpPr/>
            <p:nvPr/>
          </p:nvSpPr>
          <p:spPr>
            <a:xfrm>
              <a:off x="2786661" y="2993101"/>
              <a:ext cx="43578" cy="43497"/>
            </a:xfrm>
            <a:prstGeom prst="ellipse">
              <a:avLst/>
            </a:prstGeom>
            <a:solidFill>
              <a:srgbClr val="037CBA"/>
            </a:solidFill>
            <a:ln w="285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1" name="TextBox 177">
              <a:extLst>
                <a:ext uri="{FF2B5EF4-FFF2-40B4-BE49-F238E27FC236}">
                  <a16:creationId xmlns:a16="http://schemas.microsoft.com/office/drawing/2014/main" id="{4AB1931A-B77B-DA1E-D327-4176F23CA14F}"/>
                </a:ext>
              </a:extLst>
            </p:cNvPr>
            <p:cNvSpPr txBox="1"/>
            <p:nvPr/>
          </p:nvSpPr>
          <p:spPr>
            <a:xfrm>
              <a:off x="2826866" y="3017974"/>
              <a:ext cx="1084747" cy="53915"/>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a:ln>
                    <a:noFill/>
                  </a:ln>
                  <a:solidFill>
                    <a:srgbClr val="037CBA"/>
                  </a:solidFill>
                  <a:effectLst/>
                  <a:uLnTx/>
                  <a:uFillTx/>
                  <a:latin typeface="Arial"/>
                </a:rPr>
                <a:t>Tordesillas</a:t>
              </a:r>
            </a:p>
          </p:txBody>
        </p:sp>
        <p:sp>
          <p:nvSpPr>
            <p:cNvPr id="82" name="TextBox 178">
              <a:extLst>
                <a:ext uri="{FF2B5EF4-FFF2-40B4-BE49-F238E27FC236}">
                  <a16:creationId xmlns:a16="http://schemas.microsoft.com/office/drawing/2014/main" id="{27AE6A94-207C-A34C-6FAB-016904754E08}"/>
                </a:ext>
              </a:extLst>
            </p:cNvPr>
            <p:cNvSpPr txBox="1"/>
            <p:nvPr/>
          </p:nvSpPr>
          <p:spPr>
            <a:xfrm>
              <a:off x="2410992" y="3286905"/>
              <a:ext cx="818083"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err="1">
                  <a:ln>
                    <a:noFill/>
                  </a:ln>
                  <a:solidFill>
                    <a:srgbClr val="037CBA"/>
                  </a:solidFill>
                  <a:effectLst/>
                  <a:uLnTx/>
                  <a:uFillTx/>
                  <a:latin typeface="Arial"/>
                </a:rPr>
                <a:t>Galapagar</a:t>
              </a:r>
              <a:endParaRPr kumimoji="0" lang="en-US" sz="900" b="1" i="0" u="none" strike="noStrike" kern="0" cap="none" spc="0" normalizeH="0" baseline="0" noProof="0" dirty="0">
                <a:ln>
                  <a:noFill/>
                </a:ln>
                <a:solidFill>
                  <a:srgbClr val="037CBA"/>
                </a:solidFill>
                <a:effectLst/>
                <a:uLnTx/>
                <a:uFillTx/>
                <a:latin typeface="Arial"/>
              </a:endParaRPr>
            </a:p>
          </p:txBody>
        </p:sp>
        <p:sp>
          <p:nvSpPr>
            <p:cNvPr id="83" name="Oval 179">
              <a:extLst>
                <a:ext uri="{FF2B5EF4-FFF2-40B4-BE49-F238E27FC236}">
                  <a16:creationId xmlns:a16="http://schemas.microsoft.com/office/drawing/2014/main" id="{83A79702-BEC2-4CC5-8748-0B831570ED48}"/>
                </a:ext>
              </a:extLst>
            </p:cNvPr>
            <p:cNvSpPr/>
            <p:nvPr/>
          </p:nvSpPr>
          <p:spPr>
            <a:xfrm>
              <a:off x="3379546" y="3703570"/>
              <a:ext cx="43578" cy="43497"/>
            </a:xfrm>
            <a:prstGeom prst="ellipse">
              <a:avLst/>
            </a:prstGeom>
            <a:solidFill>
              <a:srgbClr val="037CBA"/>
            </a:solid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4" name="Oval 180">
              <a:extLst>
                <a:ext uri="{FF2B5EF4-FFF2-40B4-BE49-F238E27FC236}">
                  <a16:creationId xmlns:a16="http://schemas.microsoft.com/office/drawing/2014/main" id="{06A83719-7516-B0BD-66F4-571DB259A2D4}"/>
                </a:ext>
              </a:extLst>
            </p:cNvPr>
            <p:cNvSpPr/>
            <p:nvPr/>
          </p:nvSpPr>
          <p:spPr>
            <a:xfrm>
              <a:off x="3207797" y="3681820"/>
              <a:ext cx="43578" cy="43497"/>
            </a:xfrm>
            <a:prstGeom prst="ellipse">
              <a:avLst/>
            </a:prstGeom>
            <a:solidFill>
              <a:srgbClr val="037CBA"/>
            </a:solid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5" name="TextBox 181">
              <a:extLst>
                <a:ext uri="{FF2B5EF4-FFF2-40B4-BE49-F238E27FC236}">
                  <a16:creationId xmlns:a16="http://schemas.microsoft.com/office/drawing/2014/main" id="{B057D4C5-146F-CF3F-CE66-982990323272}"/>
                </a:ext>
              </a:extLst>
            </p:cNvPr>
            <p:cNvSpPr txBox="1"/>
            <p:nvPr/>
          </p:nvSpPr>
          <p:spPr>
            <a:xfrm>
              <a:off x="2338117" y="3617681"/>
              <a:ext cx="875028" cy="203040"/>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err="1">
                  <a:ln>
                    <a:noFill/>
                  </a:ln>
                  <a:solidFill>
                    <a:srgbClr val="037CBA"/>
                  </a:solidFill>
                  <a:effectLst/>
                  <a:uLnTx/>
                  <a:uFillTx/>
                  <a:latin typeface="Arial"/>
                </a:rPr>
                <a:t>Villaviciosa</a:t>
              </a:r>
              <a:endParaRPr kumimoji="0" lang="en-US" sz="900" b="1" i="0" u="none" strike="noStrike" kern="0" cap="none" spc="0" normalizeH="0" baseline="0" noProof="0" dirty="0">
                <a:ln>
                  <a:noFill/>
                </a:ln>
                <a:solidFill>
                  <a:srgbClr val="037CBA"/>
                </a:solidFill>
                <a:effectLst/>
                <a:uLnTx/>
                <a:uFillTx/>
                <a:latin typeface="Arial"/>
              </a:endParaRPr>
            </a:p>
          </p:txBody>
        </p:sp>
        <p:sp>
          <p:nvSpPr>
            <p:cNvPr id="86" name="Freeform: Shape 183">
              <a:extLst>
                <a:ext uri="{FF2B5EF4-FFF2-40B4-BE49-F238E27FC236}">
                  <a16:creationId xmlns:a16="http://schemas.microsoft.com/office/drawing/2014/main" id="{04AD366D-675E-63FF-EABA-1CC1C5FE3136}"/>
                </a:ext>
              </a:extLst>
            </p:cNvPr>
            <p:cNvSpPr/>
            <p:nvPr/>
          </p:nvSpPr>
          <p:spPr>
            <a:xfrm>
              <a:off x="3238762" y="3707496"/>
              <a:ext cx="174314" cy="16916"/>
            </a:xfrm>
            <a:custGeom>
              <a:avLst/>
              <a:gdLst>
                <a:gd name="connsiteX0" fmla="*/ 0 w 182880"/>
                <a:gd name="connsiteY0" fmla="*/ 0 h 17780"/>
                <a:gd name="connsiteX1" fmla="*/ 182880 w 182880"/>
                <a:gd name="connsiteY1" fmla="*/ 17780 h 17780"/>
              </a:gdLst>
              <a:ahLst/>
              <a:cxnLst>
                <a:cxn ang="0">
                  <a:pos x="connsiteX0" y="connsiteY0"/>
                </a:cxn>
                <a:cxn ang="0">
                  <a:pos x="connsiteX1" y="connsiteY1"/>
                </a:cxn>
              </a:cxnLst>
              <a:rect l="l" t="t" r="r" b="b"/>
              <a:pathLst>
                <a:path w="182880" h="17780">
                  <a:moveTo>
                    <a:pt x="0" y="0"/>
                  </a:moveTo>
                  <a:lnTo>
                    <a:pt x="182880" y="17780"/>
                  </a:lnTo>
                </a:path>
              </a:pathLst>
            </a:custGeom>
            <a:no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7" name="Oval 184">
              <a:extLst>
                <a:ext uri="{FF2B5EF4-FFF2-40B4-BE49-F238E27FC236}">
                  <a16:creationId xmlns:a16="http://schemas.microsoft.com/office/drawing/2014/main" id="{FF297302-1185-BF8A-57CC-4D89193AB296}"/>
                </a:ext>
              </a:extLst>
            </p:cNvPr>
            <p:cNvSpPr/>
            <p:nvPr/>
          </p:nvSpPr>
          <p:spPr>
            <a:xfrm>
              <a:off x="3322991" y="3625857"/>
              <a:ext cx="43578" cy="43497"/>
            </a:xfrm>
            <a:prstGeom prst="ellipse">
              <a:avLst/>
            </a:prstGeom>
            <a:solidFill>
              <a:srgbClr val="037CBA"/>
            </a:solid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8" name="TextBox 186">
              <a:extLst>
                <a:ext uri="{FF2B5EF4-FFF2-40B4-BE49-F238E27FC236}">
                  <a16:creationId xmlns:a16="http://schemas.microsoft.com/office/drawing/2014/main" id="{A1CB4345-13F3-3D44-6CB1-5B8A482A6BE9}"/>
                </a:ext>
              </a:extLst>
            </p:cNvPr>
            <p:cNvSpPr txBox="1"/>
            <p:nvPr/>
          </p:nvSpPr>
          <p:spPr>
            <a:xfrm>
              <a:off x="3297463" y="3441610"/>
              <a:ext cx="923359" cy="77035"/>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a:ln>
                    <a:noFill/>
                  </a:ln>
                  <a:solidFill>
                    <a:srgbClr val="037CBA"/>
                  </a:solidFill>
                  <a:effectLst/>
                  <a:uLnTx/>
                  <a:uFillTx/>
                  <a:latin typeface="Arial"/>
                </a:rPr>
                <a:t>Cerro Plata</a:t>
              </a:r>
            </a:p>
          </p:txBody>
        </p:sp>
        <p:sp>
          <p:nvSpPr>
            <p:cNvPr id="89" name="Oval 187">
              <a:extLst>
                <a:ext uri="{FF2B5EF4-FFF2-40B4-BE49-F238E27FC236}">
                  <a16:creationId xmlns:a16="http://schemas.microsoft.com/office/drawing/2014/main" id="{95CE3F4E-8F56-CD5C-15BD-A571E88AA24D}"/>
                </a:ext>
              </a:extLst>
            </p:cNvPr>
            <p:cNvSpPr/>
            <p:nvPr/>
          </p:nvSpPr>
          <p:spPr>
            <a:xfrm>
              <a:off x="3275084" y="3754317"/>
              <a:ext cx="43578" cy="43497"/>
            </a:xfrm>
            <a:prstGeom prst="ellipse">
              <a:avLst/>
            </a:prstGeom>
            <a:solidFill>
              <a:srgbClr val="037CBA"/>
            </a:solid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0" name="TextBox 188">
              <a:extLst>
                <a:ext uri="{FF2B5EF4-FFF2-40B4-BE49-F238E27FC236}">
                  <a16:creationId xmlns:a16="http://schemas.microsoft.com/office/drawing/2014/main" id="{F4177594-D4D4-824A-4E69-1E79AC0B467A}"/>
                </a:ext>
              </a:extLst>
            </p:cNvPr>
            <p:cNvSpPr txBox="1"/>
            <p:nvPr/>
          </p:nvSpPr>
          <p:spPr>
            <a:xfrm>
              <a:off x="2869703" y="3735419"/>
              <a:ext cx="779573" cy="24194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a:ln>
                    <a:noFill/>
                  </a:ln>
                  <a:solidFill>
                    <a:srgbClr val="037CBA"/>
                  </a:solidFill>
                  <a:effectLst/>
                  <a:uLnTx/>
                  <a:uFillTx/>
                  <a:latin typeface="Arial"/>
                </a:rPr>
                <a:t>Villaverde</a:t>
              </a:r>
            </a:p>
          </p:txBody>
        </p:sp>
        <p:sp>
          <p:nvSpPr>
            <p:cNvPr id="91" name="Freeform: Shape 189">
              <a:extLst>
                <a:ext uri="{FF2B5EF4-FFF2-40B4-BE49-F238E27FC236}">
                  <a16:creationId xmlns:a16="http://schemas.microsoft.com/office/drawing/2014/main" id="{43B9FBFE-2D2A-E3ED-368F-5BC500AFADED}"/>
                </a:ext>
              </a:extLst>
            </p:cNvPr>
            <p:cNvSpPr/>
            <p:nvPr/>
          </p:nvSpPr>
          <p:spPr>
            <a:xfrm>
              <a:off x="3292025" y="3669354"/>
              <a:ext cx="43578" cy="108222"/>
            </a:xfrm>
            <a:custGeom>
              <a:avLst/>
              <a:gdLst>
                <a:gd name="connsiteX0" fmla="*/ 10160 w 10160"/>
                <a:gd name="connsiteY0" fmla="*/ 0 h 137160"/>
                <a:gd name="connsiteX1" fmla="*/ 0 w 10160"/>
                <a:gd name="connsiteY1" fmla="*/ 137160 h 137160"/>
              </a:gdLst>
              <a:ahLst/>
              <a:cxnLst>
                <a:cxn ang="0">
                  <a:pos x="connsiteX0" y="connsiteY0"/>
                </a:cxn>
                <a:cxn ang="0">
                  <a:pos x="connsiteX1" y="connsiteY1"/>
                </a:cxn>
              </a:cxnLst>
              <a:rect l="l" t="t" r="r" b="b"/>
              <a:pathLst>
                <a:path w="10160" h="137160">
                  <a:moveTo>
                    <a:pt x="10160" y="0"/>
                  </a:moveTo>
                  <a:lnTo>
                    <a:pt x="0" y="137160"/>
                  </a:lnTo>
                </a:path>
              </a:pathLst>
            </a:custGeom>
            <a:no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2" name="Oval 190">
              <a:extLst>
                <a:ext uri="{FF2B5EF4-FFF2-40B4-BE49-F238E27FC236}">
                  <a16:creationId xmlns:a16="http://schemas.microsoft.com/office/drawing/2014/main" id="{751609A0-0B59-18D5-CF16-5587068953BB}"/>
                </a:ext>
              </a:extLst>
            </p:cNvPr>
            <p:cNvSpPr/>
            <p:nvPr/>
          </p:nvSpPr>
          <p:spPr>
            <a:xfrm>
              <a:off x="2493751" y="2387376"/>
              <a:ext cx="43578" cy="43497"/>
            </a:xfrm>
            <a:prstGeom prst="ellipse">
              <a:avLst/>
            </a:prstGeom>
            <a:solidFill>
              <a:srgbClr val="037CBA"/>
            </a:solidFill>
            <a:ln w="285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3" name="TextBox 191">
              <a:extLst>
                <a:ext uri="{FF2B5EF4-FFF2-40B4-BE49-F238E27FC236}">
                  <a16:creationId xmlns:a16="http://schemas.microsoft.com/office/drawing/2014/main" id="{546C582C-D0A2-64D0-096A-05D2A6DC3B79}"/>
                </a:ext>
              </a:extLst>
            </p:cNvPr>
            <p:cNvSpPr txBox="1"/>
            <p:nvPr/>
          </p:nvSpPr>
          <p:spPr>
            <a:xfrm>
              <a:off x="2172937" y="2088224"/>
              <a:ext cx="1084747" cy="251006"/>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a:ln>
                    <a:noFill/>
                  </a:ln>
                  <a:solidFill>
                    <a:srgbClr val="037CBA"/>
                  </a:solidFill>
                  <a:effectLst/>
                  <a:uLnTx/>
                  <a:uFillTx/>
                  <a:latin typeface="Arial"/>
                </a:rPr>
                <a:t>La </a:t>
              </a:r>
              <a:r>
                <a:rPr kumimoji="0" lang="en-US" sz="900" b="1" i="0" u="none" strike="noStrike" kern="0" cap="none" spc="0" normalizeH="0" baseline="0" noProof="0" dirty="0" err="1">
                  <a:ln>
                    <a:noFill/>
                  </a:ln>
                  <a:solidFill>
                    <a:srgbClr val="037CBA"/>
                  </a:solidFill>
                  <a:effectLst/>
                  <a:uLnTx/>
                  <a:uFillTx/>
                  <a:latin typeface="Arial"/>
                </a:rPr>
                <a:t>Robla</a:t>
              </a:r>
              <a:endParaRPr kumimoji="0" lang="en-US" sz="900" b="1" i="0" u="none" strike="noStrike" kern="0" cap="none" spc="0" normalizeH="0" baseline="0" noProof="0" dirty="0">
                <a:ln>
                  <a:noFill/>
                </a:ln>
                <a:solidFill>
                  <a:srgbClr val="037CBA"/>
                </a:solidFill>
                <a:effectLst/>
                <a:uLnTx/>
                <a:uFillTx/>
                <a:latin typeface="Arial"/>
              </a:endParaRPr>
            </a:p>
          </p:txBody>
        </p:sp>
        <p:sp>
          <p:nvSpPr>
            <p:cNvPr id="94" name="Oval 192">
              <a:extLst>
                <a:ext uri="{FF2B5EF4-FFF2-40B4-BE49-F238E27FC236}">
                  <a16:creationId xmlns:a16="http://schemas.microsoft.com/office/drawing/2014/main" id="{CE257879-A314-9126-25C3-617AF639256F}"/>
                </a:ext>
              </a:extLst>
            </p:cNvPr>
            <p:cNvSpPr/>
            <p:nvPr/>
          </p:nvSpPr>
          <p:spPr>
            <a:xfrm>
              <a:off x="2840297" y="2955717"/>
              <a:ext cx="43578" cy="43497"/>
            </a:xfrm>
            <a:prstGeom prst="ellipse">
              <a:avLst/>
            </a:prstGeom>
            <a:solidFill>
              <a:srgbClr val="037CBA"/>
            </a:solidFill>
            <a:ln w="285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5" name="TextBox 194">
              <a:extLst>
                <a:ext uri="{FF2B5EF4-FFF2-40B4-BE49-F238E27FC236}">
                  <a16:creationId xmlns:a16="http://schemas.microsoft.com/office/drawing/2014/main" id="{FA4005D5-67FC-7F7A-6632-F8BD5E459E6F}"/>
                </a:ext>
              </a:extLst>
            </p:cNvPr>
            <p:cNvSpPr txBox="1"/>
            <p:nvPr/>
          </p:nvSpPr>
          <p:spPr>
            <a:xfrm>
              <a:off x="2898137" y="2851668"/>
              <a:ext cx="1084747" cy="4349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err="1">
                  <a:ln>
                    <a:noFill/>
                  </a:ln>
                  <a:solidFill>
                    <a:srgbClr val="037CBA"/>
                  </a:solidFill>
                  <a:effectLst/>
                  <a:uLnTx/>
                  <a:uFillTx/>
                  <a:latin typeface="Arial"/>
                </a:rPr>
                <a:t>Mudarra</a:t>
              </a:r>
              <a:r>
                <a:rPr kumimoji="0" lang="en-US" sz="900" b="1" i="0" u="none" strike="noStrike" kern="0" cap="none" spc="0" normalizeH="0" baseline="0" noProof="0" dirty="0">
                  <a:ln>
                    <a:noFill/>
                  </a:ln>
                  <a:solidFill>
                    <a:srgbClr val="037CBA"/>
                  </a:solidFill>
                  <a:effectLst/>
                  <a:uLnTx/>
                  <a:uFillTx/>
                  <a:latin typeface="Arial"/>
                </a:rPr>
                <a:t> 1</a:t>
              </a:r>
            </a:p>
          </p:txBody>
        </p:sp>
        <p:sp>
          <p:nvSpPr>
            <p:cNvPr id="96" name="Freeform: Shape 195">
              <a:extLst>
                <a:ext uri="{FF2B5EF4-FFF2-40B4-BE49-F238E27FC236}">
                  <a16:creationId xmlns:a16="http://schemas.microsoft.com/office/drawing/2014/main" id="{D6FA90F1-5130-40FE-DBA9-5EFC4FB33963}"/>
                </a:ext>
              </a:extLst>
            </p:cNvPr>
            <p:cNvSpPr/>
            <p:nvPr/>
          </p:nvSpPr>
          <p:spPr>
            <a:xfrm>
              <a:off x="2517294" y="2404968"/>
              <a:ext cx="351050" cy="565476"/>
            </a:xfrm>
            <a:custGeom>
              <a:avLst/>
              <a:gdLst>
                <a:gd name="connsiteX0" fmla="*/ 368300 w 368300"/>
                <a:gd name="connsiteY0" fmla="*/ 594360 h 594360"/>
                <a:gd name="connsiteX1" fmla="*/ 0 w 368300"/>
                <a:gd name="connsiteY1" fmla="*/ 0 h 594360"/>
              </a:gdLst>
              <a:ahLst/>
              <a:cxnLst>
                <a:cxn ang="0">
                  <a:pos x="connsiteX0" y="connsiteY0"/>
                </a:cxn>
                <a:cxn ang="0">
                  <a:pos x="connsiteX1" y="connsiteY1"/>
                </a:cxn>
              </a:cxnLst>
              <a:rect l="l" t="t" r="r" b="b"/>
              <a:pathLst>
                <a:path w="368300" h="594360">
                  <a:moveTo>
                    <a:pt x="368300" y="594360"/>
                  </a:moveTo>
                  <a:lnTo>
                    <a:pt x="0" y="0"/>
                  </a:lnTo>
                </a:path>
              </a:pathLst>
            </a:custGeom>
            <a:no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7" name="Freeform: Shape 196">
              <a:extLst>
                <a:ext uri="{FF2B5EF4-FFF2-40B4-BE49-F238E27FC236}">
                  <a16:creationId xmlns:a16="http://schemas.microsoft.com/office/drawing/2014/main" id="{C9BE06EA-F59D-7308-EB43-F9B8CD6237B5}"/>
                </a:ext>
              </a:extLst>
            </p:cNvPr>
            <p:cNvSpPr/>
            <p:nvPr/>
          </p:nvSpPr>
          <p:spPr>
            <a:xfrm>
              <a:off x="2807587" y="3005703"/>
              <a:ext cx="431175" cy="532831"/>
            </a:xfrm>
            <a:custGeom>
              <a:avLst/>
              <a:gdLst>
                <a:gd name="connsiteX0" fmla="*/ 368300 w 368300"/>
                <a:gd name="connsiteY0" fmla="*/ 594360 h 594360"/>
                <a:gd name="connsiteX1" fmla="*/ 0 w 368300"/>
                <a:gd name="connsiteY1" fmla="*/ 0 h 594360"/>
              </a:gdLst>
              <a:ahLst/>
              <a:cxnLst>
                <a:cxn ang="0">
                  <a:pos x="connsiteX0" y="connsiteY0"/>
                </a:cxn>
                <a:cxn ang="0">
                  <a:pos x="connsiteX1" y="connsiteY1"/>
                </a:cxn>
              </a:cxnLst>
              <a:rect l="l" t="t" r="r" b="b"/>
              <a:pathLst>
                <a:path w="368300" h="594360">
                  <a:moveTo>
                    <a:pt x="368300" y="594360"/>
                  </a:moveTo>
                  <a:lnTo>
                    <a:pt x="0" y="0"/>
                  </a:lnTo>
                </a:path>
              </a:pathLst>
            </a:custGeom>
            <a:no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8" name="Oval 197">
              <a:extLst>
                <a:ext uri="{FF2B5EF4-FFF2-40B4-BE49-F238E27FC236}">
                  <a16:creationId xmlns:a16="http://schemas.microsoft.com/office/drawing/2014/main" id="{3C892CA0-0413-6E33-9CB1-8802F21CAA8A}"/>
                </a:ext>
              </a:extLst>
            </p:cNvPr>
            <p:cNvSpPr/>
            <p:nvPr/>
          </p:nvSpPr>
          <p:spPr>
            <a:xfrm>
              <a:off x="2977290" y="2784565"/>
              <a:ext cx="43578" cy="43497"/>
            </a:xfrm>
            <a:prstGeom prst="ellipse">
              <a:avLst/>
            </a:prstGeom>
            <a:solidFill>
              <a:srgbClr val="037CBA"/>
            </a:solidFill>
            <a:ln w="285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9" name="TextBox 199">
              <a:extLst>
                <a:ext uri="{FF2B5EF4-FFF2-40B4-BE49-F238E27FC236}">
                  <a16:creationId xmlns:a16="http://schemas.microsoft.com/office/drawing/2014/main" id="{5657D328-5135-ACDC-A1D3-E354D72727F5}"/>
                </a:ext>
              </a:extLst>
            </p:cNvPr>
            <p:cNvSpPr txBox="1"/>
            <p:nvPr/>
          </p:nvSpPr>
          <p:spPr>
            <a:xfrm>
              <a:off x="2698769" y="2553076"/>
              <a:ext cx="1084747" cy="4349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err="1">
                  <a:ln>
                    <a:noFill/>
                  </a:ln>
                  <a:solidFill>
                    <a:srgbClr val="037CBA"/>
                  </a:solidFill>
                  <a:effectLst/>
                  <a:uLnTx/>
                  <a:uFillTx/>
                  <a:latin typeface="Arial"/>
                </a:rPr>
                <a:t>Grijota</a:t>
              </a:r>
              <a:endParaRPr kumimoji="0" lang="en-US" sz="900" b="1" i="0" u="none" strike="noStrike" kern="0" cap="none" spc="0" normalizeH="0" baseline="0" noProof="0" dirty="0">
                <a:ln>
                  <a:noFill/>
                </a:ln>
                <a:solidFill>
                  <a:srgbClr val="037CBA"/>
                </a:solidFill>
                <a:effectLst/>
                <a:uLnTx/>
                <a:uFillTx/>
                <a:latin typeface="Arial"/>
              </a:endParaRPr>
            </a:p>
          </p:txBody>
        </p:sp>
        <p:sp>
          <p:nvSpPr>
            <p:cNvPr id="100" name="Oval 200">
              <a:extLst>
                <a:ext uri="{FF2B5EF4-FFF2-40B4-BE49-F238E27FC236}">
                  <a16:creationId xmlns:a16="http://schemas.microsoft.com/office/drawing/2014/main" id="{0AC550EC-6D37-3643-81A0-54672DF199B3}"/>
                </a:ext>
              </a:extLst>
            </p:cNvPr>
            <p:cNvSpPr/>
            <p:nvPr/>
          </p:nvSpPr>
          <p:spPr>
            <a:xfrm>
              <a:off x="2196534" y="3228622"/>
              <a:ext cx="43578" cy="43497"/>
            </a:xfrm>
            <a:prstGeom prst="ellipse">
              <a:avLst/>
            </a:prstGeom>
            <a:solidFill>
              <a:srgbClr val="037CBA"/>
            </a:solidFill>
            <a:ln w="285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1" name="Freeform: Shape 202">
              <a:extLst>
                <a:ext uri="{FF2B5EF4-FFF2-40B4-BE49-F238E27FC236}">
                  <a16:creationId xmlns:a16="http://schemas.microsoft.com/office/drawing/2014/main" id="{D3834BCF-1408-755E-9F95-F5118A3F1689}"/>
                </a:ext>
              </a:extLst>
            </p:cNvPr>
            <p:cNvSpPr/>
            <p:nvPr/>
          </p:nvSpPr>
          <p:spPr>
            <a:xfrm>
              <a:off x="2217086" y="2796451"/>
              <a:ext cx="779573" cy="456731"/>
            </a:xfrm>
            <a:custGeom>
              <a:avLst/>
              <a:gdLst>
                <a:gd name="connsiteX0" fmla="*/ 0 w 817880"/>
                <a:gd name="connsiteY0" fmla="*/ 480060 h 480060"/>
                <a:gd name="connsiteX1" fmla="*/ 817880 w 817880"/>
                <a:gd name="connsiteY1" fmla="*/ 0 h 480060"/>
              </a:gdLst>
              <a:ahLst/>
              <a:cxnLst>
                <a:cxn ang="0">
                  <a:pos x="connsiteX0" y="connsiteY0"/>
                </a:cxn>
                <a:cxn ang="0">
                  <a:pos x="connsiteX1" y="connsiteY1"/>
                </a:cxn>
              </a:cxnLst>
              <a:rect l="l" t="t" r="r" b="b"/>
              <a:pathLst>
                <a:path w="817880" h="480060">
                  <a:moveTo>
                    <a:pt x="0" y="480060"/>
                  </a:moveTo>
                  <a:lnTo>
                    <a:pt x="817880" y="0"/>
                  </a:lnTo>
                </a:path>
              </a:pathLst>
            </a:custGeom>
            <a:noFill/>
            <a:ln w="19050"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2" name="Freeform: Shape 203">
              <a:extLst>
                <a:ext uri="{FF2B5EF4-FFF2-40B4-BE49-F238E27FC236}">
                  <a16:creationId xmlns:a16="http://schemas.microsoft.com/office/drawing/2014/main" id="{F4A5C0E8-A486-6EAB-0D9B-8A7521712E7A}"/>
                </a:ext>
              </a:extLst>
            </p:cNvPr>
            <p:cNvSpPr/>
            <p:nvPr/>
          </p:nvSpPr>
          <p:spPr>
            <a:xfrm>
              <a:off x="4229640" y="4834823"/>
              <a:ext cx="116210" cy="152244"/>
            </a:xfrm>
            <a:custGeom>
              <a:avLst/>
              <a:gdLst>
                <a:gd name="connsiteX0" fmla="*/ 0 w 121920"/>
                <a:gd name="connsiteY0" fmla="*/ 160020 h 160020"/>
                <a:gd name="connsiteX1" fmla="*/ 121920 w 121920"/>
                <a:gd name="connsiteY1" fmla="*/ 0 h 160020"/>
              </a:gdLst>
              <a:ahLst/>
              <a:cxnLst>
                <a:cxn ang="0">
                  <a:pos x="connsiteX0" y="connsiteY0"/>
                </a:cxn>
                <a:cxn ang="0">
                  <a:pos x="connsiteX1" y="connsiteY1"/>
                </a:cxn>
              </a:cxnLst>
              <a:rect l="l" t="t" r="r" b="b"/>
              <a:pathLst>
                <a:path w="121920" h="160020">
                  <a:moveTo>
                    <a:pt x="0" y="160020"/>
                  </a:moveTo>
                  <a:cubicBezTo>
                    <a:pt x="52070" y="97472"/>
                    <a:pt x="104140" y="34925"/>
                    <a:pt x="121920" y="0"/>
                  </a:cubicBezTo>
                </a:path>
              </a:pathLst>
            </a:custGeom>
            <a:noFill/>
            <a:ln w="19050"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3" name="Freeform: Shape 204">
              <a:extLst>
                <a:ext uri="{FF2B5EF4-FFF2-40B4-BE49-F238E27FC236}">
                  <a16:creationId xmlns:a16="http://schemas.microsoft.com/office/drawing/2014/main" id="{CF48DD9D-9224-D738-BDB8-8CD08D0343C2}"/>
                </a:ext>
              </a:extLst>
            </p:cNvPr>
            <p:cNvSpPr/>
            <p:nvPr/>
          </p:nvSpPr>
          <p:spPr>
            <a:xfrm>
              <a:off x="4088545" y="4983442"/>
              <a:ext cx="148894" cy="141369"/>
            </a:xfrm>
            <a:custGeom>
              <a:avLst/>
              <a:gdLst>
                <a:gd name="connsiteX0" fmla="*/ 0 w 156210"/>
                <a:gd name="connsiteY0" fmla="*/ 148590 h 148590"/>
                <a:gd name="connsiteX1" fmla="*/ 156210 w 156210"/>
                <a:gd name="connsiteY1" fmla="*/ 0 h 148590"/>
              </a:gdLst>
              <a:ahLst/>
              <a:cxnLst>
                <a:cxn ang="0">
                  <a:pos x="connsiteX0" y="connsiteY0"/>
                </a:cxn>
                <a:cxn ang="0">
                  <a:pos x="connsiteX1" y="connsiteY1"/>
                </a:cxn>
              </a:cxnLst>
              <a:rect l="l" t="t" r="r" b="b"/>
              <a:pathLst>
                <a:path w="156210" h="148590">
                  <a:moveTo>
                    <a:pt x="0" y="148590"/>
                  </a:moveTo>
                  <a:lnTo>
                    <a:pt x="156210" y="0"/>
                  </a:lnTo>
                </a:path>
              </a:pathLst>
            </a:custGeom>
            <a:noFill/>
            <a:ln w="19050" cap="flat" cmpd="sng" algn="ctr">
              <a:solidFill>
                <a:srgbClr val="273B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4" name="TextBox 205">
              <a:extLst>
                <a:ext uri="{FF2B5EF4-FFF2-40B4-BE49-F238E27FC236}">
                  <a16:creationId xmlns:a16="http://schemas.microsoft.com/office/drawing/2014/main" id="{E761EB81-4FA6-7537-CC08-CF7EF44AA8F8}"/>
                </a:ext>
              </a:extLst>
            </p:cNvPr>
            <p:cNvSpPr txBox="1"/>
            <p:nvPr/>
          </p:nvSpPr>
          <p:spPr>
            <a:xfrm>
              <a:off x="3593000" y="4015164"/>
              <a:ext cx="945620"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a:ln>
                    <a:noFill/>
                  </a:ln>
                  <a:solidFill>
                    <a:srgbClr val="273B5E"/>
                  </a:solidFill>
                  <a:effectLst/>
                  <a:uLnTx/>
                  <a:uFillTx/>
                  <a:latin typeface="Arial"/>
                </a:rPr>
                <a:t>Romica 2</a:t>
              </a:r>
            </a:p>
          </p:txBody>
        </p:sp>
        <p:sp>
          <p:nvSpPr>
            <p:cNvPr id="105" name="Oval 206">
              <a:extLst>
                <a:ext uri="{FF2B5EF4-FFF2-40B4-BE49-F238E27FC236}">
                  <a16:creationId xmlns:a16="http://schemas.microsoft.com/office/drawing/2014/main" id="{6F363EF5-E105-296F-97C3-FC989479AB98}"/>
                </a:ext>
              </a:extLst>
            </p:cNvPr>
            <p:cNvSpPr/>
            <p:nvPr/>
          </p:nvSpPr>
          <p:spPr>
            <a:xfrm>
              <a:off x="3061330" y="4814778"/>
              <a:ext cx="43578" cy="43497"/>
            </a:xfrm>
            <a:prstGeom prst="ellipse">
              <a:avLst/>
            </a:prstGeom>
            <a:solidFill>
              <a:srgbClr val="DD3D37"/>
            </a:solidFill>
            <a:ln w="28575"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6" name="Oval 207">
              <a:extLst>
                <a:ext uri="{FF2B5EF4-FFF2-40B4-BE49-F238E27FC236}">
                  <a16:creationId xmlns:a16="http://schemas.microsoft.com/office/drawing/2014/main" id="{3430F2CA-BD27-979C-8962-3D4ECAA25F09}"/>
                </a:ext>
              </a:extLst>
            </p:cNvPr>
            <p:cNvSpPr/>
            <p:nvPr/>
          </p:nvSpPr>
          <p:spPr>
            <a:xfrm>
              <a:off x="2977290" y="5156096"/>
              <a:ext cx="43578" cy="43497"/>
            </a:xfrm>
            <a:prstGeom prst="ellipse">
              <a:avLst/>
            </a:prstGeom>
            <a:solidFill>
              <a:srgbClr val="DD3D37"/>
            </a:solidFill>
            <a:ln w="28575"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7" name="Freeform: Shape 208">
              <a:extLst>
                <a:ext uri="{FF2B5EF4-FFF2-40B4-BE49-F238E27FC236}">
                  <a16:creationId xmlns:a16="http://schemas.microsoft.com/office/drawing/2014/main" id="{C4CD3E1A-C925-A67B-0C9A-349404B47843}"/>
                </a:ext>
              </a:extLst>
            </p:cNvPr>
            <p:cNvSpPr/>
            <p:nvPr/>
          </p:nvSpPr>
          <p:spPr>
            <a:xfrm>
              <a:off x="2999079" y="4834823"/>
              <a:ext cx="76263" cy="340736"/>
            </a:xfrm>
            <a:custGeom>
              <a:avLst/>
              <a:gdLst>
                <a:gd name="connsiteX0" fmla="*/ 0 w 80010"/>
                <a:gd name="connsiteY0" fmla="*/ 358140 h 358140"/>
                <a:gd name="connsiteX1" fmla="*/ 80010 w 80010"/>
                <a:gd name="connsiteY1" fmla="*/ 0 h 358140"/>
              </a:gdLst>
              <a:ahLst/>
              <a:cxnLst>
                <a:cxn ang="0">
                  <a:pos x="connsiteX0" y="connsiteY0"/>
                </a:cxn>
                <a:cxn ang="0">
                  <a:pos x="connsiteX1" y="connsiteY1"/>
                </a:cxn>
              </a:cxnLst>
              <a:rect l="l" t="t" r="r" b="b"/>
              <a:pathLst>
                <a:path w="80010" h="358140">
                  <a:moveTo>
                    <a:pt x="0" y="358140"/>
                  </a:moveTo>
                  <a:cubicBezTo>
                    <a:pt x="30797" y="218757"/>
                    <a:pt x="61595" y="79375"/>
                    <a:pt x="80010" y="0"/>
                  </a:cubicBezTo>
                </a:path>
              </a:pathLst>
            </a:cu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8" name="TextBox 210">
              <a:extLst>
                <a:ext uri="{FF2B5EF4-FFF2-40B4-BE49-F238E27FC236}">
                  <a16:creationId xmlns:a16="http://schemas.microsoft.com/office/drawing/2014/main" id="{31030766-91F8-B5F2-0441-9B0E7EB78665}"/>
                </a:ext>
              </a:extLst>
            </p:cNvPr>
            <p:cNvSpPr txBox="1"/>
            <p:nvPr/>
          </p:nvSpPr>
          <p:spPr>
            <a:xfrm>
              <a:off x="2834180" y="4499336"/>
              <a:ext cx="963120"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err="1">
                  <a:ln>
                    <a:noFill/>
                  </a:ln>
                  <a:solidFill>
                    <a:srgbClr val="DD3D37"/>
                  </a:solidFill>
                  <a:effectLst/>
                  <a:uLnTx/>
                  <a:uFillTx/>
                  <a:latin typeface="Arial"/>
                </a:rPr>
                <a:t>Guadame</a:t>
              </a:r>
              <a:endParaRPr kumimoji="0" lang="en-US" sz="1000" b="1" i="0" u="none" strike="noStrike" kern="0" cap="none" spc="0" normalizeH="0" baseline="0" noProof="0" dirty="0">
                <a:ln>
                  <a:noFill/>
                </a:ln>
                <a:solidFill>
                  <a:srgbClr val="DD3D37"/>
                </a:solidFill>
                <a:effectLst/>
                <a:uLnTx/>
                <a:uFillTx/>
                <a:latin typeface="Arial"/>
              </a:endParaRPr>
            </a:p>
          </p:txBody>
        </p:sp>
        <p:sp>
          <p:nvSpPr>
            <p:cNvPr id="109" name="TextBox 211">
              <a:extLst>
                <a:ext uri="{FF2B5EF4-FFF2-40B4-BE49-F238E27FC236}">
                  <a16:creationId xmlns:a16="http://schemas.microsoft.com/office/drawing/2014/main" id="{10C218BC-8A1D-A831-7CC4-ADBA8525D6EB}"/>
                </a:ext>
              </a:extLst>
            </p:cNvPr>
            <p:cNvSpPr txBox="1"/>
            <p:nvPr/>
          </p:nvSpPr>
          <p:spPr>
            <a:xfrm>
              <a:off x="2812433" y="5206702"/>
              <a:ext cx="963120" cy="150365"/>
            </a:xfrm>
            <a:prstGeom prst="rect">
              <a:avLst/>
            </a:prstGeom>
            <a:noFill/>
            <a:ln w="19050">
              <a:noFill/>
            </a:ln>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err="1">
                  <a:ln>
                    <a:noFill/>
                  </a:ln>
                  <a:solidFill>
                    <a:srgbClr val="DD3D37"/>
                  </a:solidFill>
                  <a:effectLst/>
                  <a:uLnTx/>
                  <a:uFillTx/>
                  <a:latin typeface="Arial"/>
                </a:rPr>
                <a:t>Cabra</a:t>
              </a:r>
              <a:r>
                <a:rPr kumimoji="0" lang="en-US" sz="1000" b="1" i="0" u="none" strike="noStrike" kern="0" cap="none" spc="0" normalizeH="0" baseline="0" noProof="0" dirty="0">
                  <a:ln>
                    <a:noFill/>
                  </a:ln>
                  <a:solidFill>
                    <a:srgbClr val="DD3D37"/>
                  </a:solidFill>
                  <a:effectLst/>
                  <a:uLnTx/>
                  <a:uFillTx/>
                  <a:latin typeface="Arial"/>
                </a:rPr>
                <a:t> 3</a:t>
              </a:r>
            </a:p>
          </p:txBody>
        </p:sp>
        <p:sp>
          <p:nvSpPr>
            <p:cNvPr id="110" name="Oval 212">
              <a:extLst>
                <a:ext uri="{FF2B5EF4-FFF2-40B4-BE49-F238E27FC236}">
                  <a16:creationId xmlns:a16="http://schemas.microsoft.com/office/drawing/2014/main" id="{5946D6AA-29F3-7C18-6677-6F88EF10E081}"/>
                </a:ext>
              </a:extLst>
            </p:cNvPr>
            <p:cNvSpPr/>
            <p:nvPr/>
          </p:nvSpPr>
          <p:spPr>
            <a:xfrm>
              <a:off x="2371517" y="5046574"/>
              <a:ext cx="43578" cy="43497"/>
            </a:xfrm>
            <a:prstGeom prst="ellipse">
              <a:avLst/>
            </a:prstGeom>
            <a:solidFill>
              <a:srgbClr val="DD3D37"/>
            </a:solidFill>
            <a:ln w="28575"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11" name="TextBox 213">
              <a:extLst>
                <a:ext uri="{FF2B5EF4-FFF2-40B4-BE49-F238E27FC236}">
                  <a16:creationId xmlns:a16="http://schemas.microsoft.com/office/drawing/2014/main" id="{AFF923FA-F1F0-6B41-007E-0472C284ADB4}"/>
                </a:ext>
              </a:extLst>
            </p:cNvPr>
            <p:cNvSpPr txBox="1"/>
            <p:nvPr/>
          </p:nvSpPr>
          <p:spPr>
            <a:xfrm>
              <a:off x="2091825" y="4744998"/>
              <a:ext cx="963120" cy="168535"/>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err="1">
                  <a:ln>
                    <a:noFill/>
                  </a:ln>
                  <a:solidFill>
                    <a:srgbClr val="DD3D37"/>
                  </a:solidFill>
                  <a:effectLst/>
                  <a:uLnTx/>
                  <a:uFillTx/>
                  <a:latin typeface="Arial"/>
                </a:rPr>
                <a:t>Guillena</a:t>
              </a:r>
              <a:r>
                <a:rPr kumimoji="0" lang="en-US" sz="1000" b="1" i="0" u="none" strike="noStrike" kern="0" cap="none" spc="0" normalizeH="0" baseline="0" noProof="0" dirty="0">
                  <a:ln>
                    <a:noFill/>
                  </a:ln>
                  <a:solidFill>
                    <a:srgbClr val="DD3D37"/>
                  </a:solidFill>
                  <a:effectLst/>
                  <a:uLnTx/>
                  <a:uFillTx/>
                  <a:latin typeface="Arial"/>
                </a:rPr>
                <a:t> 1</a:t>
              </a:r>
            </a:p>
          </p:txBody>
        </p:sp>
        <p:sp>
          <p:nvSpPr>
            <p:cNvPr id="112" name="TextBox 214">
              <a:extLst>
                <a:ext uri="{FF2B5EF4-FFF2-40B4-BE49-F238E27FC236}">
                  <a16:creationId xmlns:a16="http://schemas.microsoft.com/office/drawing/2014/main" id="{FDEFE5CA-215A-781F-97AA-38A86FFE30AA}"/>
                </a:ext>
              </a:extLst>
            </p:cNvPr>
            <p:cNvSpPr txBox="1"/>
            <p:nvPr/>
          </p:nvSpPr>
          <p:spPr>
            <a:xfrm>
              <a:off x="1491329" y="3158084"/>
              <a:ext cx="796527" cy="298756"/>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900" b="1" i="0" u="none" strike="noStrike" kern="0" cap="none" spc="0" normalizeH="0" baseline="0" noProof="0" dirty="0">
                  <a:ln>
                    <a:noFill/>
                  </a:ln>
                  <a:solidFill>
                    <a:srgbClr val="037CBA"/>
                  </a:solidFill>
                  <a:effectLst/>
                  <a:uLnTx/>
                  <a:uFillTx/>
                  <a:latin typeface="Arial"/>
                </a:rPr>
                <a:t>Villarino 2</a:t>
              </a:r>
            </a:p>
          </p:txBody>
        </p:sp>
        <p:sp>
          <p:nvSpPr>
            <p:cNvPr id="113" name="Oval 215">
              <a:extLst>
                <a:ext uri="{FF2B5EF4-FFF2-40B4-BE49-F238E27FC236}">
                  <a16:creationId xmlns:a16="http://schemas.microsoft.com/office/drawing/2014/main" id="{E8BF58F3-144B-3E47-E3D4-3B7D7431D73C}"/>
                </a:ext>
              </a:extLst>
            </p:cNvPr>
            <p:cNvSpPr/>
            <p:nvPr/>
          </p:nvSpPr>
          <p:spPr>
            <a:xfrm>
              <a:off x="1964502" y="5040227"/>
              <a:ext cx="43578" cy="43497"/>
            </a:xfrm>
            <a:prstGeom prst="ellipse">
              <a:avLst/>
            </a:prstGeom>
            <a:solidFill>
              <a:srgbClr val="DD3D37"/>
            </a:solidFill>
            <a:ln w="28575"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14" name="TextBox 216">
              <a:extLst>
                <a:ext uri="{FF2B5EF4-FFF2-40B4-BE49-F238E27FC236}">
                  <a16:creationId xmlns:a16="http://schemas.microsoft.com/office/drawing/2014/main" id="{F1B9D3EA-A926-1BC5-12DC-69A61E146CDD}"/>
                </a:ext>
              </a:extLst>
            </p:cNvPr>
            <p:cNvSpPr txBox="1"/>
            <p:nvPr/>
          </p:nvSpPr>
          <p:spPr>
            <a:xfrm>
              <a:off x="980703" y="5003532"/>
              <a:ext cx="1158862" cy="174882"/>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endParaRPr kumimoji="0" lang="en-US" sz="1000" b="1" i="0" u="none" strike="noStrike" kern="0" cap="none" spc="0" normalizeH="0" baseline="0" noProof="0" dirty="0">
                <a:ln>
                  <a:noFill/>
                </a:ln>
                <a:solidFill>
                  <a:srgbClr val="DD3D37"/>
                </a:solidFill>
                <a:effectLst/>
                <a:uLnTx/>
                <a:uFillTx/>
                <a:latin typeface="Arial"/>
              </a:endParaRPr>
            </a:p>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1000" b="1" i="0" u="none" strike="noStrike" kern="0" cap="none" spc="0" normalizeH="0" baseline="0" noProof="0" dirty="0">
                  <a:ln>
                    <a:noFill/>
                  </a:ln>
                  <a:solidFill>
                    <a:srgbClr val="DD3D37"/>
                  </a:solidFill>
                  <a:effectLst/>
                  <a:uLnTx/>
                  <a:uFillTx/>
                  <a:latin typeface="Arial"/>
                </a:rPr>
                <a:t>P. Guzmán</a:t>
              </a:r>
            </a:p>
            <a:p>
              <a:pPr marL="0" marR="0" lvl="0" indent="0" defTabSz="914400" eaLnBrk="1" fontAlgn="auto" latinLnBrk="0" hangingPunct="1">
                <a:lnSpc>
                  <a:spcPct val="100000"/>
                </a:lnSpc>
                <a:spcBef>
                  <a:spcPts val="0"/>
                </a:spcBef>
                <a:spcAft>
                  <a:spcPts val="600"/>
                </a:spcAft>
                <a:buClr>
                  <a:srgbClr val="000000"/>
                </a:buClr>
                <a:buSzTx/>
                <a:buFontTx/>
                <a:buNone/>
                <a:tabLst/>
                <a:defRPr/>
              </a:pPr>
              <a:endParaRPr kumimoji="0" lang="en-US" sz="1000" b="1" i="0" u="none" strike="noStrike" kern="0" cap="none" spc="0" normalizeH="0" baseline="0" noProof="0" dirty="0">
                <a:ln>
                  <a:noFill/>
                </a:ln>
                <a:solidFill>
                  <a:srgbClr val="DD3D37"/>
                </a:solidFill>
                <a:effectLst/>
                <a:uLnTx/>
                <a:uFillTx/>
                <a:latin typeface="Arial"/>
              </a:endParaRPr>
            </a:p>
          </p:txBody>
        </p:sp>
        <p:sp>
          <p:nvSpPr>
            <p:cNvPr id="115" name="Freeform: Shape 217">
              <a:extLst>
                <a:ext uri="{FF2B5EF4-FFF2-40B4-BE49-F238E27FC236}">
                  <a16:creationId xmlns:a16="http://schemas.microsoft.com/office/drawing/2014/main" id="{3FF5F6D9-D0F7-D4A0-D925-F10EC47D4692}"/>
                </a:ext>
              </a:extLst>
            </p:cNvPr>
            <p:cNvSpPr/>
            <p:nvPr/>
          </p:nvSpPr>
          <p:spPr>
            <a:xfrm>
              <a:off x="1982245" y="5060288"/>
              <a:ext cx="412544" cy="5800"/>
            </a:xfrm>
            <a:custGeom>
              <a:avLst/>
              <a:gdLst>
                <a:gd name="connsiteX0" fmla="*/ 0 w 432816"/>
                <a:gd name="connsiteY0" fmla="*/ 0 h 6096"/>
                <a:gd name="connsiteX1" fmla="*/ 432816 w 432816"/>
                <a:gd name="connsiteY1" fmla="*/ 6096 h 6096"/>
              </a:gdLst>
              <a:ahLst/>
              <a:cxnLst>
                <a:cxn ang="0">
                  <a:pos x="connsiteX0" y="connsiteY0"/>
                </a:cxn>
                <a:cxn ang="0">
                  <a:pos x="connsiteX1" y="connsiteY1"/>
                </a:cxn>
              </a:cxnLst>
              <a:rect l="l" t="t" r="r" b="b"/>
              <a:pathLst>
                <a:path w="432816" h="6096">
                  <a:moveTo>
                    <a:pt x="0" y="0"/>
                  </a:moveTo>
                  <a:lnTo>
                    <a:pt x="432816" y="6096"/>
                  </a:lnTo>
                </a:path>
              </a:pathLst>
            </a:cu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16" name="TextBox 210">
              <a:extLst>
                <a:ext uri="{FF2B5EF4-FFF2-40B4-BE49-F238E27FC236}">
                  <a16:creationId xmlns:a16="http://schemas.microsoft.com/office/drawing/2014/main" id="{E0432293-CD0B-6371-22B6-FFCB1FDEEF71}"/>
                </a:ext>
              </a:extLst>
            </p:cNvPr>
            <p:cNvSpPr txBox="1"/>
            <p:nvPr/>
          </p:nvSpPr>
          <p:spPr>
            <a:xfrm>
              <a:off x="3637162" y="4788282"/>
              <a:ext cx="732537" cy="124822"/>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273B5E"/>
                  </a:solidFill>
                  <a:effectLst/>
                  <a:uLnTx/>
                  <a:uFillTx/>
                  <a:latin typeface="Arial"/>
                </a:rPr>
                <a:t>(15 days)</a:t>
              </a:r>
            </a:p>
          </p:txBody>
        </p:sp>
        <p:sp>
          <p:nvSpPr>
            <p:cNvPr id="117" name="TextBox 210">
              <a:extLst>
                <a:ext uri="{FF2B5EF4-FFF2-40B4-BE49-F238E27FC236}">
                  <a16:creationId xmlns:a16="http://schemas.microsoft.com/office/drawing/2014/main" id="{4C63B2EF-F967-893A-8BF0-488B8539F43F}"/>
                </a:ext>
              </a:extLst>
            </p:cNvPr>
            <p:cNvSpPr txBox="1"/>
            <p:nvPr/>
          </p:nvSpPr>
          <p:spPr>
            <a:xfrm>
              <a:off x="3458794" y="4369288"/>
              <a:ext cx="716695" cy="131731"/>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273B5E"/>
                  </a:solidFill>
                  <a:effectLst/>
                  <a:uLnTx/>
                  <a:uFillTx/>
                  <a:latin typeface="Arial"/>
                </a:rPr>
                <a:t>(11 days)</a:t>
              </a:r>
            </a:p>
          </p:txBody>
        </p:sp>
        <p:sp>
          <p:nvSpPr>
            <p:cNvPr id="118" name="TextBox 210">
              <a:extLst>
                <a:ext uri="{FF2B5EF4-FFF2-40B4-BE49-F238E27FC236}">
                  <a16:creationId xmlns:a16="http://schemas.microsoft.com/office/drawing/2014/main" id="{7AF23923-A515-3DB1-240E-43F81DCF48A8}"/>
                </a:ext>
              </a:extLst>
            </p:cNvPr>
            <p:cNvSpPr txBox="1"/>
            <p:nvPr/>
          </p:nvSpPr>
          <p:spPr>
            <a:xfrm>
              <a:off x="4246600" y="4585857"/>
              <a:ext cx="1106435" cy="138218"/>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273B5E"/>
                  </a:solidFill>
                  <a:effectLst/>
                  <a:uLnTx/>
                  <a:uFillTx/>
                  <a:latin typeface="Arial"/>
                </a:rPr>
                <a:t>(9 days)</a:t>
              </a:r>
            </a:p>
          </p:txBody>
        </p:sp>
        <p:sp>
          <p:nvSpPr>
            <p:cNvPr id="119" name="TextBox 210">
              <a:extLst>
                <a:ext uri="{FF2B5EF4-FFF2-40B4-BE49-F238E27FC236}">
                  <a16:creationId xmlns:a16="http://schemas.microsoft.com/office/drawing/2014/main" id="{8EEA3E2E-68F2-A84A-1DBE-77759C0BDACC}"/>
                </a:ext>
              </a:extLst>
            </p:cNvPr>
            <p:cNvSpPr txBox="1"/>
            <p:nvPr/>
          </p:nvSpPr>
          <p:spPr>
            <a:xfrm>
              <a:off x="2437938" y="3075638"/>
              <a:ext cx="931718" cy="293017"/>
            </a:xfrm>
            <a:prstGeom prst="rect">
              <a:avLst/>
            </a:prstGeom>
            <a:noFill/>
            <a:ln w="19050">
              <a:noFill/>
            </a:ln>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037CBA"/>
                  </a:solidFill>
                  <a:effectLst/>
                  <a:uLnTx/>
                  <a:uFillTx/>
                  <a:latin typeface="Arial"/>
                </a:rPr>
                <a:t>(8 days)</a:t>
              </a:r>
            </a:p>
          </p:txBody>
        </p:sp>
        <p:sp>
          <p:nvSpPr>
            <p:cNvPr id="120" name="TextBox 210">
              <a:extLst>
                <a:ext uri="{FF2B5EF4-FFF2-40B4-BE49-F238E27FC236}">
                  <a16:creationId xmlns:a16="http://schemas.microsoft.com/office/drawing/2014/main" id="{EBE9F9CD-6227-53F5-AD0E-D14DB98F867B}"/>
                </a:ext>
              </a:extLst>
            </p:cNvPr>
            <p:cNvSpPr txBox="1"/>
            <p:nvPr/>
          </p:nvSpPr>
          <p:spPr>
            <a:xfrm>
              <a:off x="1920071" y="5093900"/>
              <a:ext cx="963120" cy="200135"/>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DD3D37"/>
                  </a:solidFill>
                  <a:effectLst/>
                  <a:uLnTx/>
                  <a:uFillTx/>
                  <a:latin typeface="Arial"/>
                </a:rPr>
                <a:t>(3 days)</a:t>
              </a:r>
            </a:p>
          </p:txBody>
        </p:sp>
        <p:sp>
          <p:nvSpPr>
            <p:cNvPr id="121" name="TextBox 210">
              <a:extLst>
                <a:ext uri="{FF2B5EF4-FFF2-40B4-BE49-F238E27FC236}">
                  <a16:creationId xmlns:a16="http://schemas.microsoft.com/office/drawing/2014/main" id="{2A3D30ED-DBD4-E953-0383-F667C23293E8}"/>
                </a:ext>
              </a:extLst>
            </p:cNvPr>
            <p:cNvSpPr txBox="1"/>
            <p:nvPr/>
          </p:nvSpPr>
          <p:spPr>
            <a:xfrm>
              <a:off x="3020865" y="4862333"/>
              <a:ext cx="657824" cy="200135"/>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DD3D37"/>
                  </a:solidFill>
                  <a:effectLst/>
                  <a:uLnTx/>
                  <a:uFillTx/>
                  <a:latin typeface="Arial"/>
                </a:rPr>
                <a:t>(4 days)</a:t>
              </a:r>
            </a:p>
          </p:txBody>
        </p:sp>
        <p:sp>
          <p:nvSpPr>
            <p:cNvPr id="122" name="TextBox 210">
              <a:extLst>
                <a:ext uri="{FF2B5EF4-FFF2-40B4-BE49-F238E27FC236}">
                  <a16:creationId xmlns:a16="http://schemas.microsoft.com/office/drawing/2014/main" id="{FDB6518F-379F-C262-39FF-DCA76DBA0CBA}"/>
                </a:ext>
              </a:extLst>
            </p:cNvPr>
            <p:cNvSpPr txBox="1"/>
            <p:nvPr/>
          </p:nvSpPr>
          <p:spPr>
            <a:xfrm>
              <a:off x="3554483" y="4947671"/>
              <a:ext cx="693836" cy="215444"/>
            </a:xfrm>
            <a:prstGeom prst="rect">
              <a:avLst/>
            </a:prstGeom>
            <a:noFill/>
          </p:spPr>
          <p:txBody>
            <a:bodyPr wrap="square" lIns="108000" tIns="108000" rIns="108000" bIns="108000" rtlCol="0" anchor="ctr">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273B5E"/>
                  </a:solidFill>
                  <a:effectLst/>
                  <a:uLnTx/>
                  <a:uFillTx/>
                  <a:latin typeface="Arial"/>
                </a:rPr>
                <a:t>(15 days)</a:t>
              </a:r>
            </a:p>
          </p:txBody>
        </p:sp>
        <p:sp>
          <p:nvSpPr>
            <p:cNvPr id="123" name="TextBox 210">
              <a:extLst>
                <a:ext uri="{FF2B5EF4-FFF2-40B4-BE49-F238E27FC236}">
                  <a16:creationId xmlns:a16="http://schemas.microsoft.com/office/drawing/2014/main" id="{A0E33C3E-AD1C-096F-6F82-C01C423EF1F6}"/>
                </a:ext>
              </a:extLst>
            </p:cNvPr>
            <p:cNvSpPr txBox="1"/>
            <p:nvPr/>
          </p:nvSpPr>
          <p:spPr>
            <a:xfrm>
              <a:off x="1882461" y="2426917"/>
              <a:ext cx="677217" cy="315542"/>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037CBA"/>
                  </a:solidFill>
                  <a:effectLst/>
                  <a:uLnTx/>
                  <a:uFillTx/>
                  <a:latin typeface="Arial"/>
                </a:rPr>
                <a:t>(14 days)</a:t>
              </a:r>
            </a:p>
          </p:txBody>
        </p:sp>
        <p:sp>
          <p:nvSpPr>
            <p:cNvPr id="124" name="TextBox 210">
              <a:extLst>
                <a:ext uri="{FF2B5EF4-FFF2-40B4-BE49-F238E27FC236}">
                  <a16:creationId xmlns:a16="http://schemas.microsoft.com/office/drawing/2014/main" id="{D7C3D4A2-33DD-BA71-A8B5-41471A065531}"/>
                </a:ext>
              </a:extLst>
            </p:cNvPr>
            <p:cNvSpPr txBox="1"/>
            <p:nvPr/>
          </p:nvSpPr>
          <p:spPr>
            <a:xfrm>
              <a:off x="2064534" y="2738733"/>
              <a:ext cx="612950" cy="315542"/>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037CBA"/>
                  </a:solidFill>
                  <a:effectLst/>
                  <a:uLnTx/>
                  <a:uFillTx/>
                  <a:latin typeface="Arial"/>
                </a:rPr>
                <a:t>(2 days)</a:t>
              </a:r>
            </a:p>
          </p:txBody>
        </p:sp>
        <p:sp>
          <p:nvSpPr>
            <p:cNvPr id="125" name="Forma libre: forma 426">
              <a:extLst>
                <a:ext uri="{FF2B5EF4-FFF2-40B4-BE49-F238E27FC236}">
                  <a16:creationId xmlns:a16="http://schemas.microsoft.com/office/drawing/2014/main" id="{2CE2C518-0FCC-68EF-E541-CC6B16E04304}"/>
                </a:ext>
              </a:extLst>
            </p:cNvPr>
            <p:cNvSpPr/>
            <p:nvPr/>
          </p:nvSpPr>
          <p:spPr>
            <a:xfrm>
              <a:off x="2750820" y="3710940"/>
              <a:ext cx="518160" cy="354330"/>
            </a:xfrm>
            <a:custGeom>
              <a:avLst/>
              <a:gdLst>
                <a:gd name="connsiteX0" fmla="*/ 518160 w 518160"/>
                <a:gd name="connsiteY0" fmla="*/ 0 h 354330"/>
                <a:gd name="connsiteX1" fmla="*/ 438150 w 518160"/>
                <a:gd name="connsiteY1" fmla="*/ 80010 h 354330"/>
                <a:gd name="connsiteX2" fmla="*/ 156210 w 518160"/>
                <a:gd name="connsiteY2" fmla="*/ 99060 h 354330"/>
                <a:gd name="connsiteX3" fmla="*/ 0 w 518160"/>
                <a:gd name="connsiteY3" fmla="*/ 354330 h 354330"/>
              </a:gdLst>
              <a:ahLst/>
              <a:cxnLst>
                <a:cxn ang="0">
                  <a:pos x="connsiteX0" y="connsiteY0"/>
                </a:cxn>
                <a:cxn ang="0">
                  <a:pos x="connsiteX1" y="connsiteY1"/>
                </a:cxn>
                <a:cxn ang="0">
                  <a:pos x="connsiteX2" y="connsiteY2"/>
                </a:cxn>
                <a:cxn ang="0">
                  <a:pos x="connsiteX3" y="connsiteY3"/>
                </a:cxn>
              </a:cxnLst>
              <a:rect l="l" t="t" r="r" b="b"/>
              <a:pathLst>
                <a:path w="518160" h="354330">
                  <a:moveTo>
                    <a:pt x="518160" y="0"/>
                  </a:moveTo>
                  <a:cubicBezTo>
                    <a:pt x="508317" y="31750"/>
                    <a:pt x="498475" y="63500"/>
                    <a:pt x="438150" y="80010"/>
                  </a:cubicBezTo>
                  <a:cubicBezTo>
                    <a:pt x="377825" y="96520"/>
                    <a:pt x="229235" y="53340"/>
                    <a:pt x="156210" y="99060"/>
                  </a:cubicBezTo>
                  <a:cubicBezTo>
                    <a:pt x="83185" y="144780"/>
                    <a:pt x="41592" y="249555"/>
                    <a:pt x="0" y="354330"/>
                  </a:cubicBezTo>
                </a:path>
              </a:pathLst>
            </a:custGeom>
            <a:noFill/>
            <a:ln w="31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26" name="TextBox 210">
              <a:extLst>
                <a:ext uri="{FF2B5EF4-FFF2-40B4-BE49-F238E27FC236}">
                  <a16:creationId xmlns:a16="http://schemas.microsoft.com/office/drawing/2014/main" id="{651AB885-F53B-A9D0-5963-0FE1726293ED}"/>
                </a:ext>
              </a:extLst>
            </p:cNvPr>
            <p:cNvSpPr txBox="1"/>
            <p:nvPr/>
          </p:nvSpPr>
          <p:spPr>
            <a:xfrm>
              <a:off x="2389149" y="3948897"/>
              <a:ext cx="931718"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037CBA"/>
                  </a:solidFill>
                  <a:effectLst/>
                  <a:uLnTx/>
                  <a:uFillTx/>
                  <a:latin typeface="Arial"/>
                </a:rPr>
                <a:t>(2 days)</a:t>
              </a:r>
            </a:p>
          </p:txBody>
        </p:sp>
        <p:sp>
          <p:nvSpPr>
            <p:cNvPr id="127" name="Forma libre: forma 429">
              <a:extLst>
                <a:ext uri="{FF2B5EF4-FFF2-40B4-BE49-F238E27FC236}">
                  <a16:creationId xmlns:a16="http://schemas.microsoft.com/office/drawing/2014/main" id="{755883FA-2790-E901-7063-68C4BE6E70DB}"/>
                </a:ext>
              </a:extLst>
            </p:cNvPr>
            <p:cNvSpPr/>
            <p:nvPr/>
          </p:nvSpPr>
          <p:spPr>
            <a:xfrm>
              <a:off x="3230478" y="3326130"/>
              <a:ext cx="411882" cy="358140"/>
            </a:xfrm>
            <a:custGeom>
              <a:avLst/>
              <a:gdLst>
                <a:gd name="connsiteX0" fmla="*/ 99462 w 411882"/>
                <a:gd name="connsiteY0" fmla="*/ 358140 h 358140"/>
                <a:gd name="connsiteX1" fmla="*/ 402 w 411882"/>
                <a:gd name="connsiteY1" fmla="*/ 316230 h 358140"/>
                <a:gd name="connsiteX2" fmla="*/ 80412 w 411882"/>
                <a:gd name="connsiteY2" fmla="*/ 236220 h 358140"/>
                <a:gd name="connsiteX3" fmla="*/ 411882 w 411882"/>
                <a:gd name="connsiteY3" fmla="*/ 0 h 358140"/>
              </a:gdLst>
              <a:ahLst/>
              <a:cxnLst>
                <a:cxn ang="0">
                  <a:pos x="connsiteX0" y="connsiteY0"/>
                </a:cxn>
                <a:cxn ang="0">
                  <a:pos x="connsiteX1" y="connsiteY1"/>
                </a:cxn>
                <a:cxn ang="0">
                  <a:pos x="connsiteX2" y="connsiteY2"/>
                </a:cxn>
                <a:cxn ang="0">
                  <a:pos x="connsiteX3" y="connsiteY3"/>
                </a:cxn>
              </a:cxnLst>
              <a:rect l="l" t="t" r="r" b="b"/>
              <a:pathLst>
                <a:path w="411882" h="358140">
                  <a:moveTo>
                    <a:pt x="99462" y="358140"/>
                  </a:moveTo>
                  <a:cubicBezTo>
                    <a:pt x="51519" y="347345"/>
                    <a:pt x="3577" y="336550"/>
                    <a:pt x="402" y="316230"/>
                  </a:cubicBezTo>
                  <a:cubicBezTo>
                    <a:pt x="-2773" y="295910"/>
                    <a:pt x="11832" y="288925"/>
                    <a:pt x="80412" y="236220"/>
                  </a:cubicBezTo>
                  <a:cubicBezTo>
                    <a:pt x="148992" y="183515"/>
                    <a:pt x="362352" y="24765"/>
                    <a:pt x="411882" y="0"/>
                  </a:cubicBezTo>
                </a:path>
              </a:pathLst>
            </a:custGeom>
            <a:noFill/>
            <a:ln w="3175" cap="flat" cmpd="sng" algn="ctr">
              <a:solidFill>
                <a:srgbClr val="037CB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28" name="TextBox 210">
              <a:extLst>
                <a:ext uri="{FF2B5EF4-FFF2-40B4-BE49-F238E27FC236}">
                  <a16:creationId xmlns:a16="http://schemas.microsoft.com/office/drawing/2014/main" id="{BBE3DFFD-FE56-A5C9-D94D-7D4BBE822B62}"/>
                </a:ext>
              </a:extLst>
            </p:cNvPr>
            <p:cNvSpPr txBox="1"/>
            <p:nvPr/>
          </p:nvSpPr>
          <p:spPr>
            <a:xfrm>
              <a:off x="3582126" y="3145779"/>
              <a:ext cx="931718" cy="293017"/>
            </a:xfrm>
            <a:prstGeom prst="rect">
              <a:avLst/>
            </a:prstGeom>
            <a:noFill/>
          </p:spPr>
          <p:txBody>
            <a:bodyPr wrap="square" lIns="108000" tIns="108000" rIns="108000" bIns="108000" rtlCol="0">
              <a:noAutofit/>
            </a:bodyPr>
            <a:lstStyle/>
            <a:p>
              <a:pPr marL="0" marR="0" lvl="0" indent="0" defTabSz="914400" eaLnBrk="1" fontAlgn="auto" latinLnBrk="0" hangingPunct="1">
                <a:lnSpc>
                  <a:spcPct val="100000"/>
                </a:lnSpc>
                <a:spcBef>
                  <a:spcPts val="0"/>
                </a:spcBef>
                <a:spcAft>
                  <a:spcPts val="600"/>
                </a:spcAft>
                <a:buClr>
                  <a:srgbClr val="000000"/>
                </a:buClr>
                <a:buSzTx/>
                <a:buFontTx/>
                <a:buNone/>
                <a:tabLst/>
                <a:defRPr/>
              </a:pPr>
              <a:r>
                <a:rPr kumimoji="0" lang="en-US" sz="800" b="1" i="1" u="none" strike="noStrike" kern="0" cap="none" spc="0" normalizeH="0" baseline="0" noProof="0" dirty="0">
                  <a:ln>
                    <a:noFill/>
                  </a:ln>
                  <a:solidFill>
                    <a:srgbClr val="037CBA"/>
                  </a:solidFill>
                  <a:effectLst/>
                  <a:uLnTx/>
                  <a:uFillTx/>
                  <a:latin typeface="Arial"/>
                </a:rPr>
                <a:t>(0 days)</a:t>
              </a:r>
            </a:p>
          </p:txBody>
        </p:sp>
      </p:grpSp>
      <p:sp>
        <p:nvSpPr>
          <p:cNvPr id="129" name="TextBox 128">
            <a:extLst>
              <a:ext uri="{FF2B5EF4-FFF2-40B4-BE49-F238E27FC236}">
                <a16:creationId xmlns:a16="http://schemas.microsoft.com/office/drawing/2014/main" id="{EF08A86D-309D-35D1-95AB-D44EEE82C55D}"/>
              </a:ext>
            </a:extLst>
          </p:cNvPr>
          <p:cNvSpPr txBox="1"/>
          <p:nvPr/>
        </p:nvSpPr>
        <p:spPr>
          <a:xfrm>
            <a:off x="1014765" y="1528263"/>
            <a:ext cx="758955" cy="47451"/>
          </a:xfrm>
          <a:prstGeom prst="rect">
            <a:avLst/>
          </a:prstGeom>
          <a:solidFill>
            <a:srgbClr val="DC3832"/>
          </a:solidFill>
          <a:ln>
            <a:noFill/>
          </a:ln>
        </p:spPr>
        <p:txBody>
          <a:bodyPr wrap="square" lIns="108000" tIns="108000" rIns="108000" bIns="108000" rtlCol="0" anchor="ctr">
            <a:noAutofit/>
          </a:bodyPr>
          <a:lstStyle/>
          <a:p>
            <a:pPr algn="ctr" eaLnBrk="1" fontAlgn="auto" hangingPunct="1">
              <a:spcBef>
                <a:spcPts val="0"/>
              </a:spcBef>
              <a:spcAft>
                <a:spcPts val="600"/>
              </a:spcAft>
              <a:buClr>
                <a:srgbClr val="000000"/>
              </a:buClr>
            </a:pPr>
            <a:endParaRPr lang="en-US" sz="1050" b="1" noProof="0" dirty="0">
              <a:solidFill>
                <a:prstClr val="white"/>
              </a:solidFill>
              <a:latin typeface="Arial"/>
            </a:endParaRPr>
          </a:p>
        </p:txBody>
      </p:sp>
      <p:sp>
        <p:nvSpPr>
          <p:cNvPr id="130" name="TextBox 129">
            <a:extLst>
              <a:ext uri="{FF2B5EF4-FFF2-40B4-BE49-F238E27FC236}">
                <a16:creationId xmlns:a16="http://schemas.microsoft.com/office/drawing/2014/main" id="{330BC3C0-6642-D492-844C-EAE96B886410}"/>
              </a:ext>
            </a:extLst>
          </p:cNvPr>
          <p:cNvSpPr txBox="1"/>
          <p:nvPr/>
        </p:nvSpPr>
        <p:spPr>
          <a:xfrm>
            <a:off x="944555" y="1592818"/>
            <a:ext cx="5526020" cy="215444"/>
          </a:xfrm>
          <a:prstGeom prst="rect">
            <a:avLst/>
          </a:prstGeom>
          <a:noFill/>
        </p:spPr>
        <p:txBody>
          <a:bodyPr wrap="square">
            <a:spAutoFit/>
          </a:bodyPr>
          <a:lstStyle/>
          <a:p>
            <a:pPr eaLnBrk="1" fontAlgn="auto" hangingPunct="1">
              <a:spcBef>
                <a:spcPts val="0"/>
              </a:spcBef>
              <a:spcAft>
                <a:spcPts val="0"/>
              </a:spcAft>
            </a:pPr>
            <a:r>
              <a:rPr lang="en-US" sz="800" b="1" noProof="0" dirty="0">
                <a:solidFill>
                  <a:srgbClr val="003863"/>
                </a:solidFill>
                <a:latin typeface="Arial"/>
              </a:rPr>
              <a:t>(# days since they were disconnected)</a:t>
            </a:r>
            <a:endParaRPr lang="en-US" sz="800" noProof="0" dirty="0">
              <a:solidFill>
                <a:srgbClr val="000000"/>
              </a:solidFill>
              <a:latin typeface="Arial"/>
            </a:endParaRPr>
          </a:p>
        </p:txBody>
      </p:sp>
      <p:sp>
        <p:nvSpPr>
          <p:cNvPr id="12" name="TextBox 11">
            <a:extLst>
              <a:ext uri="{FF2B5EF4-FFF2-40B4-BE49-F238E27FC236}">
                <a16:creationId xmlns:a16="http://schemas.microsoft.com/office/drawing/2014/main" id="{4C05848D-0F9D-B8F7-94F3-4D1FBA6C22BC}"/>
              </a:ext>
            </a:extLst>
          </p:cNvPr>
          <p:cNvSpPr txBox="1"/>
          <p:nvPr/>
        </p:nvSpPr>
        <p:spPr>
          <a:xfrm>
            <a:off x="-71021" y="6581782"/>
            <a:ext cx="7833783" cy="333375"/>
          </a:xfrm>
          <a:prstGeom prst="rect">
            <a:avLst/>
          </a:prstGeom>
          <a:noFill/>
        </p:spPr>
        <p:txBody>
          <a:bodyPr wrap="square" lIns="108000" tIns="108000" rIns="108000" bIns="108000" rtlCol="0">
            <a:noAutofit/>
          </a:bodyPr>
          <a:lstStyle/>
          <a:p>
            <a:pPr eaLnBrk="1" fontAlgn="auto" hangingPunct="1">
              <a:spcBef>
                <a:spcPts val="0"/>
              </a:spcBef>
              <a:spcAft>
                <a:spcPts val="600"/>
              </a:spcAft>
              <a:buClr>
                <a:srgbClr val="000000"/>
              </a:buClr>
            </a:pPr>
            <a:r>
              <a:rPr lang="en-US" sz="900" noProof="0" dirty="0">
                <a:solidFill>
                  <a:srgbClr val="000000"/>
                </a:solidFill>
                <a:latin typeface="Aptos Light" panose="020B0004020202020204" pitchFamily="34" charset="0"/>
              </a:rPr>
              <a:t>Source: Own elaboration with data from REE and AELEC Members</a:t>
            </a:r>
          </a:p>
        </p:txBody>
      </p:sp>
    </p:spTree>
    <p:extLst>
      <p:ext uri="{BB962C8B-B14F-4D97-AF65-F5344CB8AC3E}">
        <p14:creationId xmlns:p14="http://schemas.microsoft.com/office/powerpoint/2010/main" val="2518112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5616F-0BCE-A811-9595-0C6515439078}"/>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618473DC-80C5-FF21-AD94-2E988F159A26}"/>
              </a:ext>
            </a:extLst>
          </p:cNvPr>
          <p:cNvSpPr>
            <a:spLocks noGrp="1"/>
          </p:cNvSpPr>
          <p:nvPr>
            <p:ph type="body" sz="quarter" idx="10"/>
          </p:nvPr>
        </p:nvSpPr>
        <p:spPr>
          <a:xfrm>
            <a:off x="352426" y="976235"/>
            <a:ext cx="5531540" cy="4847481"/>
          </a:xfrm>
        </p:spPr>
        <p:txBody>
          <a:bodyPr/>
          <a:lstStyle/>
          <a:p>
            <a:r>
              <a:rPr lang="en-US" noProof="0" dirty="0"/>
              <a:t>02</a:t>
            </a:r>
          </a:p>
        </p:txBody>
      </p:sp>
      <p:sp>
        <p:nvSpPr>
          <p:cNvPr id="11" name="Title 1">
            <a:extLst>
              <a:ext uri="{FF2B5EF4-FFF2-40B4-BE49-F238E27FC236}">
                <a16:creationId xmlns:a16="http://schemas.microsoft.com/office/drawing/2014/main" id="{DAA593B6-393C-D25A-8694-3ECFBB6B0BF8}"/>
              </a:ext>
            </a:extLst>
          </p:cNvPr>
          <p:cNvSpPr>
            <a:spLocks noGrp="1"/>
          </p:cNvSpPr>
          <p:nvPr>
            <p:ph type="title"/>
          </p:nvPr>
        </p:nvSpPr>
        <p:spPr/>
        <p:txBody>
          <a:bodyPr/>
          <a:lstStyle/>
          <a:p>
            <a:r>
              <a:rPr lang="en-US" noProof="0" dirty="0"/>
              <a:t>Sequence of events leading to the blackout </a:t>
            </a:r>
          </a:p>
        </p:txBody>
      </p:sp>
      <p:sp>
        <p:nvSpPr>
          <p:cNvPr id="2" name="Text Placeholder 1">
            <a:extLst>
              <a:ext uri="{FF2B5EF4-FFF2-40B4-BE49-F238E27FC236}">
                <a16:creationId xmlns:a16="http://schemas.microsoft.com/office/drawing/2014/main" id="{1F8FC450-9D23-44FF-4251-46189D87F5D6}"/>
              </a:ext>
            </a:extLst>
          </p:cNvPr>
          <p:cNvSpPr>
            <a:spLocks noGrp="1"/>
          </p:cNvSpPr>
          <p:nvPr>
            <p:ph type="body" idx="1"/>
          </p:nvPr>
        </p:nvSpPr>
        <p:spPr/>
        <p:txBody>
          <a:bodyPr/>
          <a:lstStyle/>
          <a:p>
            <a:endParaRPr lang="en-US" sz="3200" noProof="0" dirty="0"/>
          </a:p>
        </p:txBody>
      </p:sp>
      <p:sp>
        <p:nvSpPr>
          <p:cNvPr id="3" name="Slide Number Placeholder 2" hidden="1">
            <a:extLst>
              <a:ext uri="{FF2B5EF4-FFF2-40B4-BE49-F238E27FC236}">
                <a16:creationId xmlns:a16="http://schemas.microsoft.com/office/drawing/2014/main" id="{55218EDE-4782-7E6F-537A-C38E01ADBDBE}"/>
              </a:ext>
            </a:extLst>
          </p:cNvPr>
          <p:cNvSpPr>
            <a:spLocks noGrp="1"/>
          </p:cNvSpPr>
          <p:nvPr>
            <p:ph type="sldNum" sz="quarter" idx="4294967295"/>
          </p:nvPr>
        </p:nvSpPr>
        <p:spPr>
          <a:xfrm>
            <a:off x="9448800" y="6205538"/>
            <a:ext cx="2743200" cy="255587"/>
          </a:xfrm>
        </p:spPr>
        <p:txBody>
          <a:bodyPr/>
          <a:lstStyle/>
          <a:p>
            <a:pPr>
              <a:spcAft>
                <a:spcPts val="600"/>
              </a:spcAft>
            </a:pPr>
            <a:fld id="{393ADBA8-77A2-4533-9BC5-08370409A084}" type="slidenum">
              <a:rPr lang="en-US" noProof="0" smtClean="0"/>
              <a:pPr>
                <a:spcAft>
                  <a:spcPts val="600"/>
                </a:spcAft>
              </a:pPr>
              <a:t>12</a:t>
            </a:fld>
            <a:endParaRPr lang="en-US" noProof="0" dirty="0"/>
          </a:p>
        </p:txBody>
      </p:sp>
    </p:spTree>
    <p:extLst>
      <p:ext uri="{BB962C8B-B14F-4D97-AF65-F5344CB8AC3E}">
        <p14:creationId xmlns:p14="http://schemas.microsoft.com/office/powerpoint/2010/main" val="1886538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3DFE2-E423-5C79-1B92-2FF6465FAE57}"/>
            </a:ext>
          </a:extLst>
        </p:cNvPr>
        <p:cNvGrpSpPr/>
        <p:nvPr/>
      </p:nvGrpSpPr>
      <p:grpSpPr>
        <a:xfrm>
          <a:off x="0" y="0"/>
          <a:ext cx="0" cy="0"/>
          <a:chOff x="0" y="0"/>
          <a:chExt cx="0" cy="0"/>
        </a:xfrm>
      </p:grpSpPr>
      <p:pic>
        <p:nvPicPr>
          <p:cNvPr id="27" name="Graphic 26">
            <a:extLst>
              <a:ext uri="{FF2B5EF4-FFF2-40B4-BE49-F238E27FC236}">
                <a16:creationId xmlns:a16="http://schemas.microsoft.com/office/drawing/2014/main" id="{D3A57F1D-9F87-ABC3-206E-C212A370D610}"/>
              </a:ext>
            </a:extLst>
          </p:cNvPr>
          <p:cNvPicPr>
            <a:picLocks noChangeAspect="1"/>
          </p:cNvPicPr>
          <p:nvPr/>
        </p:nvPicPr>
        <p:blipFill>
          <a:blip r:embed="rId3">
            <a:extLst>
              <a:ext uri="{96DAC541-7B7A-43D3-8B79-37D633B846F1}">
                <asvg:svgBlip xmlns:asvg="http://schemas.microsoft.com/office/drawing/2016/SVG/main" r:embed="rId4"/>
              </a:ext>
            </a:extLst>
          </a:blip>
          <a:srcRect l="6288" t="9230" r="9004" b="2866"/>
          <a:stretch>
            <a:fillRect/>
          </a:stretch>
        </p:blipFill>
        <p:spPr>
          <a:xfrm>
            <a:off x="760680" y="903402"/>
            <a:ext cx="10774223" cy="5571029"/>
          </a:xfrm>
          <a:prstGeom prst="rect">
            <a:avLst/>
          </a:prstGeom>
        </p:spPr>
      </p:pic>
      <p:sp>
        <p:nvSpPr>
          <p:cNvPr id="17" name="Rectangle 16">
            <a:extLst>
              <a:ext uri="{FF2B5EF4-FFF2-40B4-BE49-F238E27FC236}">
                <a16:creationId xmlns:a16="http://schemas.microsoft.com/office/drawing/2014/main" id="{CF0A67C2-56F1-6564-ADD5-DD55597AA85E}"/>
              </a:ext>
            </a:extLst>
          </p:cNvPr>
          <p:cNvSpPr/>
          <p:nvPr/>
        </p:nvSpPr>
        <p:spPr>
          <a:xfrm>
            <a:off x="2414055" y="2209170"/>
            <a:ext cx="1005840" cy="91860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eform 346">
            <a:extLst>
              <a:ext uri="{FF2B5EF4-FFF2-40B4-BE49-F238E27FC236}">
                <a16:creationId xmlns:a16="http://schemas.microsoft.com/office/drawing/2014/main" id="{A49D7B95-2285-54EA-5633-B2CD8942C487}"/>
              </a:ext>
            </a:extLst>
          </p:cNvPr>
          <p:cNvSpPr>
            <a:spLocks/>
          </p:cNvSpPr>
          <p:nvPr/>
        </p:nvSpPr>
        <p:spPr bwMode="auto">
          <a:xfrm rot="6070979">
            <a:off x="3466017" y="3054618"/>
            <a:ext cx="131281" cy="131281"/>
          </a:xfrm>
          <a:custGeom>
            <a:avLst/>
            <a:gdLst>
              <a:gd name="T0" fmla="*/ 187 w 188"/>
              <a:gd name="T1" fmla="*/ 1 h 188"/>
              <a:gd name="T2" fmla="*/ 181 w 188"/>
              <a:gd name="T3" fmla="*/ 1 h 188"/>
              <a:gd name="T4" fmla="*/ 8 w 188"/>
              <a:gd name="T5" fmla="*/ 174 h 188"/>
              <a:gd name="T6" fmla="*/ 8 w 188"/>
              <a:gd name="T7" fmla="*/ 76 h 188"/>
              <a:gd name="T8" fmla="*/ 4 w 188"/>
              <a:gd name="T9" fmla="*/ 72 h 188"/>
              <a:gd name="T10" fmla="*/ 0 w 188"/>
              <a:gd name="T11" fmla="*/ 76 h 188"/>
              <a:gd name="T12" fmla="*/ 0 w 188"/>
              <a:gd name="T13" fmla="*/ 184 h 188"/>
              <a:gd name="T14" fmla="*/ 0 w 188"/>
              <a:gd name="T15" fmla="*/ 186 h 188"/>
              <a:gd name="T16" fmla="*/ 2 w 188"/>
              <a:gd name="T17" fmla="*/ 188 h 188"/>
              <a:gd name="T18" fmla="*/ 4 w 188"/>
              <a:gd name="T19" fmla="*/ 188 h 188"/>
              <a:gd name="T20" fmla="*/ 112 w 188"/>
              <a:gd name="T21" fmla="*/ 188 h 188"/>
              <a:gd name="T22" fmla="*/ 116 w 188"/>
              <a:gd name="T23" fmla="*/ 184 h 188"/>
              <a:gd name="T24" fmla="*/ 112 w 188"/>
              <a:gd name="T25" fmla="*/ 180 h 188"/>
              <a:gd name="T26" fmla="*/ 14 w 188"/>
              <a:gd name="T27" fmla="*/ 180 h 188"/>
              <a:gd name="T28" fmla="*/ 187 w 188"/>
              <a:gd name="T29" fmla="*/ 7 h 188"/>
              <a:gd name="T30" fmla="*/ 187 w 188"/>
              <a:gd name="T31" fmla="*/ 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188">
                <a:moveTo>
                  <a:pt x="187" y="1"/>
                </a:moveTo>
                <a:cubicBezTo>
                  <a:pt x="185" y="0"/>
                  <a:pt x="183" y="0"/>
                  <a:pt x="181" y="1"/>
                </a:cubicBezTo>
                <a:cubicBezTo>
                  <a:pt x="8" y="174"/>
                  <a:pt x="8" y="174"/>
                  <a:pt x="8" y="174"/>
                </a:cubicBezTo>
                <a:cubicBezTo>
                  <a:pt x="8" y="76"/>
                  <a:pt x="8" y="76"/>
                  <a:pt x="8" y="76"/>
                </a:cubicBezTo>
                <a:cubicBezTo>
                  <a:pt x="8" y="74"/>
                  <a:pt x="6" y="72"/>
                  <a:pt x="4" y="72"/>
                </a:cubicBezTo>
                <a:cubicBezTo>
                  <a:pt x="2" y="72"/>
                  <a:pt x="0" y="74"/>
                  <a:pt x="0" y="76"/>
                </a:cubicBezTo>
                <a:cubicBezTo>
                  <a:pt x="0" y="184"/>
                  <a:pt x="0" y="184"/>
                  <a:pt x="0" y="184"/>
                </a:cubicBezTo>
                <a:cubicBezTo>
                  <a:pt x="0" y="185"/>
                  <a:pt x="0" y="185"/>
                  <a:pt x="0" y="186"/>
                </a:cubicBezTo>
                <a:cubicBezTo>
                  <a:pt x="1" y="187"/>
                  <a:pt x="1" y="187"/>
                  <a:pt x="2" y="188"/>
                </a:cubicBezTo>
                <a:cubicBezTo>
                  <a:pt x="3" y="188"/>
                  <a:pt x="3" y="188"/>
                  <a:pt x="4" y="188"/>
                </a:cubicBezTo>
                <a:cubicBezTo>
                  <a:pt x="112" y="188"/>
                  <a:pt x="112" y="188"/>
                  <a:pt x="112" y="188"/>
                </a:cubicBezTo>
                <a:cubicBezTo>
                  <a:pt x="114" y="188"/>
                  <a:pt x="116" y="186"/>
                  <a:pt x="116" y="184"/>
                </a:cubicBezTo>
                <a:cubicBezTo>
                  <a:pt x="116" y="182"/>
                  <a:pt x="114" y="180"/>
                  <a:pt x="112" y="180"/>
                </a:cubicBezTo>
                <a:cubicBezTo>
                  <a:pt x="14" y="180"/>
                  <a:pt x="14" y="180"/>
                  <a:pt x="14" y="180"/>
                </a:cubicBezTo>
                <a:cubicBezTo>
                  <a:pt x="187" y="7"/>
                  <a:pt x="187" y="7"/>
                  <a:pt x="187" y="7"/>
                </a:cubicBezTo>
                <a:cubicBezTo>
                  <a:pt x="188" y="5"/>
                  <a:pt x="188" y="3"/>
                  <a:pt x="187" y="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9" name="Rectangle 18">
            <a:extLst>
              <a:ext uri="{FF2B5EF4-FFF2-40B4-BE49-F238E27FC236}">
                <a16:creationId xmlns:a16="http://schemas.microsoft.com/office/drawing/2014/main" id="{B368AE7A-4011-9521-EA7C-54D0B6038316}"/>
              </a:ext>
            </a:extLst>
          </p:cNvPr>
          <p:cNvSpPr/>
          <p:nvPr/>
        </p:nvSpPr>
        <p:spPr>
          <a:xfrm>
            <a:off x="8271274" y="2828993"/>
            <a:ext cx="392957" cy="91860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eform 346">
            <a:extLst>
              <a:ext uri="{FF2B5EF4-FFF2-40B4-BE49-F238E27FC236}">
                <a16:creationId xmlns:a16="http://schemas.microsoft.com/office/drawing/2014/main" id="{D58D2026-8139-8F17-F649-B8D593E51211}"/>
              </a:ext>
            </a:extLst>
          </p:cNvPr>
          <p:cNvSpPr>
            <a:spLocks/>
          </p:cNvSpPr>
          <p:nvPr/>
        </p:nvSpPr>
        <p:spPr bwMode="auto">
          <a:xfrm rot="11382081">
            <a:off x="8039995" y="3623276"/>
            <a:ext cx="131281" cy="131281"/>
          </a:xfrm>
          <a:custGeom>
            <a:avLst/>
            <a:gdLst>
              <a:gd name="T0" fmla="*/ 187 w 188"/>
              <a:gd name="T1" fmla="*/ 1 h 188"/>
              <a:gd name="T2" fmla="*/ 181 w 188"/>
              <a:gd name="T3" fmla="*/ 1 h 188"/>
              <a:gd name="T4" fmla="*/ 8 w 188"/>
              <a:gd name="T5" fmla="*/ 174 h 188"/>
              <a:gd name="T6" fmla="*/ 8 w 188"/>
              <a:gd name="T7" fmla="*/ 76 h 188"/>
              <a:gd name="T8" fmla="*/ 4 w 188"/>
              <a:gd name="T9" fmla="*/ 72 h 188"/>
              <a:gd name="T10" fmla="*/ 0 w 188"/>
              <a:gd name="T11" fmla="*/ 76 h 188"/>
              <a:gd name="T12" fmla="*/ 0 w 188"/>
              <a:gd name="T13" fmla="*/ 184 h 188"/>
              <a:gd name="T14" fmla="*/ 0 w 188"/>
              <a:gd name="T15" fmla="*/ 186 h 188"/>
              <a:gd name="T16" fmla="*/ 2 w 188"/>
              <a:gd name="T17" fmla="*/ 188 h 188"/>
              <a:gd name="T18" fmla="*/ 4 w 188"/>
              <a:gd name="T19" fmla="*/ 188 h 188"/>
              <a:gd name="T20" fmla="*/ 112 w 188"/>
              <a:gd name="T21" fmla="*/ 188 h 188"/>
              <a:gd name="T22" fmla="*/ 116 w 188"/>
              <a:gd name="T23" fmla="*/ 184 h 188"/>
              <a:gd name="T24" fmla="*/ 112 w 188"/>
              <a:gd name="T25" fmla="*/ 180 h 188"/>
              <a:gd name="T26" fmla="*/ 14 w 188"/>
              <a:gd name="T27" fmla="*/ 180 h 188"/>
              <a:gd name="T28" fmla="*/ 187 w 188"/>
              <a:gd name="T29" fmla="*/ 7 h 188"/>
              <a:gd name="T30" fmla="*/ 187 w 188"/>
              <a:gd name="T31" fmla="*/ 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188">
                <a:moveTo>
                  <a:pt x="187" y="1"/>
                </a:moveTo>
                <a:cubicBezTo>
                  <a:pt x="185" y="0"/>
                  <a:pt x="183" y="0"/>
                  <a:pt x="181" y="1"/>
                </a:cubicBezTo>
                <a:cubicBezTo>
                  <a:pt x="8" y="174"/>
                  <a:pt x="8" y="174"/>
                  <a:pt x="8" y="174"/>
                </a:cubicBezTo>
                <a:cubicBezTo>
                  <a:pt x="8" y="76"/>
                  <a:pt x="8" y="76"/>
                  <a:pt x="8" y="76"/>
                </a:cubicBezTo>
                <a:cubicBezTo>
                  <a:pt x="8" y="74"/>
                  <a:pt x="6" y="72"/>
                  <a:pt x="4" y="72"/>
                </a:cubicBezTo>
                <a:cubicBezTo>
                  <a:pt x="2" y="72"/>
                  <a:pt x="0" y="74"/>
                  <a:pt x="0" y="76"/>
                </a:cubicBezTo>
                <a:cubicBezTo>
                  <a:pt x="0" y="184"/>
                  <a:pt x="0" y="184"/>
                  <a:pt x="0" y="184"/>
                </a:cubicBezTo>
                <a:cubicBezTo>
                  <a:pt x="0" y="185"/>
                  <a:pt x="0" y="185"/>
                  <a:pt x="0" y="186"/>
                </a:cubicBezTo>
                <a:cubicBezTo>
                  <a:pt x="1" y="187"/>
                  <a:pt x="1" y="187"/>
                  <a:pt x="2" y="188"/>
                </a:cubicBezTo>
                <a:cubicBezTo>
                  <a:pt x="3" y="188"/>
                  <a:pt x="3" y="188"/>
                  <a:pt x="4" y="188"/>
                </a:cubicBezTo>
                <a:cubicBezTo>
                  <a:pt x="112" y="188"/>
                  <a:pt x="112" y="188"/>
                  <a:pt x="112" y="188"/>
                </a:cubicBezTo>
                <a:cubicBezTo>
                  <a:pt x="114" y="188"/>
                  <a:pt x="116" y="186"/>
                  <a:pt x="116" y="184"/>
                </a:cubicBezTo>
                <a:cubicBezTo>
                  <a:pt x="116" y="182"/>
                  <a:pt x="114" y="180"/>
                  <a:pt x="112" y="180"/>
                </a:cubicBezTo>
                <a:cubicBezTo>
                  <a:pt x="14" y="180"/>
                  <a:pt x="14" y="180"/>
                  <a:pt x="14" y="180"/>
                </a:cubicBezTo>
                <a:cubicBezTo>
                  <a:pt x="187" y="7"/>
                  <a:pt x="187" y="7"/>
                  <a:pt x="187" y="7"/>
                </a:cubicBezTo>
                <a:cubicBezTo>
                  <a:pt x="188" y="5"/>
                  <a:pt x="188" y="3"/>
                  <a:pt x="187" y="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46">
            <a:extLst>
              <a:ext uri="{FF2B5EF4-FFF2-40B4-BE49-F238E27FC236}">
                <a16:creationId xmlns:a16="http://schemas.microsoft.com/office/drawing/2014/main" id="{11049A0C-B797-F96E-3D91-CD52E5346A6E}"/>
              </a:ext>
            </a:extLst>
          </p:cNvPr>
          <p:cNvSpPr>
            <a:spLocks/>
          </p:cNvSpPr>
          <p:nvPr/>
        </p:nvSpPr>
        <p:spPr bwMode="auto">
          <a:xfrm rot="5059414">
            <a:off x="9436643" y="4338745"/>
            <a:ext cx="131281" cy="131281"/>
          </a:xfrm>
          <a:custGeom>
            <a:avLst/>
            <a:gdLst>
              <a:gd name="T0" fmla="*/ 187 w 188"/>
              <a:gd name="T1" fmla="*/ 1 h 188"/>
              <a:gd name="T2" fmla="*/ 181 w 188"/>
              <a:gd name="T3" fmla="*/ 1 h 188"/>
              <a:gd name="T4" fmla="*/ 8 w 188"/>
              <a:gd name="T5" fmla="*/ 174 h 188"/>
              <a:gd name="T6" fmla="*/ 8 w 188"/>
              <a:gd name="T7" fmla="*/ 76 h 188"/>
              <a:gd name="T8" fmla="*/ 4 w 188"/>
              <a:gd name="T9" fmla="*/ 72 h 188"/>
              <a:gd name="T10" fmla="*/ 0 w 188"/>
              <a:gd name="T11" fmla="*/ 76 h 188"/>
              <a:gd name="T12" fmla="*/ 0 w 188"/>
              <a:gd name="T13" fmla="*/ 184 h 188"/>
              <a:gd name="T14" fmla="*/ 0 w 188"/>
              <a:gd name="T15" fmla="*/ 186 h 188"/>
              <a:gd name="T16" fmla="*/ 2 w 188"/>
              <a:gd name="T17" fmla="*/ 188 h 188"/>
              <a:gd name="T18" fmla="*/ 4 w 188"/>
              <a:gd name="T19" fmla="*/ 188 h 188"/>
              <a:gd name="T20" fmla="*/ 112 w 188"/>
              <a:gd name="T21" fmla="*/ 188 h 188"/>
              <a:gd name="T22" fmla="*/ 116 w 188"/>
              <a:gd name="T23" fmla="*/ 184 h 188"/>
              <a:gd name="T24" fmla="*/ 112 w 188"/>
              <a:gd name="T25" fmla="*/ 180 h 188"/>
              <a:gd name="T26" fmla="*/ 14 w 188"/>
              <a:gd name="T27" fmla="*/ 180 h 188"/>
              <a:gd name="T28" fmla="*/ 187 w 188"/>
              <a:gd name="T29" fmla="*/ 7 h 188"/>
              <a:gd name="T30" fmla="*/ 187 w 188"/>
              <a:gd name="T31" fmla="*/ 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188">
                <a:moveTo>
                  <a:pt x="187" y="1"/>
                </a:moveTo>
                <a:cubicBezTo>
                  <a:pt x="185" y="0"/>
                  <a:pt x="183" y="0"/>
                  <a:pt x="181" y="1"/>
                </a:cubicBezTo>
                <a:cubicBezTo>
                  <a:pt x="8" y="174"/>
                  <a:pt x="8" y="174"/>
                  <a:pt x="8" y="174"/>
                </a:cubicBezTo>
                <a:cubicBezTo>
                  <a:pt x="8" y="76"/>
                  <a:pt x="8" y="76"/>
                  <a:pt x="8" y="76"/>
                </a:cubicBezTo>
                <a:cubicBezTo>
                  <a:pt x="8" y="74"/>
                  <a:pt x="6" y="72"/>
                  <a:pt x="4" y="72"/>
                </a:cubicBezTo>
                <a:cubicBezTo>
                  <a:pt x="2" y="72"/>
                  <a:pt x="0" y="74"/>
                  <a:pt x="0" y="76"/>
                </a:cubicBezTo>
                <a:cubicBezTo>
                  <a:pt x="0" y="184"/>
                  <a:pt x="0" y="184"/>
                  <a:pt x="0" y="184"/>
                </a:cubicBezTo>
                <a:cubicBezTo>
                  <a:pt x="0" y="185"/>
                  <a:pt x="0" y="185"/>
                  <a:pt x="0" y="186"/>
                </a:cubicBezTo>
                <a:cubicBezTo>
                  <a:pt x="1" y="187"/>
                  <a:pt x="1" y="187"/>
                  <a:pt x="2" y="188"/>
                </a:cubicBezTo>
                <a:cubicBezTo>
                  <a:pt x="3" y="188"/>
                  <a:pt x="3" y="188"/>
                  <a:pt x="4" y="188"/>
                </a:cubicBezTo>
                <a:cubicBezTo>
                  <a:pt x="112" y="188"/>
                  <a:pt x="112" y="188"/>
                  <a:pt x="112" y="188"/>
                </a:cubicBezTo>
                <a:cubicBezTo>
                  <a:pt x="114" y="188"/>
                  <a:pt x="116" y="186"/>
                  <a:pt x="116" y="184"/>
                </a:cubicBezTo>
                <a:cubicBezTo>
                  <a:pt x="116" y="182"/>
                  <a:pt x="114" y="180"/>
                  <a:pt x="112" y="180"/>
                </a:cubicBezTo>
                <a:cubicBezTo>
                  <a:pt x="14" y="180"/>
                  <a:pt x="14" y="180"/>
                  <a:pt x="14" y="180"/>
                </a:cubicBezTo>
                <a:cubicBezTo>
                  <a:pt x="187" y="7"/>
                  <a:pt x="187" y="7"/>
                  <a:pt x="187" y="7"/>
                </a:cubicBezTo>
                <a:cubicBezTo>
                  <a:pt x="188" y="5"/>
                  <a:pt x="188" y="3"/>
                  <a:pt x="187" y="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0">
            <a:extLst>
              <a:ext uri="{FF2B5EF4-FFF2-40B4-BE49-F238E27FC236}">
                <a16:creationId xmlns:a16="http://schemas.microsoft.com/office/drawing/2014/main" id="{9F1B8B06-22A8-9C2C-A437-066D207DB406}"/>
              </a:ext>
            </a:extLst>
          </p:cNvPr>
          <p:cNvSpPr/>
          <p:nvPr/>
        </p:nvSpPr>
        <p:spPr>
          <a:xfrm>
            <a:off x="8746174" y="3613153"/>
            <a:ext cx="602355" cy="234144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Rectangle 21">
            <a:extLst>
              <a:ext uri="{FF2B5EF4-FFF2-40B4-BE49-F238E27FC236}">
                <a16:creationId xmlns:a16="http://schemas.microsoft.com/office/drawing/2014/main" id="{2501E942-AE64-BD79-7D25-8E0065090247}"/>
              </a:ext>
            </a:extLst>
          </p:cNvPr>
          <p:cNvSpPr/>
          <p:nvPr/>
        </p:nvSpPr>
        <p:spPr>
          <a:xfrm>
            <a:off x="9383168" y="2862024"/>
            <a:ext cx="252443" cy="91860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eform 346">
            <a:extLst>
              <a:ext uri="{FF2B5EF4-FFF2-40B4-BE49-F238E27FC236}">
                <a16:creationId xmlns:a16="http://schemas.microsoft.com/office/drawing/2014/main" id="{1A9A185B-017A-D80B-0A35-FD65D0EC7662}"/>
              </a:ext>
            </a:extLst>
          </p:cNvPr>
          <p:cNvSpPr>
            <a:spLocks/>
          </p:cNvSpPr>
          <p:nvPr/>
        </p:nvSpPr>
        <p:spPr bwMode="auto">
          <a:xfrm rot="20976047">
            <a:off x="9637267" y="2700540"/>
            <a:ext cx="131281" cy="131281"/>
          </a:xfrm>
          <a:custGeom>
            <a:avLst/>
            <a:gdLst>
              <a:gd name="T0" fmla="*/ 187 w 188"/>
              <a:gd name="T1" fmla="*/ 1 h 188"/>
              <a:gd name="T2" fmla="*/ 181 w 188"/>
              <a:gd name="T3" fmla="*/ 1 h 188"/>
              <a:gd name="T4" fmla="*/ 8 w 188"/>
              <a:gd name="T5" fmla="*/ 174 h 188"/>
              <a:gd name="T6" fmla="*/ 8 w 188"/>
              <a:gd name="T7" fmla="*/ 76 h 188"/>
              <a:gd name="T8" fmla="*/ 4 w 188"/>
              <a:gd name="T9" fmla="*/ 72 h 188"/>
              <a:gd name="T10" fmla="*/ 0 w 188"/>
              <a:gd name="T11" fmla="*/ 76 h 188"/>
              <a:gd name="T12" fmla="*/ 0 w 188"/>
              <a:gd name="T13" fmla="*/ 184 h 188"/>
              <a:gd name="T14" fmla="*/ 0 w 188"/>
              <a:gd name="T15" fmla="*/ 186 h 188"/>
              <a:gd name="T16" fmla="*/ 2 w 188"/>
              <a:gd name="T17" fmla="*/ 188 h 188"/>
              <a:gd name="T18" fmla="*/ 4 w 188"/>
              <a:gd name="T19" fmla="*/ 188 h 188"/>
              <a:gd name="T20" fmla="*/ 112 w 188"/>
              <a:gd name="T21" fmla="*/ 188 h 188"/>
              <a:gd name="T22" fmla="*/ 116 w 188"/>
              <a:gd name="T23" fmla="*/ 184 h 188"/>
              <a:gd name="T24" fmla="*/ 112 w 188"/>
              <a:gd name="T25" fmla="*/ 180 h 188"/>
              <a:gd name="T26" fmla="*/ 14 w 188"/>
              <a:gd name="T27" fmla="*/ 180 h 188"/>
              <a:gd name="T28" fmla="*/ 187 w 188"/>
              <a:gd name="T29" fmla="*/ 7 h 188"/>
              <a:gd name="T30" fmla="*/ 187 w 188"/>
              <a:gd name="T31" fmla="*/ 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188">
                <a:moveTo>
                  <a:pt x="187" y="1"/>
                </a:moveTo>
                <a:cubicBezTo>
                  <a:pt x="185" y="0"/>
                  <a:pt x="183" y="0"/>
                  <a:pt x="181" y="1"/>
                </a:cubicBezTo>
                <a:cubicBezTo>
                  <a:pt x="8" y="174"/>
                  <a:pt x="8" y="174"/>
                  <a:pt x="8" y="174"/>
                </a:cubicBezTo>
                <a:cubicBezTo>
                  <a:pt x="8" y="76"/>
                  <a:pt x="8" y="76"/>
                  <a:pt x="8" y="76"/>
                </a:cubicBezTo>
                <a:cubicBezTo>
                  <a:pt x="8" y="74"/>
                  <a:pt x="6" y="72"/>
                  <a:pt x="4" y="72"/>
                </a:cubicBezTo>
                <a:cubicBezTo>
                  <a:pt x="2" y="72"/>
                  <a:pt x="0" y="74"/>
                  <a:pt x="0" y="76"/>
                </a:cubicBezTo>
                <a:cubicBezTo>
                  <a:pt x="0" y="184"/>
                  <a:pt x="0" y="184"/>
                  <a:pt x="0" y="184"/>
                </a:cubicBezTo>
                <a:cubicBezTo>
                  <a:pt x="0" y="185"/>
                  <a:pt x="0" y="185"/>
                  <a:pt x="0" y="186"/>
                </a:cubicBezTo>
                <a:cubicBezTo>
                  <a:pt x="1" y="187"/>
                  <a:pt x="1" y="187"/>
                  <a:pt x="2" y="188"/>
                </a:cubicBezTo>
                <a:cubicBezTo>
                  <a:pt x="3" y="188"/>
                  <a:pt x="3" y="188"/>
                  <a:pt x="4" y="188"/>
                </a:cubicBezTo>
                <a:cubicBezTo>
                  <a:pt x="112" y="188"/>
                  <a:pt x="112" y="188"/>
                  <a:pt x="112" y="188"/>
                </a:cubicBezTo>
                <a:cubicBezTo>
                  <a:pt x="114" y="188"/>
                  <a:pt x="116" y="186"/>
                  <a:pt x="116" y="184"/>
                </a:cubicBezTo>
                <a:cubicBezTo>
                  <a:pt x="116" y="182"/>
                  <a:pt x="114" y="180"/>
                  <a:pt x="112" y="180"/>
                </a:cubicBezTo>
                <a:cubicBezTo>
                  <a:pt x="14" y="180"/>
                  <a:pt x="14" y="180"/>
                  <a:pt x="14" y="180"/>
                </a:cubicBezTo>
                <a:cubicBezTo>
                  <a:pt x="187" y="7"/>
                  <a:pt x="187" y="7"/>
                  <a:pt x="187" y="7"/>
                </a:cubicBezTo>
                <a:cubicBezTo>
                  <a:pt x="188" y="5"/>
                  <a:pt x="188" y="3"/>
                  <a:pt x="187" y="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noProof="0" dirty="0"/>
          </a:p>
        </p:txBody>
      </p:sp>
      <p:grpSp>
        <p:nvGrpSpPr>
          <p:cNvPr id="16" name="Group 15">
            <a:extLst>
              <a:ext uri="{FF2B5EF4-FFF2-40B4-BE49-F238E27FC236}">
                <a16:creationId xmlns:a16="http://schemas.microsoft.com/office/drawing/2014/main" id="{FB434039-D8BC-BAED-FFB8-0849B270A4C2}"/>
              </a:ext>
            </a:extLst>
          </p:cNvPr>
          <p:cNvGrpSpPr/>
          <p:nvPr/>
        </p:nvGrpSpPr>
        <p:grpSpPr>
          <a:xfrm>
            <a:off x="9760270" y="2275051"/>
            <a:ext cx="1824511" cy="415499"/>
            <a:chOff x="9760270" y="2275051"/>
            <a:chExt cx="1824511" cy="415499"/>
          </a:xfrm>
          <a:effectLst>
            <a:outerShdw blurRad="50800" dist="38100" dir="8100000" algn="tr" rotWithShape="0">
              <a:prstClr val="black">
                <a:alpha val="40000"/>
              </a:prstClr>
            </a:outerShdw>
          </a:effectLst>
        </p:grpSpPr>
        <p:sp>
          <p:nvSpPr>
            <p:cNvPr id="23" name="TextBox 22">
              <a:extLst>
                <a:ext uri="{FF2B5EF4-FFF2-40B4-BE49-F238E27FC236}">
                  <a16:creationId xmlns:a16="http://schemas.microsoft.com/office/drawing/2014/main" id="{9F9A138E-E48F-CC8C-AA2D-690E4A11A8BF}"/>
                </a:ext>
              </a:extLst>
            </p:cNvPr>
            <p:cNvSpPr txBox="1"/>
            <p:nvPr/>
          </p:nvSpPr>
          <p:spPr>
            <a:xfrm>
              <a:off x="9760270" y="2475106"/>
              <a:ext cx="1824511" cy="215444"/>
            </a:xfrm>
            <a:prstGeom prst="rect">
              <a:avLst/>
            </a:prstGeom>
            <a:solidFill>
              <a:schemeClr val="bg1"/>
            </a:solidFill>
            <a:ln>
              <a:solidFill>
                <a:schemeClr val="tx1"/>
              </a:solidFill>
            </a:ln>
          </p:spPr>
          <p:txBody>
            <a:bodyPr wrap="square" rtlCol="0">
              <a:spAutoFit/>
            </a:bodyPr>
            <a:lstStyle/>
            <a:p>
              <a:pPr algn="ctr"/>
              <a:r>
                <a:rPr lang="en-US" sz="800" b="1" noProof="0" dirty="0"/>
                <a:t>Activation of </a:t>
              </a:r>
              <a:r>
                <a:rPr lang="en-US" sz="800" b="1" noProof="0" dirty="0" err="1"/>
                <a:t>LoS</a:t>
              </a:r>
              <a:r>
                <a:rPr lang="en-US" sz="800" b="1" noProof="0" dirty="0"/>
                <a:t> protections</a:t>
              </a:r>
            </a:p>
          </p:txBody>
        </p:sp>
        <p:sp>
          <p:nvSpPr>
            <p:cNvPr id="25" name="TextBox 24">
              <a:extLst>
                <a:ext uri="{FF2B5EF4-FFF2-40B4-BE49-F238E27FC236}">
                  <a16:creationId xmlns:a16="http://schemas.microsoft.com/office/drawing/2014/main" id="{C7136988-5793-83CE-D1D0-1FFD48CDFD2B}"/>
                </a:ext>
              </a:extLst>
            </p:cNvPr>
            <p:cNvSpPr txBox="1"/>
            <p:nvPr/>
          </p:nvSpPr>
          <p:spPr>
            <a:xfrm>
              <a:off x="9760271" y="2275051"/>
              <a:ext cx="1824510" cy="200055"/>
            </a:xfrm>
            <a:prstGeom prst="rect">
              <a:avLst/>
            </a:prstGeom>
            <a:solidFill>
              <a:schemeClr val="bg1"/>
            </a:solidFill>
            <a:ln>
              <a:solidFill>
                <a:schemeClr val="tx1"/>
              </a:solidFill>
            </a:ln>
          </p:spPr>
          <p:txBody>
            <a:bodyPr wrap="square" rtlCol="0">
              <a:spAutoFit/>
            </a:bodyPr>
            <a:lstStyle/>
            <a:p>
              <a:pPr algn="ctr"/>
              <a:r>
                <a:rPr lang="en-US" sz="700" noProof="0" dirty="0"/>
                <a:t>12:33:21 (CET/CEST)</a:t>
              </a:r>
            </a:p>
          </p:txBody>
        </p:sp>
      </p:grpSp>
      <p:sp>
        <p:nvSpPr>
          <p:cNvPr id="6" name="Title 5">
            <a:extLst>
              <a:ext uri="{FF2B5EF4-FFF2-40B4-BE49-F238E27FC236}">
                <a16:creationId xmlns:a16="http://schemas.microsoft.com/office/drawing/2014/main" id="{805CF615-37F4-7BCF-3AD7-019368FF3C74}"/>
              </a:ext>
            </a:extLst>
          </p:cNvPr>
          <p:cNvSpPr>
            <a:spLocks noGrp="1"/>
          </p:cNvSpPr>
          <p:nvPr>
            <p:ph type="title"/>
          </p:nvPr>
        </p:nvSpPr>
        <p:spPr/>
        <p:txBody>
          <a:bodyPr/>
          <a:lstStyle/>
          <a:p>
            <a:r>
              <a:rPr lang="en-US" noProof="0" dirty="0"/>
              <a:t>The main events</a:t>
            </a:r>
          </a:p>
        </p:txBody>
      </p:sp>
      <p:grpSp>
        <p:nvGrpSpPr>
          <p:cNvPr id="13" name="Group 12">
            <a:extLst>
              <a:ext uri="{FF2B5EF4-FFF2-40B4-BE49-F238E27FC236}">
                <a16:creationId xmlns:a16="http://schemas.microsoft.com/office/drawing/2014/main" id="{856A9E8E-47C7-3EB5-B505-B15AF9050902}"/>
              </a:ext>
            </a:extLst>
          </p:cNvPr>
          <p:cNvGrpSpPr/>
          <p:nvPr/>
        </p:nvGrpSpPr>
        <p:grpSpPr>
          <a:xfrm>
            <a:off x="3551175" y="3161494"/>
            <a:ext cx="1675700" cy="1489420"/>
            <a:chOff x="3551175" y="3161494"/>
            <a:chExt cx="1675700" cy="1489420"/>
          </a:xfrm>
          <a:effectLst>
            <a:outerShdw blurRad="50800" dist="38100" dir="8100000" algn="tr" rotWithShape="0">
              <a:prstClr val="black">
                <a:alpha val="40000"/>
              </a:prstClr>
            </a:outerShdw>
          </a:effectLst>
        </p:grpSpPr>
        <p:sp>
          <p:nvSpPr>
            <p:cNvPr id="5" name="TextBox 4">
              <a:extLst>
                <a:ext uri="{FF2B5EF4-FFF2-40B4-BE49-F238E27FC236}">
                  <a16:creationId xmlns:a16="http://schemas.microsoft.com/office/drawing/2014/main" id="{A7C50D61-1D2F-7811-EDAC-B2C0D36559F8}"/>
                </a:ext>
              </a:extLst>
            </p:cNvPr>
            <p:cNvSpPr txBox="1"/>
            <p:nvPr/>
          </p:nvSpPr>
          <p:spPr>
            <a:xfrm>
              <a:off x="3551175" y="3361549"/>
              <a:ext cx="1675699" cy="215444"/>
            </a:xfrm>
            <a:prstGeom prst="rect">
              <a:avLst/>
            </a:prstGeom>
            <a:solidFill>
              <a:schemeClr val="bg1"/>
            </a:solidFill>
            <a:ln>
              <a:solidFill>
                <a:schemeClr val="tx1"/>
              </a:solidFill>
            </a:ln>
          </p:spPr>
          <p:txBody>
            <a:bodyPr wrap="square" rtlCol="0">
              <a:spAutoFit/>
            </a:bodyPr>
            <a:lstStyle/>
            <a:p>
              <a:pPr algn="ctr"/>
              <a:r>
                <a:rPr lang="en-US" sz="800" b="1" noProof="0" dirty="0"/>
                <a:t>Granada</a:t>
              </a:r>
              <a:r>
                <a:rPr lang="en-US" sz="800" noProof="0" dirty="0"/>
                <a:t> (Andalusia, south-east)</a:t>
              </a:r>
            </a:p>
          </p:txBody>
        </p:sp>
        <p:sp>
          <p:nvSpPr>
            <p:cNvPr id="35" name="TextBox 34">
              <a:extLst>
                <a:ext uri="{FF2B5EF4-FFF2-40B4-BE49-F238E27FC236}">
                  <a16:creationId xmlns:a16="http://schemas.microsoft.com/office/drawing/2014/main" id="{B0AA43CC-27F7-A859-5C52-90BC72BC5D4F}"/>
                </a:ext>
              </a:extLst>
            </p:cNvPr>
            <p:cNvSpPr txBox="1"/>
            <p:nvPr/>
          </p:nvSpPr>
          <p:spPr>
            <a:xfrm>
              <a:off x="3551176" y="3161494"/>
              <a:ext cx="1675698" cy="200055"/>
            </a:xfrm>
            <a:prstGeom prst="rect">
              <a:avLst/>
            </a:prstGeom>
            <a:solidFill>
              <a:schemeClr val="bg1"/>
            </a:solidFill>
            <a:ln>
              <a:solidFill>
                <a:schemeClr val="tx1"/>
              </a:solidFill>
            </a:ln>
          </p:spPr>
          <p:txBody>
            <a:bodyPr wrap="square" rtlCol="0">
              <a:spAutoFit/>
            </a:bodyPr>
            <a:lstStyle/>
            <a:p>
              <a:pPr algn="ctr"/>
              <a:r>
                <a:rPr lang="en-US" sz="700" noProof="0" dirty="0"/>
                <a:t>12:32:57 (CET/CEST)</a:t>
              </a:r>
            </a:p>
          </p:txBody>
        </p:sp>
        <p:sp>
          <p:nvSpPr>
            <p:cNvPr id="8" name="TextBox 7">
              <a:extLst>
                <a:ext uri="{FF2B5EF4-FFF2-40B4-BE49-F238E27FC236}">
                  <a16:creationId xmlns:a16="http://schemas.microsoft.com/office/drawing/2014/main" id="{71431AFE-2CBC-15E4-23F4-047E606A249B}"/>
                </a:ext>
              </a:extLst>
            </p:cNvPr>
            <p:cNvSpPr txBox="1"/>
            <p:nvPr/>
          </p:nvSpPr>
          <p:spPr>
            <a:xfrm>
              <a:off x="3551176" y="3573696"/>
              <a:ext cx="1675699" cy="1077218"/>
            </a:xfrm>
            <a:prstGeom prst="rect">
              <a:avLst/>
            </a:prstGeom>
            <a:solidFill>
              <a:schemeClr val="bg1"/>
            </a:solidFill>
            <a:ln>
              <a:solidFill>
                <a:schemeClr val="tx1"/>
              </a:solidFill>
            </a:ln>
          </p:spPr>
          <p:txBody>
            <a:bodyPr wrap="square" rtlCol="0">
              <a:spAutoFit/>
            </a:bodyPr>
            <a:lstStyle/>
            <a:p>
              <a:r>
                <a:rPr lang="en-US" sz="800" noProof="0" dirty="0"/>
                <a:t>Generation transformer tripping while injecting </a:t>
              </a:r>
              <a:r>
                <a:rPr lang="en-US" sz="800" b="1" noProof="0" dirty="0"/>
                <a:t>355 MW </a:t>
              </a:r>
              <a:r>
                <a:rPr lang="en-US" sz="800" noProof="0" dirty="0"/>
                <a:t>in the 400 kV transmission grid.</a:t>
              </a:r>
            </a:p>
            <a:p>
              <a:r>
                <a:rPr lang="en-US" sz="800" b="1" noProof="0" dirty="0"/>
                <a:t>Cause: </a:t>
              </a:r>
              <a:r>
                <a:rPr lang="en-US" sz="800" noProof="0" dirty="0"/>
                <a:t>Transformer (third-party) owner reported the tripping of the overvoltage function on the 220 kV side. Although, there are no voltage measurements available.</a:t>
              </a:r>
            </a:p>
          </p:txBody>
        </p:sp>
      </p:grpSp>
      <p:grpSp>
        <p:nvGrpSpPr>
          <p:cNvPr id="14" name="Group 13">
            <a:extLst>
              <a:ext uri="{FF2B5EF4-FFF2-40B4-BE49-F238E27FC236}">
                <a16:creationId xmlns:a16="http://schemas.microsoft.com/office/drawing/2014/main" id="{51247D9E-2890-90FE-2ED6-C97AD3581E41}"/>
              </a:ext>
            </a:extLst>
          </p:cNvPr>
          <p:cNvGrpSpPr/>
          <p:nvPr/>
        </p:nvGrpSpPr>
        <p:grpSpPr>
          <a:xfrm>
            <a:off x="6202725" y="3739051"/>
            <a:ext cx="1824512" cy="996104"/>
            <a:chOff x="6202725" y="3739051"/>
            <a:chExt cx="1824512" cy="996104"/>
          </a:xfrm>
          <a:effectLst>
            <a:outerShdw blurRad="50800" dist="38100" dir="8100000" algn="tr" rotWithShape="0">
              <a:prstClr val="black">
                <a:alpha val="40000"/>
              </a:prstClr>
            </a:outerShdw>
          </a:effectLst>
        </p:grpSpPr>
        <p:sp>
          <p:nvSpPr>
            <p:cNvPr id="20" name="TextBox 19">
              <a:extLst>
                <a:ext uri="{FF2B5EF4-FFF2-40B4-BE49-F238E27FC236}">
                  <a16:creationId xmlns:a16="http://schemas.microsoft.com/office/drawing/2014/main" id="{186AE86E-96E0-153A-2F34-5E5075089534}"/>
                </a:ext>
              </a:extLst>
            </p:cNvPr>
            <p:cNvSpPr txBox="1"/>
            <p:nvPr/>
          </p:nvSpPr>
          <p:spPr>
            <a:xfrm>
              <a:off x="6202726" y="3938620"/>
              <a:ext cx="1824511" cy="215444"/>
            </a:xfrm>
            <a:prstGeom prst="rect">
              <a:avLst/>
            </a:prstGeom>
            <a:solidFill>
              <a:schemeClr val="bg1"/>
            </a:solidFill>
            <a:ln>
              <a:solidFill>
                <a:schemeClr val="tx1"/>
              </a:solidFill>
            </a:ln>
          </p:spPr>
          <p:txBody>
            <a:bodyPr wrap="square" rtlCol="0">
              <a:spAutoFit/>
            </a:bodyPr>
            <a:lstStyle/>
            <a:p>
              <a:pPr algn="ctr"/>
              <a:r>
                <a:rPr lang="en-US" sz="800" b="1" noProof="0" dirty="0"/>
                <a:t>Badajoz</a:t>
              </a:r>
              <a:r>
                <a:rPr lang="en-US" sz="800" noProof="0" dirty="0"/>
                <a:t> (Extremadura, south-west)</a:t>
              </a:r>
            </a:p>
          </p:txBody>
        </p:sp>
        <p:sp>
          <p:nvSpPr>
            <p:cNvPr id="36" name="TextBox 35">
              <a:extLst>
                <a:ext uri="{FF2B5EF4-FFF2-40B4-BE49-F238E27FC236}">
                  <a16:creationId xmlns:a16="http://schemas.microsoft.com/office/drawing/2014/main" id="{A62FBB4A-4D60-B743-B1FE-E62E1116D5C9}"/>
                </a:ext>
              </a:extLst>
            </p:cNvPr>
            <p:cNvSpPr txBox="1"/>
            <p:nvPr/>
          </p:nvSpPr>
          <p:spPr>
            <a:xfrm>
              <a:off x="6202727" y="3739051"/>
              <a:ext cx="1824510" cy="200055"/>
            </a:xfrm>
            <a:prstGeom prst="rect">
              <a:avLst/>
            </a:prstGeom>
            <a:solidFill>
              <a:schemeClr val="bg1"/>
            </a:solidFill>
            <a:ln>
              <a:solidFill>
                <a:schemeClr val="tx1"/>
              </a:solidFill>
            </a:ln>
          </p:spPr>
          <p:txBody>
            <a:bodyPr wrap="square" rtlCol="0">
              <a:spAutoFit/>
            </a:bodyPr>
            <a:lstStyle/>
            <a:p>
              <a:pPr algn="ctr"/>
              <a:r>
                <a:rPr lang="en-US" sz="700" noProof="0" dirty="0"/>
                <a:t>12:33:16 (CET/CEST)</a:t>
              </a:r>
            </a:p>
          </p:txBody>
        </p:sp>
        <p:sp>
          <p:nvSpPr>
            <p:cNvPr id="9" name="TextBox 8">
              <a:extLst>
                <a:ext uri="{FF2B5EF4-FFF2-40B4-BE49-F238E27FC236}">
                  <a16:creationId xmlns:a16="http://schemas.microsoft.com/office/drawing/2014/main" id="{D0078F82-A405-EBB7-564D-416B9F61E3F4}"/>
                </a:ext>
              </a:extLst>
            </p:cNvPr>
            <p:cNvSpPr txBox="1"/>
            <p:nvPr/>
          </p:nvSpPr>
          <p:spPr>
            <a:xfrm>
              <a:off x="6202725" y="4150380"/>
              <a:ext cx="1824511" cy="584775"/>
            </a:xfrm>
            <a:prstGeom prst="rect">
              <a:avLst/>
            </a:prstGeom>
            <a:solidFill>
              <a:schemeClr val="bg1"/>
            </a:solidFill>
            <a:ln>
              <a:solidFill>
                <a:schemeClr val="tx1"/>
              </a:solidFill>
            </a:ln>
          </p:spPr>
          <p:txBody>
            <a:bodyPr wrap="square" rtlCol="0">
              <a:spAutoFit/>
            </a:bodyPr>
            <a:lstStyle/>
            <a:p>
              <a:r>
                <a:rPr lang="en-US" sz="800" noProof="0" dirty="0"/>
                <a:t>Tripping of  </a:t>
              </a:r>
              <a:r>
                <a:rPr lang="en-US" sz="800" b="1" noProof="0" dirty="0"/>
                <a:t>725 MW </a:t>
              </a:r>
              <a:r>
                <a:rPr lang="en-US" sz="800" noProof="0" dirty="0"/>
                <a:t>of PV and thermo-solar powerplants connected to 400 kV transmission substations.</a:t>
              </a:r>
            </a:p>
            <a:p>
              <a:r>
                <a:rPr lang="en-US" sz="800" b="1" noProof="0" dirty="0"/>
                <a:t>Cause: </a:t>
              </a:r>
              <a:r>
                <a:rPr lang="en-US" sz="800" noProof="0" dirty="0"/>
                <a:t>Unknown</a:t>
              </a:r>
            </a:p>
          </p:txBody>
        </p:sp>
      </p:grpSp>
      <p:grpSp>
        <p:nvGrpSpPr>
          <p:cNvPr id="15" name="Group 14">
            <a:extLst>
              <a:ext uri="{FF2B5EF4-FFF2-40B4-BE49-F238E27FC236}">
                <a16:creationId xmlns:a16="http://schemas.microsoft.com/office/drawing/2014/main" id="{3F5D2B0C-323F-B030-6F2B-65E435399D27}"/>
              </a:ext>
            </a:extLst>
          </p:cNvPr>
          <p:cNvGrpSpPr/>
          <p:nvPr/>
        </p:nvGrpSpPr>
        <p:grpSpPr>
          <a:xfrm>
            <a:off x="9570986" y="4453749"/>
            <a:ext cx="1693231" cy="1248421"/>
            <a:chOff x="9570986" y="4453749"/>
            <a:chExt cx="1693231" cy="1248421"/>
          </a:xfrm>
          <a:effectLst>
            <a:outerShdw blurRad="50800" dist="38100" dir="8100000" algn="tr" rotWithShape="0">
              <a:prstClr val="black">
                <a:alpha val="40000"/>
              </a:prstClr>
            </a:outerShdw>
          </a:effectLst>
        </p:grpSpPr>
        <p:sp>
          <p:nvSpPr>
            <p:cNvPr id="29" name="TextBox 28">
              <a:extLst>
                <a:ext uri="{FF2B5EF4-FFF2-40B4-BE49-F238E27FC236}">
                  <a16:creationId xmlns:a16="http://schemas.microsoft.com/office/drawing/2014/main" id="{2A7C7E69-631D-9D04-0860-746F63D017CC}"/>
                </a:ext>
              </a:extLst>
            </p:cNvPr>
            <p:cNvSpPr txBox="1"/>
            <p:nvPr/>
          </p:nvSpPr>
          <p:spPr>
            <a:xfrm>
              <a:off x="9570987" y="4655729"/>
              <a:ext cx="1693230" cy="215444"/>
            </a:xfrm>
            <a:prstGeom prst="rect">
              <a:avLst/>
            </a:prstGeom>
            <a:solidFill>
              <a:srgbClr val="FF0000"/>
            </a:solidFill>
            <a:ln>
              <a:solidFill>
                <a:schemeClr val="tx1"/>
              </a:solidFill>
            </a:ln>
          </p:spPr>
          <p:txBody>
            <a:bodyPr wrap="square" rtlCol="0">
              <a:spAutoFit/>
            </a:bodyPr>
            <a:lstStyle/>
            <a:p>
              <a:pPr algn="ctr"/>
              <a:r>
                <a:rPr lang="en-US" sz="800" noProof="0" dirty="0">
                  <a:solidFill>
                    <a:schemeClr val="bg1"/>
                  </a:solidFill>
                </a:rPr>
                <a:t>Generation Losses Cascade</a:t>
              </a:r>
            </a:p>
          </p:txBody>
        </p:sp>
        <p:sp>
          <p:nvSpPr>
            <p:cNvPr id="37" name="TextBox 36">
              <a:extLst>
                <a:ext uri="{FF2B5EF4-FFF2-40B4-BE49-F238E27FC236}">
                  <a16:creationId xmlns:a16="http://schemas.microsoft.com/office/drawing/2014/main" id="{20E59B7C-8D76-D244-B96A-D372CAFD4A7D}"/>
                </a:ext>
              </a:extLst>
            </p:cNvPr>
            <p:cNvSpPr txBox="1"/>
            <p:nvPr/>
          </p:nvSpPr>
          <p:spPr>
            <a:xfrm>
              <a:off x="9570986" y="4453749"/>
              <a:ext cx="1693229" cy="200055"/>
            </a:xfrm>
            <a:prstGeom prst="rect">
              <a:avLst/>
            </a:prstGeom>
            <a:solidFill>
              <a:srgbClr val="FF0000"/>
            </a:solidFill>
            <a:ln>
              <a:solidFill>
                <a:schemeClr val="tx1"/>
              </a:solidFill>
            </a:ln>
          </p:spPr>
          <p:txBody>
            <a:bodyPr wrap="square" rtlCol="0">
              <a:spAutoFit/>
            </a:bodyPr>
            <a:lstStyle/>
            <a:p>
              <a:pPr algn="ctr"/>
              <a:r>
                <a:rPr lang="en-US" sz="700" noProof="0" dirty="0">
                  <a:solidFill>
                    <a:schemeClr val="bg1"/>
                  </a:solidFill>
                </a:rPr>
                <a:t>12:33:17 (CET/CEST)</a:t>
              </a:r>
            </a:p>
          </p:txBody>
        </p:sp>
        <p:sp>
          <p:nvSpPr>
            <p:cNvPr id="10" name="TextBox 9">
              <a:extLst>
                <a:ext uri="{FF2B5EF4-FFF2-40B4-BE49-F238E27FC236}">
                  <a16:creationId xmlns:a16="http://schemas.microsoft.com/office/drawing/2014/main" id="{9A83EFA4-5332-E053-C2AE-119D7AC1A293}"/>
                </a:ext>
              </a:extLst>
            </p:cNvPr>
            <p:cNvSpPr txBox="1"/>
            <p:nvPr/>
          </p:nvSpPr>
          <p:spPr>
            <a:xfrm>
              <a:off x="9570987" y="4871173"/>
              <a:ext cx="1693230" cy="830997"/>
            </a:xfrm>
            <a:prstGeom prst="rect">
              <a:avLst/>
            </a:prstGeom>
            <a:solidFill>
              <a:schemeClr val="bg1"/>
            </a:solidFill>
            <a:ln>
              <a:solidFill>
                <a:schemeClr val="tx1"/>
              </a:solidFill>
            </a:ln>
          </p:spPr>
          <p:txBody>
            <a:bodyPr wrap="square" rtlCol="0">
              <a:spAutoFit/>
            </a:bodyPr>
            <a:lstStyle/>
            <a:p>
              <a:r>
                <a:rPr lang="en-US" sz="800" noProof="0" dirty="0"/>
                <a:t>Wind and Solar generation tripping in </a:t>
              </a:r>
              <a:r>
                <a:rPr lang="en-US" sz="800" b="1" noProof="0" dirty="0"/>
                <a:t>Sevilla</a:t>
              </a:r>
              <a:r>
                <a:rPr lang="en-US" sz="800" noProof="0" dirty="0"/>
                <a:t>, </a:t>
              </a:r>
              <a:r>
                <a:rPr lang="en-US" sz="800" b="1" noProof="0" dirty="0"/>
                <a:t>Caceres</a:t>
              </a:r>
              <a:r>
                <a:rPr lang="en-US" sz="800" noProof="0" dirty="0"/>
                <a:t>, </a:t>
              </a:r>
              <a:r>
                <a:rPr lang="en-US" sz="800" b="1" noProof="0" dirty="0"/>
                <a:t>Segovia</a:t>
              </a:r>
              <a:r>
                <a:rPr lang="en-US" sz="800" noProof="0" dirty="0"/>
                <a:t>, </a:t>
              </a:r>
              <a:r>
                <a:rPr lang="en-US" sz="800" b="1" noProof="0" dirty="0"/>
                <a:t>Huelva</a:t>
              </a:r>
              <a:r>
                <a:rPr lang="en-US" sz="800" noProof="0" dirty="0"/>
                <a:t>, </a:t>
              </a:r>
              <a:r>
                <a:rPr lang="en-US" sz="800" b="1" noProof="0" dirty="0"/>
                <a:t>Badajoz</a:t>
              </a:r>
              <a:r>
                <a:rPr lang="en-US" sz="800" noProof="0" dirty="0"/>
                <a:t> accounting for a loss of </a:t>
              </a:r>
              <a:r>
                <a:rPr lang="en-US" sz="800" b="1" noProof="0" dirty="0"/>
                <a:t>930 MW. </a:t>
              </a:r>
              <a:r>
                <a:rPr lang="en-US" sz="800" noProof="0" dirty="0"/>
                <a:t>High voltage and frequency profiles led to</a:t>
              </a:r>
              <a:r>
                <a:rPr lang="en-US" sz="800" b="1" noProof="0" dirty="0"/>
                <a:t> cascading tripping.</a:t>
              </a:r>
            </a:p>
          </p:txBody>
        </p:sp>
      </p:grpSp>
      <p:sp>
        <p:nvSpPr>
          <p:cNvPr id="12" name="TextBox 11">
            <a:extLst>
              <a:ext uri="{FF2B5EF4-FFF2-40B4-BE49-F238E27FC236}">
                <a16:creationId xmlns:a16="http://schemas.microsoft.com/office/drawing/2014/main" id="{86C456D8-B5F5-CD34-AF6E-D6F50F3953AE}"/>
              </a:ext>
            </a:extLst>
          </p:cNvPr>
          <p:cNvSpPr txBox="1"/>
          <p:nvPr/>
        </p:nvSpPr>
        <p:spPr>
          <a:xfrm>
            <a:off x="-71021" y="6581782"/>
            <a:ext cx="7833783" cy="333375"/>
          </a:xfrm>
          <a:prstGeom prst="rect">
            <a:avLst/>
          </a:prstGeom>
          <a:noFill/>
        </p:spPr>
        <p:txBody>
          <a:bodyPr wrap="square" lIns="108000" tIns="108000" rIns="108000" bIns="108000" rtlCol="0">
            <a:noAutofit/>
          </a:bodyPr>
          <a:lstStyle/>
          <a:p>
            <a:pPr eaLnBrk="1" fontAlgn="auto" hangingPunct="1">
              <a:spcBef>
                <a:spcPts val="0"/>
              </a:spcBef>
              <a:spcAft>
                <a:spcPts val="600"/>
              </a:spcAft>
              <a:buClr>
                <a:srgbClr val="000000"/>
              </a:buClr>
            </a:pPr>
            <a:r>
              <a:rPr lang="en-US" sz="900" noProof="0" dirty="0">
                <a:solidFill>
                  <a:srgbClr val="000000"/>
                </a:solidFill>
                <a:latin typeface="Aptos Light" panose="020B0004020202020204" pitchFamily="34" charset="0"/>
              </a:rPr>
              <a:t>Source: Frequency measurements from </a:t>
            </a:r>
            <a:r>
              <a:rPr lang="en-US" sz="900" noProof="0" dirty="0" err="1">
                <a:solidFill>
                  <a:srgbClr val="000000"/>
                </a:solidFill>
                <a:latin typeface="Aptos Light" panose="020B0004020202020204" pitchFamily="34" charset="0"/>
              </a:rPr>
              <a:t>Gridradar</a:t>
            </a:r>
            <a:r>
              <a:rPr lang="en-US" sz="900" noProof="0" dirty="0">
                <a:solidFill>
                  <a:srgbClr val="000000"/>
                </a:solidFill>
                <a:latin typeface="Aptos Light" panose="020B0004020202020204" pitchFamily="34" charset="0"/>
              </a:rPr>
              <a:t> PMUs / Events description from ENTSO-E factual report</a:t>
            </a:r>
          </a:p>
        </p:txBody>
      </p:sp>
    </p:spTree>
    <p:extLst>
      <p:ext uri="{BB962C8B-B14F-4D97-AF65-F5344CB8AC3E}">
        <p14:creationId xmlns:p14="http://schemas.microsoft.com/office/powerpoint/2010/main" val="15376195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15A78-023E-351F-5C6F-FE33488083B5}"/>
              </a:ext>
            </a:extLst>
          </p:cNvPr>
          <p:cNvSpPr>
            <a:spLocks noGrp="1"/>
          </p:cNvSpPr>
          <p:nvPr>
            <p:ph type="title"/>
          </p:nvPr>
        </p:nvSpPr>
        <p:spPr/>
        <p:txBody>
          <a:bodyPr>
            <a:normAutofit/>
          </a:bodyPr>
          <a:lstStyle/>
          <a:p>
            <a:r>
              <a:rPr lang="en-US" noProof="0" dirty="0"/>
              <a:t>Geographic distribution of voltage in the transmission grid</a:t>
            </a:r>
          </a:p>
        </p:txBody>
      </p:sp>
      <p:pic>
        <p:nvPicPr>
          <p:cNvPr id="5" name="Content Placeholder 4">
            <a:extLst>
              <a:ext uri="{FF2B5EF4-FFF2-40B4-BE49-F238E27FC236}">
                <a16:creationId xmlns:a16="http://schemas.microsoft.com/office/drawing/2014/main" id="{93595028-ABFB-0156-7A67-6BA336AA199D}"/>
              </a:ext>
            </a:extLst>
          </p:cNvPr>
          <p:cNvPicPr>
            <a:picLocks noGrp="1" noChangeAspect="1"/>
          </p:cNvPicPr>
          <p:nvPr>
            <p:ph sz="quarter" idx="4294967295"/>
          </p:nvPr>
        </p:nvPicPr>
        <p:blipFill>
          <a:blip r:embed="rId2"/>
          <a:stretch>
            <a:fillRect/>
          </a:stretch>
        </p:blipFill>
        <p:spPr bwMode="auto">
          <a:xfrm>
            <a:off x="577473" y="2838085"/>
            <a:ext cx="5762390" cy="381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6F86EFF-0799-2565-90AC-FAC958A0A357}"/>
              </a:ext>
            </a:extLst>
          </p:cNvPr>
          <p:cNvSpPr txBox="1"/>
          <p:nvPr/>
        </p:nvSpPr>
        <p:spPr>
          <a:xfrm>
            <a:off x="682934" y="6488668"/>
            <a:ext cx="5917066" cy="369332"/>
          </a:xfrm>
          <a:prstGeom prst="rect">
            <a:avLst/>
          </a:prstGeom>
          <a:noFill/>
        </p:spPr>
        <p:txBody>
          <a:bodyPr wrap="square">
            <a:spAutoFit/>
          </a:bodyPr>
          <a:lstStyle/>
          <a:p>
            <a:r>
              <a:rPr lang="en-US" sz="900" noProof="0" dirty="0">
                <a:latin typeface="Aptos Light "/>
              </a:rPr>
              <a:t>THE BLACKOUT THAT OCCURRED IN THE IBERIAN ELECTRICITY SYSTEM ON 28 APRIL 2025, Luis Rouco et al., September 2025</a:t>
            </a:r>
          </a:p>
        </p:txBody>
      </p:sp>
      <p:sp>
        <p:nvSpPr>
          <p:cNvPr id="9" name="TextBox 8">
            <a:extLst>
              <a:ext uri="{FF2B5EF4-FFF2-40B4-BE49-F238E27FC236}">
                <a16:creationId xmlns:a16="http://schemas.microsoft.com/office/drawing/2014/main" id="{0BFF500A-50E9-683F-FCA0-8811EAF9E672}"/>
              </a:ext>
            </a:extLst>
          </p:cNvPr>
          <p:cNvSpPr txBox="1"/>
          <p:nvPr/>
        </p:nvSpPr>
        <p:spPr>
          <a:xfrm>
            <a:off x="965659" y="1585223"/>
            <a:ext cx="10654123" cy="1200329"/>
          </a:xfrm>
          <a:prstGeom prst="rect">
            <a:avLst/>
          </a:prstGeom>
          <a:noFill/>
        </p:spPr>
        <p:txBody>
          <a:bodyPr wrap="square" rtlCol="0">
            <a:spAutoFit/>
          </a:bodyPr>
          <a:lstStyle/>
          <a:p>
            <a:r>
              <a:rPr lang="en-US" noProof="0" dirty="0">
                <a:latin typeface="Aptos Light "/>
              </a:rPr>
              <a:t>Given the various outages, the voltage keeps rising.</a:t>
            </a:r>
          </a:p>
          <a:p>
            <a:endParaRPr lang="en-US" noProof="0" dirty="0">
              <a:latin typeface="Aptos Light "/>
            </a:endParaRPr>
          </a:p>
          <a:p>
            <a:r>
              <a:rPr lang="en-US" noProof="0" dirty="0">
                <a:latin typeface="Aptos Light "/>
              </a:rPr>
              <a:t>Assuming that the units that went out of service were operating in voltage control mode, then it is natural that the disappearance of their voltage regulation capability caused the system voltage to rise further. </a:t>
            </a:r>
          </a:p>
        </p:txBody>
      </p:sp>
      <p:grpSp>
        <p:nvGrpSpPr>
          <p:cNvPr id="14" name="Group 13">
            <a:extLst>
              <a:ext uri="{FF2B5EF4-FFF2-40B4-BE49-F238E27FC236}">
                <a16:creationId xmlns:a16="http://schemas.microsoft.com/office/drawing/2014/main" id="{9C6CF4B8-7833-CCD4-5940-DA60191D6CD1}"/>
              </a:ext>
            </a:extLst>
          </p:cNvPr>
          <p:cNvGrpSpPr/>
          <p:nvPr/>
        </p:nvGrpSpPr>
        <p:grpSpPr>
          <a:xfrm>
            <a:off x="6339863" y="2945994"/>
            <a:ext cx="5251048" cy="3434765"/>
            <a:chOff x="254027" y="3639310"/>
            <a:chExt cx="5251048" cy="3434765"/>
          </a:xfrm>
        </p:grpSpPr>
        <p:pic>
          <p:nvPicPr>
            <p:cNvPr id="11" name="Imagen 17">
              <a:extLst>
                <a:ext uri="{FF2B5EF4-FFF2-40B4-BE49-F238E27FC236}">
                  <a16:creationId xmlns:a16="http://schemas.microsoft.com/office/drawing/2014/main" id="{395FF4BE-0022-88D2-00DD-76111C8B2C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54027" y="3952128"/>
              <a:ext cx="5251048" cy="3121947"/>
            </a:xfrm>
            <a:prstGeom prst="rect">
              <a:avLst/>
            </a:prstGeom>
          </p:spPr>
        </p:pic>
        <p:cxnSp>
          <p:nvCxnSpPr>
            <p:cNvPr id="12" name="Straight Connector 11">
              <a:extLst>
                <a:ext uri="{FF2B5EF4-FFF2-40B4-BE49-F238E27FC236}">
                  <a16:creationId xmlns:a16="http://schemas.microsoft.com/office/drawing/2014/main" id="{D92FA623-249C-8318-DA19-07C3B9911D2B}"/>
                </a:ext>
              </a:extLst>
            </p:cNvPr>
            <p:cNvCxnSpPr>
              <a:cxnSpLocks/>
            </p:cNvCxnSpPr>
            <p:nvPr/>
          </p:nvCxnSpPr>
          <p:spPr>
            <a:xfrm flipV="1">
              <a:off x="1044350" y="4026948"/>
              <a:ext cx="0" cy="2186076"/>
            </a:xfrm>
            <a:prstGeom prst="line">
              <a:avLst/>
            </a:prstGeom>
            <a:ln w="19050">
              <a:solidFill>
                <a:srgbClr val="037CBA"/>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6F4BEF5-67A3-DB19-AFCF-17F6865374BE}"/>
                </a:ext>
              </a:extLst>
            </p:cNvPr>
            <p:cNvSpPr txBox="1"/>
            <p:nvPr/>
          </p:nvSpPr>
          <p:spPr>
            <a:xfrm>
              <a:off x="810289" y="3639310"/>
              <a:ext cx="2240567" cy="338554"/>
            </a:xfrm>
            <a:prstGeom prst="rect">
              <a:avLst/>
            </a:prstGeom>
            <a:noFill/>
          </p:spPr>
          <p:txBody>
            <a:bodyPr wrap="square" lIns="0" tIns="0" rIns="0" bIns="0" rtlCol="0">
              <a:spAutoFit/>
            </a:bodyPr>
            <a:lstStyle/>
            <a:p>
              <a:r>
                <a:rPr lang="en-US" sz="1100" b="1" noProof="0" dirty="0">
                  <a:solidFill>
                    <a:srgbClr val="037CBA"/>
                  </a:solidFill>
                </a:rPr>
                <a:t>Second tripping </a:t>
              </a:r>
            </a:p>
            <a:p>
              <a:r>
                <a:rPr lang="en-US" sz="1100" b="1" noProof="0" dirty="0">
                  <a:solidFill>
                    <a:srgbClr val="037CBA"/>
                  </a:solidFill>
                </a:rPr>
                <a:t>event (Badajoz): </a:t>
              </a:r>
              <a:r>
                <a:rPr lang="en-US" sz="1100" noProof="0" dirty="0">
                  <a:solidFill>
                    <a:srgbClr val="037CBA"/>
                  </a:solidFill>
                </a:rPr>
                <a:t>12:33:16</a:t>
              </a:r>
            </a:p>
          </p:txBody>
        </p:sp>
      </p:grpSp>
    </p:spTree>
    <p:extLst>
      <p:ext uri="{BB962C8B-B14F-4D97-AF65-F5344CB8AC3E}">
        <p14:creationId xmlns:p14="http://schemas.microsoft.com/office/powerpoint/2010/main" val="6730938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9F40D58-F83F-B867-B34B-F1F18408CF06}"/>
              </a:ext>
            </a:extLst>
          </p:cNvPr>
          <p:cNvSpPr>
            <a:spLocks noGrp="1"/>
          </p:cNvSpPr>
          <p:nvPr>
            <p:ph type="title"/>
          </p:nvPr>
        </p:nvSpPr>
        <p:spPr/>
        <p:txBody>
          <a:bodyPr>
            <a:normAutofit fontScale="90000"/>
          </a:bodyPr>
          <a:lstStyle/>
          <a:p>
            <a:r>
              <a:rPr lang="en-US" dirty="0">
                <a:solidFill>
                  <a:srgbClr val="002540"/>
                </a:solidFill>
                <a:cs typeface="Red Hat Text" panose="02010303040201060303" pitchFamily="2" charset="0"/>
              </a:rPr>
              <a:t>What could have caused the large generation loss?</a:t>
            </a:r>
            <a:br>
              <a:rPr lang="en-US" dirty="0">
                <a:solidFill>
                  <a:srgbClr val="002540"/>
                </a:solidFill>
                <a:cs typeface="Red Hat Text" panose="02010303040201060303" pitchFamily="2" charset="0"/>
              </a:rPr>
            </a:br>
            <a:endParaRPr lang="en-US" dirty="0"/>
          </a:p>
        </p:txBody>
      </p:sp>
      <p:sp>
        <p:nvSpPr>
          <p:cNvPr id="55" name="Slide Number Placeholder 12">
            <a:extLst>
              <a:ext uri="{FF2B5EF4-FFF2-40B4-BE49-F238E27FC236}">
                <a16:creationId xmlns:a16="http://schemas.microsoft.com/office/drawing/2014/main" id="{92E45637-DA5D-41B1-9E4A-EC26E26D2282}"/>
              </a:ext>
            </a:extLst>
          </p:cNvPr>
          <p:cNvSpPr txBox="1">
            <a:spLocks noChangeArrowheads="1"/>
          </p:cNvSpPr>
          <p:nvPr/>
        </p:nvSpPr>
        <p:spPr bwMode="auto">
          <a:xfrm>
            <a:off x="11875732" y="5744361"/>
            <a:ext cx="476250" cy="1793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en-US"/>
            </a:defPPr>
            <a:lvl1pPr algn="r" rtl="0" eaLnBrk="1" fontAlgn="auto" hangingPunct="1">
              <a:spcBef>
                <a:spcPts val="0"/>
              </a:spcBef>
              <a:spcAft>
                <a:spcPts val="0"/>
              </a:spcAft>
              <a:defRPr sz="1100" b="0" i="0" kern="1200">
                <a:solidFill>
                  <a:schemeClr val="tx1"/>
                </a:solidFill>
                <a:latin typeface="Aptos" panose="020B0004020202020204" pitchFamily="34" charset="0"/>
                <a:ea typeface="+mn-ea"/>
                <a:cs typeface="JetBrains Mono" panose="02000009000000000000" pitchFamily="49" charset="0"/>
              </a:defRPr>
            </a:lvl1pPr>
            <a:lvl2pPr marL="742950" indent="-28575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1143000" indent="-228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600200" indent="-228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2057400" indent="-228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514600" indent="-228600" algn="l" defTabSz="914400" rtl="0" eaLnBrk="1" fontAlgn="base" latinLnBrk="0" hangingPunct="1">
              <a:spcBef>
                <a:spcPct val="0"/>
              </a:spcBef>
              <a:spcAft>
                <a:spcPct val="0"/>
              </a:spcAft>
              <a:defRPr kern="1200">
                <a:solidFill>
                  <a:schemeClr val="tx1"/>
                </a:solidFill>
                <a:latin typeface="Aptos" panose="020B0004020202020204" pitchFamily="34" charset="0"/>
                <a:ea typeface="+mn-ea"/>
                <a:cs typeface="+mn-cs"/>
              </a:defRPr>
            </a:lvl6pPr>
            <a:lvl7pPr marL="2971800" indent="-228600" algn="l" defTabSz="914400" rtl="0" eaLnBrk="1" fontAlgn="base" latinLnBrk="0" hangingPunct="1">
              <a:spcBef>
                <a:spcPct val="0"/>
              </a:spcBef>
              <a:spcAft>
                <a:spcPct val="0"/>
              </a:spcAft>
              <a:defRPr kern="1200">
                <a:solidFill>
                  <a:schemeClr val="tx1"/>
                </a:solidFill>
                <a:latin typeface="Aptos" panose="020B0004020202020204" pitchFamily="34" charset="0"/>
                <a:ea typeface="+mn-ea"/>
                <a:cs typeface="+mn-cs"/>
              </a:defRPr>
            </a:lvl7pPr>
            <a:lvl8pPr marL="3429000" indent="-228600" algn="l" defTabSz="914400" rtl="0" eaLnBrk="1" fontAlgn="base" latinLnBrk="0" hangingPunct="1">
              <a:spcBef>
                <a:spcPct val="0"/>
              </a:spcBef>
              <a:spcAft>
                <a:spcPct val="0"/>
              </a:spcAft>
              <a:defRPr kern="1200">
                <a:solidFill>
                  <a:schemeClr val="tx1"/>
                </a:solidFill>
                <a:latin typeface="Aptos" panose="020B0004020202020204" pitchFamily="34" charset="0"/>
                <a:ea typeface="+mn-ea"/>
                <a:cs typeface="+mn-cs"/>
              </a:defRPr>
            </a:lvl8pPr>
            <a:lvl9pPr marL="3886200" indent="-228600" algn="l" defTabSz="914400" rtl="0" eaLnBrk="1" fontAlgn="base" latinLnBrk="0" hangingPunct="1">
              <a:spcBef>
                <a:spcPct val="0"/>
              </a:spcBef>
              <a:spcAft>
                <a:spcPct val="0"/>
              </a:spcAft>
              <a:defRPr kern="1200">
                <a:solidFill>
                  <a:schemeClr val="tx1"/>
                </a:solidFill>
                <a:latin typeface="Aptos" panose="020B0004020202020204" pitchFamily="34" charset="0"/>
                <a:ea typeface="+mn-ea"/>
                <a:cs typeface="+mn-cs"/>
              </a:defRPr>
            </a:lvl9pPr>
          </a:lstStyle>
          <a:p>
            <a:pPr fontAlgn="base">
              <a:spcBef>
                <a:spcPct val="0"/>
              </a:spcBef>
              <a:spcAft>
                <a:spcPct val="0"/>
              </a:spcAft>
            </a:pPr>
            <a:fld id="{6C3D4B96-E093-5C4A-A58C-B97FA9329A45}" type="slidenum">
              <a:rPr lang="en-US" noProof="0" smtClean="0">
                <a:solidFill>
                  <a:schemeClr val="bg1"/>
                </a:solidFill>
                <a:latin typeface="JetBrains Mono" panose="02000009000000000000" pitchFamily="49" charset="0"/>
                <a:ea typeface="JetBrains Mono" panose="02000009000000000000" pitchFamily="49" charset="0"/>
              </a:rPr>
              <a:pPr fontAlgn="base">
                <a:spcBef>
                  <a:spcPct val="0"/>
                </a:spcBef>
                <a:spcAft>
                  <a:spcPct val="0"/>
                </a:spcAft>
              </a:pPr>
              <a:t>15</a:t>
            </a:fld>
            <a:endParaRPr lang="en-US" noProof="0" dirty="0">
              <a:solidFill>
                <a:schemeClr val="bg1"/>
              </a:solidFill>
              <a:latin typeface="JetBrains Mono" panose="02000009000000000000" pitchFamily="49" charset="0"/>
              <a:ea typeface="JetBrains Mono" panose="02000009000000000000" pitchFamily="49" charset="0"/>
            </a:endParaRPr>
          </a:p>
        </p:txBody>
      </p:sp>
      <p:sp>
        <p:nvSpPr>
          <p:cNvPr id="2" name="TextBox 1">
            <a:extLst>
              <a:ext uri="{FF2B5EF4-FFF2-40B4-BE49-F238E27FC236}">
                <a16:creationId xmlns:a16="http://schemas.microsoft.com/office/drawing/2014/main" id="{2981BC58-F55D-4DD4-9849-86C7C3CC7F55}"/>
              </a:ext>
            </a:extLst>
          </p:cNvPr>
          <p:cNvSpPr txBox="1"/>
          <p:nvPr/>
        </p:nvSpPr>
        <p:spPr>
          <a:xfrm>
            <a:off x="1181294" y="922245"/>
            <a:ext cx="9839931" cy="3724096"/>
          </a:xfrm>
          <a:prstGeom prst="rect">
            <a:avLst/>
          </a:prstGeom>
          <a:noFill/>
        </p:spPr>
        <p:txBody>
          <a:bodyPr wrap="square" rtlCol="0">
            <a:spAutoFit/>
          </a:bodyPr>
          <a:lstStyle/>
          <a:p>
            <a:endParaRPr lang="en-US" sz="1400" noProof="0" dirty="0">
              <a:latin typeface="Aptos Light "/>
            </a:endParaRPr>
          </a:p>
          <a:p>
            <a:r>
              <a:rPr lang="en-US" noProof="0" dirty="0">
                <a:latin typeface="Aptos Light "/>
              </a:rPr>
              <a:t>Given the extremely high voltage levels detected after the three generation losses, and the inability of the voltage to return to acceptable values, several units went out of service simultaneously due to overvoltage.</a:t>
            </a:r>
          </a:p>
          <a:p>
            <a:endParaRPr lang="en-US" noProof="0" dirty="0">
              <a:latin typeface="Aptos Light "/>
            </a:endParaRPr>
          </a:p>
          <a:p>
            <a:endParaRPr lang="en-US" sz="1400" noProof="0" dirty="0">
              <a:latin typeface="Aptos Light "/>
            </a:endParaRPr>
          </a:p>
          <a:p>
            <a:endParaRPr lang="en-US" sz="1400" noProof="0" dirty="0">
              <a:latin typeface="Aptos Light "/>
            </a:endParaRPr>
          </a:p>
          <a:p>
            <a:endParaRPr lang="en-US" sz="1400" noProof="0" dirty="0">
              <a:latin typeface="Aptos Light "/>
            </a:endParaRPr>
          </a:p>
          <a:p>
            <a:pPr marL="285750" indent="-285750">
              <a:buFont typeface="Arial" panose="020B0604020202020204" pitchFamily="34" charset="0"/>
              <a:buChar char="•"/>
            </a:pPr>
            <a:r>
              <a:rPr lang="en-US" noProof="0" dirty="0">
                <a:latin typeface="Aptos Light "/>
              </a:rPr>
              <a:t>The lost power corresponds in part to the loss of a large aggregation of distributed generation, which, due to the grid code cannot survive to overvoltage’s. </a:t>
            </a:r>
          </a:p>
          <a:p>
            <a:pPr marL="285750" indent="-285750">
              <a:buFont typeface="Arial" panose="020B0604020202020204" pitchFamily="34" charset="0"/>
              <a:buChar char="•"/>
            </a:pPr>
            <a:r>
              <a:rPr lang="en-US" noProof="0" dirty="0">
                <a:latin typeface="Aptos Light "/>
              </a:rPr>
              <a:t>Large generation blocks were also disconnected from the grid due to increasing </a:t>
            </a:r>
            <a:r>
              <a:rPr lang="en-US" noProof="0" dirty="0" err="1">
                <a:latin typeface="Aptos Light "/>
              </a:rPr>
              <a:t>overvoltages</a:t>
            </a:r>
            <a:r>
              <a:rPr lang="en-US" noProof="0" dirty="0">
                <a:latin typeface="Aptos Light "/>
              </a:rPr>
              <a:t>.</a:t>
            </a:r>
          </a:p>
          <a:p>
            <a:endParaRPr lang="en-US" noProof="0" dirty="0">
              <a:latin typeface="Aptos Light "/>
            </a:endParaRPr>
          </a:p>
          <a:p>
            <a:r>
              <a:rPr lang="en-US" noProof="0" dirty="0">
                <a:latin typeface="Aptos Light "/>
              </a:rPr>
              <a:t>Obsolete operation rules for solar PV and wind power plants operated in Spain: a constant power factor and PQ diagrams that prevent their capability of reactive power support to the grid.</a:t>
            </a:r>
          </a:p>
        </p:txBody>
      </p:sp>
      <p:pic>
        <p:nvPicPr>
          <p:cNvPr id="17" name="Picture 16">
            <a:extLst>
              <a:ext uri="{FF2B5EF4-FFF2-40B4-BE49-F238E27FC236}">
                <a16:creationId xmlns:a16="http://schemas.microsoft.com/office/drawing/2014/main" id="{A94E782E-6465-4E84-A7D6-0196B7388C6B}"/>
              </a:ext>
            </a:extLst>
          </p:cNvPr>
          <p:cNvPicPr>
            <a:picLocks noChangeAspect="1"/>
          </p:cNvPicPr>
          <p:nvPr/>
        </p:nvPicPr>
        <p:blipFill rotWithShape="1">
          <a:blip r:embed="rId3"/>
          <a:srcRect t="64070" b="27422"/>
          <a:stretch/>
        </p:blipFill>
        <p:spPr>
          <a:xfrm>
            <a:off x="2813245" y="2007070"/>
            <a:ext cx="7338510" cy="876916"/>
          </a:xfrm>
          <a:prstGeom prst="rect">
            <a:avLst/>
          </a:prstGeom>
          <a:ln>
            <a:solidFill>
              <a:schemeClr val="tx1"/>
            </a:solidFill>
          </a:ln>
        </p:spPr>
      </p:pic>
      <p:pic>
        <p:nvPicPr>
          <p:cNvPr id="3" name="Picture 2">
            <a:extLst>
              <a:ext uri="{FF2B5EF4-FFF2-40B4-BE49-F238E27FC236}">
                <a16:creationId xmlns:a16="http://schemas.microsoft.com/office/drawing/2014/main" id="{705AA276-D592-71B4-3959-6C2EE0983592}"/>
              </a:ext>
            </a:extLst>
          </p:cNvPr>
          <p:cNvPicPr>
            <a:picLocks noChangeAspect="1"/>
          </p:cNvPicPr>
          <p:nvPr/>
        </p:nvPicPr>
        <p:blipFill>
          <a:blip r:embed="rId4"/>
          <a:stretch>
            <a:fillRect/>
          </a:stretch>
        </p:blipFill>
        <p:spPr>
          <a:xfrm>
            <a:off x="4308328" y="4646341"/>
            <a:ext cx="3849588" cy="2187664"/>
          </a:xfrm>
          <a:prstGeom prst="rect">
            <a:avLst/>
          </a:prstGeom>
        </p:spPr>
      </p:pic>
      <p:sp>
        <p:nvSpPr>
          <p:cNvPr id="5" name="Arrow: Right 4">
            <a:extLst>
              <a:ext uri="{FF2B5EF4-FFF2-40B4-BE49-F238E27FC236}">
                <a16:creationId xmlns:a16="http://schemas.microsoft.com/office/drawing/2014/main" id="{D33055EF-57B7-7B47-9FCF-45B9DC141917}"/>
              </a:ext>
            </a:extLst>
          </p:cNvPr>
          <p:cNvSpPr/>
          <p:nvPr/>
        </p:nvSpPr>
        <p:spPr>
          <a:xfrm>
            <a:off x="571500" y="4076700"/>
            <a:ext cx="609794" cy="431800"/>
          </a:xfrm>
          <a:prstGeom prst="rightArrow">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837728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DEC436-1DF4-D51E-5716-80BDC8A0E63E}"/>
              </a:ext>
            </a:extLst>
          </p:cNvPr>
          <p:cNvSpPr>
            <a:spLocks noGrp="1"/>
          </p:cNvSpPr>
          <p:nvPr>
            <p:ph type="body" sz="quarter" idx="13"/>
          </p:nvPr>
        </p:nvSpPr>
        <p:spPr>
          <a:xfrm>
            <a:off x="838200" y="1374775"/>
            <a:ext cx="10515600" cy="4403725"/>
          </a:xfrm>
        </p:spPr>
        <p:txBody>
          <a:bodyPr>
            <a:normAutofit fontScale="77500" lnSpcReduction="20000"/>
          </a:bodyPr>
          <a:lstStyle/>
          <a:p>
            <a:pPr marL="285750" indent="-285750">
              <a:buFont typeface="Arial" panose="020B0604020202020204" pitchFamily="34" charset="0"/>
              <a:buChar char="•"/>
            </a:pPr>
            <a:r>
              <a:rPr lang="en-US" sz="2100" noProof="0" dirty="0"/>
              <a:t>RES power plants need to be used for the participation of voltage </a:t>
            </a:r>
            <a:r>
              <a:rPr lang="en-US" sz="2100" noProof="0" dirty="0">
                <a:sym typeface="Wingdings" panose="05000000000000000000" pitchFamily="2" charset="2"/>
              </a:rPr>
              <a:t> Demanding and strict requirements for generation. </a:t>
            </a:r>
          </a:p>
          <a:p>
            <a:pPr marL="285750" indent="-285750">
              <a:buFont typeface="Arial" panose="020B0604020202020204" pitchFamily="34" charset="0"/>
              <a:buChar char="•"/>
            </a:pPr>
            <a:r>
              <a:rPr lang="en-US" sz="2100" noProof="0" dirty="0">
                <a:sym typeface="Wingdings" panose="05000000000000000000" pitchFamily="2" charset="2"/>
              </a:rPr>
              <a:t>See </a:t>
            </a:r>
            <a:r>
              <a:rPr lang="en-US" sz="2100" noProof="0" dirty="0">
                <a:solidFill>
                  <a:srgbClr val="FF0000"/>
                </a:solidFill>
                <a:sym typeface="Wingdings" panose="05000000000000000000" pitchFamily="2" charset="2"/>
              </a:rPr>
              <a:t>the Portuguese case for the P/Q diagrams</a:t>
            </a:r>
            <a:r>
              <a:rPr lang="en-US" sz="2100" noProof="0" dirty="0">
                <a:sym typeface="Wingdings" panose="05000000000000000000" pitchFamily="2" charset="2"/>
              </a:rPr>
              <a:t>:</a:t>
            </a:r>
          </a:p>
          <a:p>
            <a:pPr marL="285750" indent="-285750">
              <a:buFont typeface="Arial" panose="020B0604020202020204" pitchFamily="34" charset="0"/>
              <a:buChar char="•"/>
            </a:pPr>
            <a:endParaRPr lang="en-US" sz="2100"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sz="2100" noProof="0" dirty="0">
              <a:sym typeface="Wingdings" panose="05000000000000000000" pitchFamily="2" charset="2"/>
            </a:endParaRPr>
          </a:p>
          <a:p>
            <a:pPr marL="285750" indent="-285750">
              <a:buFont typeface="Arial" panose="020B0604020202020204" pitchFamily="34" charset="0"/>
              <a:buChar char="•"/>
            </a:pPr>
            <a:r>
              <a:rPr lang="en-US" sz="2100" noProof="0" dirty="0">
                <a:sym typeface="Wingdings" panose="05000000000000000000" pitchFamily="2" charset="2"/>
              </a:rPr>
              <a:t>Strict verification of the compliance of the plant wit these </a:t>
            </a:r>
            <a:r>
              <a:rPr lang="en-US" sz="2100" noProof="0" dirty="0" err="1">
                <a:sym typeface="Wingdings" panose="05000000000000000000" pitchFamily="2" charset="2"/>
              </a:rPr>
              <a:t>RfG</a:t>
            </a:r>
            <a:endParaRPr lang="en-US" sz="2100" noProof="0" dirty="0">
              <a:sym typeface="Wingdings" panose="05000000000000000000" pitchFamily="2" charset="2"/>
            </a:endParaRPr>
          </a:p>
          <a:p>
            <a:pPr marL="285750" indent="-285750">
              <a:buFont typeface="Arial" panose="020B0604020202020204" pitchFamily="34" charset="0"/>
              <a:buChar char="•"/>
            </a:pPr>
            <a:r>
              <a:rPr lang="en-US" sz="2100" noProof="0" dirty="0">
                <a:sym typeface="Wingdings" panose="05000000000000000000" pitchFamily="2" charset="2"/>
              </a:rPr>
              <a:t>Mandatory contributions for voltage /reactive power support control</a:t>
            </a: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pPr marL="285750" indent="-285750">
              <a:buFont typeface="Arial" panose="020B0604020202020204" pitchFamily="34" charset="0"/>
              <a:buChar char="•"/>
            </a:pPr>
            <a:endParaRPr lang="en-US" noProof="0" dirty="0">
              <a:sym typeface="Wingdings" panose="05000000000000000000" pitchFamily="2" charset="2"/>
            </a:endParaRPr>
          </a:p>
          <a:p>
            <a:endParaRPr lang="en-US" noProof="0" dirty="0"/>
          </a:p>
        </p:txBody>
      </p:sp>
      <p:sp>
        <p:nvSpPr>
          <p:cNvPr id="2" name="Title 1">
            <a:extLst>
              <a:ext uri="{FF2B5EF4-FFF2-40B4-BE49-F238E27FC236}">
                <a16:creationId xmlns:a16="http://schemas.microsoft.com/office/drawing/2014/main" id="{740D7945-C3E9-1BE5-7817-0A873D5A96C8}"/>
              </a:ext>
            </a:extLst>
          </p:cNvPr>
          <p:cNvSpPr>
            <a:spLocks noGrp="1"/>
          </p:cNvSpPr>
          <p:nvPr>
            <p:ph type="title"/>
          </p:nvPr>
        </p:nvSpPr>
        <p:spPr/>
        <p:txBody>
          <a:bodyPr/>
          <a:lstStyle/>
          <a:p>
            <a:r>
              <a:rPr lang="en-US" noProof="0" dirty="0"/>
              <a:t>What lessons for the future</a:t>
            </a:r>
          </a:p>
        </p:txBody>
      </p:sp>
      <p:pic>
        <p:nvPicPr>
          <p:cNvPr id="4" name="Picture 3">
            <a:extLst>
              <a:ext uri="{FF2B5EF4-FFF2-40B4-BE49-F238E27FC236}">
                <a16:creationId xmlns:a16="http://schemas.microsoft.com/office/drawing/2014/main" id="{D86CA6C0-AF12-6C76-F2D1-BF81D54F6246}"/>
              </a:ext>
            </a:extLst>
          </p:cNvPr>
          <p:cNvPicPr>
            <a:picLocks noChangeAspect="1"/>
          </p:cNvPicPr>
          <p:nvPr/>
        </p:nvPicPr>
        <p:blipFill>
          <a:blip r:embed="rId2"/>
          <a:stretch>
            <a:fillRect/>
          </a:stretch>
        </p:blipFill>
        <p:spPr>
          <a:xfrm>
            <a:off x="1802977" y="2388839"/>
            <a:ext cx="3596952" cy="2225233"/>
          </a:xfrm>
          <a:prstGeom prst="rect">
            <a:avLst/>
          </a:prstGeom>
        </p:spPr>
      </p:pic>
      <p:pic>
        <p:nvPicPr>
          <p:cNvPr id="5" name="Picture 4">
            <a:extLst>
              <a:ext uri="{FF2B5EF4-FFF2-40B4-BE49-F238E27FC236}">
                <a16:creationId xmlns:a16="http://schemas.microsoft.com/office/drawing/2014/main" id="{3A7FB204-73CE-8E90-4E7F-F8A30918716F}"/>
              </a:ext>
            </a:extLst>
          </p:cNvPr>
          <p:cNvPicPr>
            <a:picLocks noChangeAspect="1"/>
          </p:cNvPicPr>
          <p:nvPr/>
        </p:nvPicPr>
        <p:blipFill>
          <a:blip r:embed="rId3"/>
          <a:stretch>
            <a:fillRect/>
          </a:stretch>
        </p:blipFill>
        <p:spPr>
          <a:xfrm>
            <a:off x="6364706" y="2382743"/>
            <a:ext cx="3596952" cy="2231329"/>
          </a:xfrm>
          <a:prstGeom prst="rect">
            <a:avLst/>
          </a:prstGeom>
        </p:spPr>
      </p:pic>
      <p:sp>
        <p:nvSpPr>
          <p:cNvPr id="6" name="Arrow: Right 5">
            <a:extLst>
              <a:ext uri="{FF2B5EF4-FFF2-40B4-BE49-F238E27FC236}">
                <a16:creationId xmlns:a16="http://schemas.microsoft.com/office/drawing/2014/main" id="{BE782444-8A84-94E5-8722-95CBCFB74964}"/>
              </a:ext>
            </a:extLst>
          </p:cNvPr>
          <p:cNvSpPr/>
          <p:nvPr/>
        </p:nvSpPr>
        <p:spPr>
          <a:xfrm>
            <a:off x="476250" y="3079750"/>
            <a:ext cx="889000" cy="825500"/>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noProof="0" dirty="0"/>
          </a:p>
        </p:txBody>
      </p:sp>
      <p:sp>
        <p:nvSpPr>
          <p:cNvPr id="7" name="TextBox 6">
            <a:extLst>
              <a:ext uri="{FF2B5EF4-FFF2-40B4-BE49-F238E27FC236}">
                <a16:creationId xmlns:a16="http://schemas.microsoft.com/office/drawing/2014/main" id="{8658BCC1-7647-2DF0-64EF-FD3324474E9E}"/>
              </a:ext>
            </a:extLst>
          </p:cNvPr>
          <p:cNvSpPr txBox="1"/>
          <p:nvPr/>
        </p:nvSpPr>
        <p:spPr>
          <a:xfrm>
            <a:off x="2580830" y="6035316"/>
            <a:ext cx="6373027" cy="369332"/>
          </a:xfrm>
          <a:prstGeom prst="rect">
            <a:avLst/>
          </a:prstGeom>
          <a:noFill/>
        </p:spPr>
        <p:txBody>
          <a:bodyPr wrap="none" rtlCol="0">
            <a:spAutoFit/>
          </a:bodyPr>
          <a:lstStyle/>
          <a:p>
            <a:r>
              <a:rPr lang="en-US" noProof="0" dirty="0"/>
              <a:t>Voltage was under control from the side of the Portuguese Grid!</a:t>
            </a:r>
          </a:p>
        </p:txBody>
      </p:sp>
    </p:spTree>
    <p:extLst>
      <p:ext uri="{BB962C8B-B14F-4D97-AF65-F5344CB8AC3E}">
        <p14:creationId xmlns:p14="http://schemas.microsoft.com/office/powerpoint/2010/main" val="1568477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76560B5-3659-9B45-7313-5799C8C1FC67}"/>
              </a:ext>
            </a:extLst>
          </p:cNvPr>
          <p:cNvSpPr>
            <a:spLocks noGrp="1"/>
          </p:cNvSpPr>
          <p:nvPr>
            <p:ph type="body" sz="quarter" idx="13"/>
          </p:nvPr>
        </p:nvSpPr>
        <p:spPr/>
        <p:txBody>
          <a:bodyPr>
            <a:normAutofit lnSpcReduction="10000"/>
          </a:bodyPr>
          <a:lstStyle/>
          <a:p>
            <a:pPr marL="285750" indent="-285750">
              <a:buFont typeface="Arial" panose="020B0604020202020204" pitchFamily="34" charset="0"/>
              <a:buChar char="•"/>
            </a:pPr>
            <a:r>
              <a:rPr lang="en-US" sz="1800" noProof="0" dirty="0"/>
              <a:t>Identify </a:t>
            </a:r>
            <a:r>
              <a:rPr lang="en-US" sz="1800" b="1" noProof="0" dirty="0"/>
              <a:t>new ancillary services </a:t>
            </a:r>
            <a:r>
              <a:rPr lang="en-US" sz="1800" noProof="0" dirty="0"/>
              <a:t>(FFR, synchronous and synthetic inertia) as well as identify the volumes of these services. Decision-support systems.</a:t>
            </a:r>
          </a:p>
          <a:p>
            <a:pPr marL="285750" indent="-285750">
              <a:buFont typeface="Arial" panose="020B0604020202020204" pitchFamily="34" charset="0"/>
              <a:buChar char="•"/>
            </a:pPr>
            <a:r>
              <a:rPr lang="en-US" sz="1800" noProof="0" dirty="0"/>
              <a:t>Development </a:t>
            </a:r>
            <a:r>
              <a:rPr lang="en-US" sz="1800" b="1" noProof="0" dirty="0"/>
              <a:t>of new tools to help defining the decision control solutions </a:t>
            </a:r>
            <a:r>
              <a:rPr lang="en-US" sz="1800" noProof="0" dirty="0"/>
              <a:t>to be adopted at the dispatch control cente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noProof="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noProof="0" dirty="0"/>
          </a:p>
          <a:p>
            <a:pPr marL="285750" indent="-285750">
              <a:buFont typeface="Arial" panose="020B0604020202020204" pitchFamily="34" charset="0"/>
              <a:buChar char="•"/>
            </a:pPr>
            <a:endParaRPr lang="en-US" sz="1800" noProof="0" dirty="0"/>
          </a:p>
          <a:p>
            <a:pPr marL="285750" indent="-285750">
              <a:buFont typeface="Arial" panose="020B0604020202020204" pitchFamily="34" charset="0"/>
              <a:buChar char="•"/>
            </a:pPr>
            <a:endParaRPr lang="en-US" sz="1800" noProof="0" dirty="0"/>
          </a:p>
          <a:p>
            <a:pPr marL="285750" indent="-285750">
              <a:buFont typeface="Arial" panose="020B0604020202020204" pitchFamily="34" charset="0"/>
              <a:buChar char="•"/>
            </a:pPr>
            <a:endParaRPr lang="en-US" sz="1800" noProof="0" dirty="0"/>
          </a:p>
          <a:p>
            <a:endParaRPr lang="en-US" sz="1800" noProof="0" dirty="0"/>
          </a:p>
          <a:p>
            <a:pPr marL="285750" indent="-285750">
              <a:buFont typeface="Arial" panose="020B0604020202020204" pitchFamily="34" charset="0"/>
              <a:buChar char="•"/>
            </a:pPr>
            <a:r>
              <a:rPr lang="en-US" sz="1800" dirty="0"/>
              <a:t>Installation of</a:t>
            </a:r>
            <a:r>
              <a:rPr lang="en-US" sz="1800" b="1" dirty="0"/>
              <a:t> Grid Forming control modes </a:t>
            </a:r>
            <a:r>
              <a:rPr lang="en-US" sz="1800" dirty="0"/>
              <a:t>in electronic power converters of batteries with a complementary strategic location and sizing of these units.</a:t>
            </a:r>
            <a:endParaRPr lang="en-US" sz="1800" noProof="0" dirty="0"/>
          </a:p>
          <a:p>
            <a:pPr marL="285750" indent="-285750">
              <a:buFont typeface="Arial" panose="020B0604020202020204" pitchFamily="34" charset="0"/>
              <a:buChar char="•"/>
            </a:pPr>
            <a:endParaRPr lang="en-US" sz="1800" noProof="0" dirty="0"/>
          </a:p>
          <a:p>
            <a:endParaRPr lang="en-US" noProof="0" dirty="0"/>
          </a:p>
          <a:p>
            <a:pPr marL="285750" indent="-285750">
              <a:buFont typeface="Arial" panose="020B0604020202020204" pitchFamily="34" charset="0"/>
              <a:buChar char="•"/>
            </a:pPr>
            <a:endParaRPr lang="en-US" noProof="0" dirty="0"/>
          </a:p>
        </p:txBody>
      </p:sp>
      <p:sp>
        <p:nvSpPr>
          <p:cNvPr id="2" name="Title 1">
            <a:extLst>
              <a:ext uri="{FF2B5EF4-FFF2-40B4-BE49-F238E27FC236}">
                <a16:creationId xmlns:a16="http://schemas.microsoft.com/office/drawing/2014/main" id="{82D3EFB2-3CD8-DDAE-F31F-0D9E96E622FB}"/>
              </a:ext>
            </a:extLst>
          </p:cNvPr>
          <p:cNvSpPr>
            <a:spLocks noGrp="1"/>
          </p:cNvSpPr>
          <p:nvPr>
            <p:ph type="title"/>
          </p:nvPr>
        </p:nvSpPr>
        <p:spPr/>
        <p:txBody>
          <a:bodyPr/>
          <a:lstStyle/>
          <a:p>
            <a:r>
              <a:rPr lang="en-US" noProof="0" dirty="0"/>
              <a:t>What lessons for the future</a:t>
            </a:r>
          </a:p>
        </p:txBody>
      </p:sp>
      <p:grpSp>
        <p:nvGrpSpPr>
          <p:cNvPr id="19" name="Group 18">
            <a:extLst>
              <a:ext uri="{FF2B5EF4-FFF2-40B4-BE49-F238E27FC236}">
                <a16:creationId xmlns:a16="http://schemas.microsoft.com/office/drawing/2014/main" id="{C56A7778-DF6D-C0DA-9E00-4A4B21013251}"/>
              </a:ext>
            </a:extLst>
          </p:cNvPr>
          <p:cNvGrpSpPr/>
          <p:nvPr/>
        </p:nvGrpSpPr>
        <p:grpSpPr>
          <a:xfrm>
            <a:off x="1236839" y="3107766"/>
            <a:ext cx="9718321" cy="2256514"/>
            <a:chOff x="1236839" y="3107766"/>
            <a:chExt cx="9718321" cy="2256514"/>
          </a:xfrm>
          <a:effectLst>
            <a:outerShdw blurRad="50800" dist="38100" dir="8100000" algn="tr" rotWithShape="0">
              <a:prstClr val="black">
                <a:alpha val="40000"/>
              </a:prstClr>
            </a:outerShdw>
          </a:effectLst>
        </p:grpSpPr>
        <p:grpSp>
          <p:nvGrpSpPr>
            <p:cNvPr id="13" name="Group 12">
              <a:extLst>
                <a:ext uri="{FF2B5EF4-FFF2-40B4-BE49-F238E27FC236}">
                  <a16:creationId xmlns:a16="http://schemas.microsoft.com/office/drawing/2014/main" id="{A857A58D-B4F1-DD4C-38C8-23B2B1C66405}"/>
                </a:ext>
              </a:extLst>
            </p:cNvPr>
            <p:cNvGrpSpPr/>
            <p:nvPr/>
          </p:nvGrpSpPr>
          <p:grpSpPr>
            <a:xfrm>
              <a:off x="1236839" y="3107766"/>
              <a:ext cx="9718321" cy="2256514"/>
              <a:chOff x="1473554" y="4994206"/>
              <a:chExt cx="9718321" cy="2256514"/>
            </a:xfrm>
          </p:grpSpPr>
          <p:grpSp>
            <p:nvGrpSpPr>
              <p:cNvPr id="12" name="Group 11">
                <a:extLst>
                  <a:ext uri="{FF2B5EF4-FFF2-40B4-BE49-F238E27FC236}">
                    <a16:creationId xmlns:a16="http://schemas.microsoft.com/office/drawing/2014/main" id="{522AE4F3-BFC9-30AD-23D0-323CAC14C4A3}"/>
                  </a:ext>
                </a:extLst>
              </p:cNvPr>
              <p:cNvGrpSpPr/>
              <p:nvPr/>
            </p:nvGrpSpPr>
            <p:grpSpPr>
              <a:xfrm>
                <a:off x="1512678" y="4994206"/>
                <a:ext cx="9679197" cy="2256514"/>
                <a:chOff x="1512678" y="5953121"/>
                <a:chExt cx="9679197" cy="2256514"/>
              </a:xfrm>
            </p:grpSpPr>
            <p:sp>
              <p:nvSpPr>
                <p:cNvPr id="8" name="Rectangle 7">
                  <a:extLst>
                    <a:ext uri="{FF2B5EF4-FFF2-40B4-BE49-F238E27FC236}">
                      <a16:creationId xmlns:a16="http://schemas.microsoft.com/office/drawing/2014/main" id="{53550698-EAC2-CC78-35F2-7D39838E36C8}"/>
                    </a:ext>
                  </a:extLst>
                </p:cNvPr>
                <p:cNvSpPr/>
                <p:nvPr/>
              </p:nvSpPr>
              <p:spPr>
                <a:xfrm>
                  <a:off x="1512678" y="5953121"/>
                  <a:ext cx="9679197" cy="2256514"/>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2325B97-206B-E8B4-904C-07E56C11C3AC}"/>
                    </a:ext>
                  </a:extLst>
                </p:cNvPr>
                <p:cNvSpPr/>
                <p:nvPr/>
              </p:nvSpPr>
              <p:spPr>
                <a:xfrm>
                  <a:off x="1512678" y="5953125"/>
                  <a:ext cx="706647" cy="784893"/>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dirty="0"/>
                </a:p>
              </p:txBody>
            </p:sp>
          </p:grpSp>
          <p:pic>
            <p:nvPicPr>
              <p:cNvPr id="6" name="Graphic 5" descr="Gears outline">
                <a:extLst>
                  <a:ext uri="{FF2B5EF4-FFF2-40B4-BE49-F238E27FC236}">
                    <a16:creationId xmlns:a16="http://schemas.microsoft.com/office/drawing/2014/main" id="{B6CDD08C-E946-D4EC-6591-F13ED555AB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73554" y="5013264"/>
                <a:ext cx="784893" cy="784893"/>
              </a:xfrm>
              <a:prstGeom prst="rect">
                <a:avLst/>
              </a:prstGeom>
            </p:spPr>
          </p:pic>
        </p:grpSp>
        <p:sp>
          <p:nvSpPr>
            <p:cNvPr id="11" name="TextBox 10">
              <a:extLst>
                <a:ext uri="{FF2B5EF4-FFF2-40B4-BE49-F238E27FC236}">
                  <a16:creationId xmlns:a16="http://schemas.microsoft.com/office/drawing/2014/main" id="{E653515F-2145-3600-4E37-696C6F0F8694}"/>
                </a:ext>
              </a:extLst>
            </p:cNvPr>
            <p:cNvSpPr txBox="1"/>
            <p:nvPr/>
          </p:nvSpPr>
          <p:spPr>
            <a:xfrm>
              <a:off x="1982610" y="3220360"/>
              <a:ext cx="8820150" cy="2031325"/>
            </a:xfrm>
            <a:prstGeom prst="rect">
              <a:avLst/>
            </a:prstGeom>
            <a:noFill/>
          </p:spPr>
          <p:txBody>
            <a:bodyPr wrap="square">
              <a:spAutoFit/>
            </a:bodyPr>
            <a:lstStyle/>
            <a:p>
              <a:pPr marL="342900" indent="-342900" algn="just">
                <a:buFont typeface="+mj-lt"/>
                <a:buAutoNum type="arabicPeriod"/>
              </a:pPr>
              <a:r>
                <a:rPr lang="en-US" sz="1800" noProof="0" dirty="0">
                  <a:latin typeface="Aptos Light" panose="020B0004020202020204" pitchFamily="34" charset="0"/>
                </a:rPr>
                <a:t>Need of operational decision tools regarding mobilization of voltage control solutions (settings for reactive power support from conventional and RES generation plants, connection /disconnection of reactors, FACTS /SVC, Connection / disconnection oh HV lines, dispatch of synchronous condensers)</a:t>
              </a:r>
            </a:p>
            <a:p>
              <a:pPr marL="342900" indent="-342900" algn="just">
                <a:buFont typeface="+mj-lt"/>
                <a:buAutoNum type="arabicPeriod"/>
              </a:pPr>
              <a:r>
                <a:rPr lang="en-US" sz="1800" noProof="0" dirty="0">
                  <a:latin typeface="Aptos Light" panose="020B0004020202020204" pitchFamily="34" charset="0"/>
                </a:rPr>
                <a:t>Dynamic security assessment for a set of critical contingencies / disturbances</a:t>
              </a:r>
            </a:p>
            <a:p>
              <a:pPr marL="342900" indent="-342900" algn="just">
                <a:buFont typeface="+mj-lt"/>
                <a:buAutoNum type="arabicPeriod"/>
              </a:pPr>
              <a:r>
                <a:rPr lang="en-US" sz="1800" noProof="0" dirty="0">
                  <a:latin typeface="Aptos Light" panose="020B0004020202020204" pitchFamily="34" charset="0"/>
                </a:rPr>
                <a:t>Definition of preventive control measures like dispatch of synchronous units to deal with technical restrictions (like voltage control) and redispatches.</a:t>
              </a:r>
            </a:p>
          </p:txBody>
        </p:sp>
      </p:grpSp>
    </p:spTree>
    <p:extLst>
      <p:ext uri="{BB962C8B-B14F-4D97-AF65-F5344CB8AC3E}">
        <p14:creationId xmlns:p14="http://schemas.microsoft.com/office/powerpoint/2010/main" val="8286480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061EB7C-0055-039D-4BCA-E783A3718DB1}"/>
              </a:ext>
            </a:extLst>
          </p:cNvPr>
          <p:cNvSpPr>
            <a:spLocks noGrp="1"/>
          </p:cNvSpPr>
          <p:nvPr>
            <p:ph type="body" sz="quarter" idx="10"/>
          </p:nvPr>
        </p:nvSpPr>
        <p:spPr>
          <a:xfrm>
            <a:off x="352426" y="976235"/>
            <a:ext cx="5531540" cy="4847481"/>
          </a:xfrm>
        </p:spPr>
        <p:txBody>
          <a:bodyPr/>
          <a:lstStyle/>
          <a:p>
            <a:r>
              <a:rPr lang="en-US" noProof="0" dirty="0"/>
              <a:t>03</a:t>
            </a:r>
          </a:p>
        </p:txBody>
      </p:sp>
      <p:sp>
        <p:nvSpPr>
          <p:cNvPr id="2" name="Title 1">
            <a:extLst>
              <a:ext uri="{FF2B5EF4-FFF2-40B4-BE49-F238E27FC236}">
                <a16:creationId xmlns:a16="http://schemas.microsoft.com/office/drawing/2014/main" id="{E856C5C1-44BB-572C-7E72-588F444613D2}"/>
              </a:ext>
            </a:extLst>
          </p:cNvPr>
          <p:cNvSpPr>
            <a:spLocks noGrp="1"/>
          </p:cNvSpPr>
          <p:nvPr>
            <p:ph type="title"/>
          </p:nvPr>
        </p:nvSpPr>
        <p:spPr/>
        <p:txBody>
          <a:bodyPr/>
          <a:lstStyle/>
          <a:p>
            <a:r>
              <a:rPr lang="en-US" noProof="0" dirty="0"/>
              <a:t>Replicating the Event: A Digital Twin of the Iberian System</a:t>
            </a:r>
          </a:p>
        </p:txBody>
      </p:sp>
      <p:sp>
        <p:nvSpPr>
          <p:cNvPr id="4" name="Text Placeholder 3">
            <a:extLst>
              <a:ext uri="{FF2B5EF4-FFF2-40B4-BE49-F238E27FC236}">
                <a16:creationId xmlns:a16="http://schemas.microsoft.com/office/drawing/2014/main" id="{CE5226D8-8524-BFDC-965C-FE631DBFD9C1}"/>
              </a:ext>
            </a:extLst>
          </p:cNvPr>
          <p:cNvSpPr>
            <a:spLocks noGrp="1"/>
          </p:cNvSpPr>
          <p:nvPr>
            <p:ph type="body" idx="1"/>
          </p:nvPr>
        </p:nvSpPr>
        <p:spPr/>
        <p:txBody>
          <a:bodyPr/>
          <a:lstStyle/>
          <a:p>
            <a:endParaRPr lang="en-US" noProof="0" dirty="0"/>
          </a:p>
        </p:txBody>
      </p:sp>
    </p:spTree>
    <p:extLst>
      <p:ext uri="{BB962C8B-B14F-4D97-AF65-F5344CB8AC3E}">
        <p14:creationId xmlns:p14="http://schemas.microsoft.com/office/powerpoint/2010/main" val="1084155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C3D78-5D6F-CD7E-D3A9-F21FCBC2143D}"/>
              </a:ext>
            </a:extLst>
          </p:cNvPr>
          <p:cNvSpPr>
            <a:spLocks noGrp="1"/>
          </p:cNvSpPr>
          <p:nvPr>
            <p:ph type="title"/>
          </p:nvPr>
        </p:nvSpPr>
        <p:spPr/>
        <p:txBody>
          <a:bodyPr>
            <a:normAutofit/>
          </a:bodyPr>
          <a:lstStyle/>
          <a:p>
            <a:r>
              <a:rPr lang="en-US" noProof="0" dirty="0"/>
              <a:t>Equivalent dynamic model of Iberia interconnected with Central European System</a:t>
            </a:r>
          </a:p>
        </p:txBody>
      </p:sp>
      <p:pic>
        <p:nvPicPr>
          <p:cNvPr id="4" name="Content Placeholder 3">
            <a:extLst>
              <a:ext uri="{FF2B5EF4-FFF2-40B4-BE49-F238E27FC236}">
                <a16:creationId xmlns:a16="http://schemas.microsoft.com/office/drawing/2014/main" id="{8A1FD5E4-AB2A-140E-7FCF-7A287F3295D4}"/>
              </a:ext>
            </a:extLst>
          </p:cNvPr>
          <p:cNvPicPr>
            <a:picLocks noGrp="1" noChangeAspect="1"/>
          </p:cNvPicPr>
          <p:nvPr>
            <p:ph sz="quarter" idx="4294967295"/>
          </p:nvPr>
        </p:nvPicPr>
        <p:blipFill>
          <a:blip r:embed="rId2"/>
          <a:stretch>
            <a:fillRect/>
          </a:stretch>
        </p:blipFill>
        <p:spPr>
          <a:xfrm>
            <a:off x="7386638" y="1774825"/>
            <a:ext cx="4805362" cy="4616450"/>
          </a:xfrm>
          <a:prstGeom prst="rect">
            <a:avLst/>
          </a:prstGeom>
        </p:spPr>
      </p:pic>
      <p:grpSp>
        <p:nvGrpSpPr>
          <p:cNvPr id="33" name="Group 32">
            <a:extLst>
              <a:ext uri="{FF2B5EF4-FFF2-40B4-BE49-F238E27FC236}">
                <a16:creationId xmlns:a16="http://schemas.microsoft.com/office/drawing/2014/main" id="{41940431-AB84-5E9F-4DEF-86B3E857BE7B}"/>
              </a:ext>
            </a:extLst>
          </p:cNvPr>
          <p:cNvGrpSpPr/>
          <p:nvPr/>
        </p:nvGrpSpPr>
        <p:grpSpPr>
          <a:xfrm>
            <a:off x="889110" y="2563712"/>
            <a:ext cx="6334126" cy="3021003"/>
            <a:chOff x="522352" y="1906237"/>
            <a:chExt cx="6334126" cy="3021003"/>
          </a:xfrm>
        </p:grpSpPr>
        <p:sp>
          <p:nvSpPr>
            <p:cNvPr id="8" name="Rectangle: Rounded Corners 7">
              <a:extLst>
                <a:ext uri="{FF2B5EF4-FFF2-40B4-BE49-F238E27FC236}">
                  <a16:creationId xmlns:a16="http://schemas.microsoft.com/office/drawing/2014/main" id="{77589F56-3585-1FAB-8419-BF8C8D78DA78}"/>
                </a:ext>
              </a:extLst>
            </p:cNvPr>
            <p:cNvSpPr/>
            <p:nvPr/>
          </p:nvSpPr>
          <p:spPr>
            <a:xfrm>
              <a:off x="522353" y="1906237"/>
              <a:ext cx="5667375" cy="1285875"/>
            </a:xfrm>
            <a:prstGeom prst="roundRect">
              <a:avLst/>
            </a:prstGeom>
            <a:noFill/>
            <a:ln w="19050">
              <a:solidFill>
                <a:srgbClr val="0023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2" name="Group 31">
              <a:extLst>
                <a:ext uri="{FF2B5EF4-FFF2-40B4-BE49-F238E27FC236}">
                  <a16:creationId xmlns:a16="http://schemas.microsoft.com/office/drawing/2014/main" id="{5F880879-68DD-F450-51AF-DB78B3954C8C}"/>
                </a:ext>
              </a:extLst>
            </p:cNvPr>
            <p:cNvGrpSpPr/>
            <p:nvPr/>
          </p:nvGrpSpPr>
          <p:grpSpPr>
            <a:xfrm>
              <a:off x="522352" y="1963387"/>
              <a:ext cx="6334126" cy="2963853"/>
              <a:chOff x="522352" y="1963387"/>
              <a:chExt cx="6334126" cy="2963853"/>
            </a:xfrm>
          </p:grpSpPr>
          <p:sp>
            <p:nvSpPr>
              <p:cNvPr id="10" name="Rectangle 9">
                <a:extLst>
                  <a:ext uri="{FF2B5EF4-FFF2-40B4-BE49-F238E27FC236}">
                    <a16:creationId xmlns:a16="http://schemas.microsoft.com/office/drawing/2014/main" id="{620C04F5-4672-FBDB-56E4-6872B33D5664}"/>
                  </a:ext>
                </a:extLst>
              </p:cNvPr>
              <p:cNvSpPr/>
              <p:nvPr/>
            </p:nvSpPr>
            <p:spPr>
              <a:xfrm>
                <a:off x="760478" y="3850022"/>
                <a:ext cx="6096000" cy="1077218"/>
              </a:xfrm>
              <a:prstGeom prst="rect">
                <a:avLst/>
              </a:prstGeom>
            </p:spPr>
            <p:txBody>
              <a:bodyPr wrap="square">
                <a:spAutoFit/>
              </a:bodyPr>
              <a:lstStyle/>
              <a:p>
                <a:pPr marL="342900" indent="-342900" algn="just">
                  <a:buFont typeface="+mj-lt"/>
                  <a:buAutoNum type="arabicPeriod"/>
                </a:pPr>
                <a:r>
                  <a:rPr lang="en-US" sz="1600" b="1" noProof="0" dirty="0">
                    <a:solidFill>
                      <a:srgbClr val="002360"/>
                    </a:solidFill>
                    <a:latin typeface="Aptos Light "/>
                  </a:rPr>
                  <a:t>To assess the frequency stability </a:t>
                </a:r>
                <a:r>
                  <a:rPr lang="en-US" sz="1600" noProof="0" dirty="0">
                    <a:solidFill>
                      <a:srgbClr val="002360"/>
                    </a:solidFill>
                    <a:latin typeface="Aptos Light "/>
                  </a:rPr>
                  <a:t>of the Iberian grid</a:t>
                </a:r>
                <a:r>
                  <a:rPr lang="en-US" sz="1600" b="1" noProof="0" dirty="0">
                    <a:solidFill>
                      <a:srgbClr val="002360"/>
                    </a:solidFill>
                    <a:latin typeface="Aptos Light "/>
                  </a:rPr>
                  <a:t>.</a:t>
                </a:r>
                <a:endParaRPr lang="en-US" sz="1600" noProof="0" dirty="0">
                  <a:solidFill>
                    <a:srgbClr val="002360"/>
                  </a:solidFill>
                  <a:latin typeface="Aptos Light "/>
                </a:endParaRPr>
              </a:p>
              <a:p>
                <a:pPr marL="342900" indent="-342900" algn="just">
                  <a:buFont typeface="+mj-lt"/>
                  <a:buAutoNum type="arabicPeriod"/>
                </a:pPr>
                <a:r>
                  <a:rPr lang="en-US" sz="1600" b="1" noProof="0" dirty="0">
                    <a:solidFill>
                      <a:srgbClr val="002360"/>
                    </a:solidFill>
                    <a:latin typeface="Aptos Light "/>
                  </a:rPr>
                  <a:t>Identification of required ancillary services </a:t>
                </a:r>
                <a:r>
                  <a:rPr lang="en-US" sz="1600" noProof="0" dirty="0">
                    <a:solidFill>
                      <a:srgbClr val="002360"/>
                    </a:solidFill>
                    <a:latin typeface="Aptos Light "/>
                  </a:rPr>
                  <a:t>to improve the dynamic behavior.  </a:t>
                </a:r>
              </a:p>
              <a:p>
                <a:pPr marL="342900" indent="-342900" algn="just">
                  <a:buFont typeface="+mj-lt"/>
                  <a:buAutoNum type="arabicPeriod"/>
                </a:pPr>
                <a:r>
                  <a:rPr lang="en-US" sz="1600" dirty="0">
                    <a:solidFill>
                      <a:srgbClr val="002360"/>
                    </a:solidFill>
                    <a:latin typeface="Aptos Light "/>
                  </a:rPr>
                  <a:t>To evaluate the effectiveness of the load shedding schemes. </a:t>
                </a:r>
                <a:endParaRPr lang="en-US" sz="1600" noProof="0" dirty="0">
                  <a:solidFill>
                    <a:srgbClr val="002360"/>
                  </a:solidFill>
                  <a:latin typeface="Aptos Light "/>
                </a:endParaRPr>
              </a:p>
            </p:txBody>
          </p:sp>
          <p:sp>
            <p:nvSpPr>
              <p:cNvPr id="3" name="TextBox 2">
                <a:extLst>
                  <a:ext uri="{FF2B5EF4-FFF2-40B4-BE49-F238E27FC236}">
                    <a16:creationId xmlns:a16="http://schemas.microsoft.com/office/drawing/2014/main" id="{4FCA1201-49B6-171D-0E0C-F70B8497E46D}"/>
                  </a:ext>
                </a:extLst>
              </p:cNvPr>
              <p:cNvSpPr txBox="1"/>
              <p:nvPr/>
            </p:nvSpPr>
            <p:spPr>
              <a:xfrm>
                <a:off x="1303403" y="1963387"/>
                <a:ext cx="4552950" cy="923330"/>
              </a:xfrm>
              <a:prstGeom prst="rect">
                <a:avLst/>
              </a:prstGeom>
              <a:noFill/>
            </p:spPr>
            <p:txBody>
              <a:bodyPr wrap="square" rtlCol="0">
                <a:spAutoFit/>
              </a:bodyPr>
              <a:lstStyle/>
              <a:p>
                <a:r>
                  <a:rPr lang="en-US" b="1" noProof="0" dirty="0">
                    <a:solidFill>
                      <a:srgbClr val="002360"/>
                    </a:solidFill>
                    <a:latin typeface="Aptos Light "/>
                  </a:rPr>
                  <a:t>Digital Twin </a:t>
                </a:r>
                <a:r>
                  <a:rPr lang="en-US" noProof="0" dirty="0">
                    <a:solidFill>
                      <a:srgbClr val="002360"/>
                    </a:solidFill>
                    <a:latin typeface="Aptos Light "/>
                  </a:rPr>
                  <a:t>representing the </a:t>
                </a:r>
                <a:r>
                  <a:rPr lang="en-US" b="1" noProof="0" dirty="0">
                    <a:solidFill>
                      <a:srgbClr val="002360"/>
                    </a:solidFill>
                    <a:latin typeface="Aptos Light "/>
                  </a:rPr>
                  <a:t>dynamic behavior</a:t>
                </a:r>
                <a:r>
                  <a:rPr lang="en-US" noProof="0" dirty="0">
                    <a:solidFill>
                      <a:srgbClr val="002360"/>
                    </a:solidFill>
                    <a:latin typeface="Aptos Light "/>
                  </a:rPr>
                  <a:t> of </a:t>
                </a:r>
                <a:r>
                  <a:rPr lang="en-US" b="1" noProof="0" dirty="0">
                    <a:solidFill>
                      <a:srgbClr val="002360"/>
                    </a:solidFill>
                    <a:latin typeface="Aptos Light "/>
                  </a:rPr>
                  <a:t>Iberian system </a:t>
                </a:r>
                <a:r>
                  <a:rPr lang="en-US" noProof="0" dirty="0">
                    <a:solidFill>
                      <a:srgbClr val="002360"/>
                    </a:solidFill>
                    <a:latin typeface="Aptos Light "/>
                  </a:rPr>
                  <a:t>interconnected with the </a:t>
                </a:r>
                <a:r>
                  <a:rPr lang="en-US" b="1" noProof="0" dirty="0">
                    <a:solidFill>
                      <a:srgbClr val="002360"/>
                    </a:solidFill>
                    <a:latin typeface="Aptos Light "/>
                  </a:rPr>
                  <a:t>Central European system</a:t>
                </a:r>
              </a:p>
            </p:txBody>
          </p:sp>
          <p:cxnSp>
            <p:nvCxnSpPr>
              <p:cNvPr id="12" name="Connector: Elbow 11">
                <a:extLst>
                  <a:ext uri="{FF2B5EF4-FFF2-40B4-BE49-F238E27FC236}">
                    <a16:creationId xmlns:a16="http://schemas.microsoft.com/office/drawing/2014/main" id="{24C9261D-263F-B566-2B03-57A3306401B2}"/>
                  </a:ext>
                </a:extLst>
              </p:cNvPr>
              <p:cNvCxnSpPr>
                <a:cxnSpLocks/>
                <a:stCxn id="8" idx="1"/>
                <a:endCxn id="13" idx="1"/>
              </p:cNvCxnSpPr>
              <p:nvPr/>
            </p:nvCxnSpPr>
            <p:spPr>
              <a:xfrm rot="10800000" flipH="1" flipV="1">
                <a:off x="522352" y="2549175"/>
                <a:ext cx="219075" cy="1042986"/>
              </a:xfrm>
              <a:prstGeom prst="bentConnector3">
                <a:avLst>
                  <a:gd name="adj1" fmla="val -104348"/>
                </a:avLst>
              </a:prstGeom>
              <a:ln w="19050">
                <a:solidFill>
                  <a:srgbClr val="00236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6D240105-6251-EF72-8E9A-E48B46CF9174}"/>
                  </a:ext>
                </a:extLst>
              </p:cNvPr>
              <p:cNvSpPr/>
              <p:nvPr/>
            </p:nvSpPr>
            <p:spPr>
              <a:xfrm>
                <a:off x="741428" y="3420711"/>
                <a:ext cx="1876425" cy="342900"/>
              </a:xfrm>
              <a:prstGeom prst="roundRect">
                <a:avLst/>
              </a:prstGeom>
              <a:solidFill>
                <a:srgbClr val="002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noProof="0" dirty="0">
                    <a:latin typeface="Century Gothic" panose="020B0502020202020204" pitchFamily="34" charset="0"/>
                  </a:rPr>
                  <a:t>OBJECTIVES</a:t>
                </a:r>
              </a:p>
            </p:txBody>
          </p:sp>
          <p:grpSp>
            <p:nvGrpSpPr>
              <p:cNvPr id="17" name="Group 16">
                <a:extLst>
                  <a:ext uri="{FF2B5EF4-FFF2-40B4-BE49-F238E27FC236}">
                    <a16:creationId xmlns:a16="http://schemas.microsoft.com/office/drawing/2014/main" id="{BC95E9B9-538A-8693-697A-6F9A6190B431}"/>
                  </a:ext>
                </a:extLst>
              </p:cNvPr>
              <p:cNvGrpSpPr/>
              <p:nvPr/>
            </p:nvGrpSpPr>
            <p:grpSpPr>
              <a:xfrm>
                <a:off x="755032" y="2278796"/>
                <a:ext cx="447457" cy="446820"/>
                <a:chOff x="9012976" y="2479965"/>
                <a:chExt cx="668338" cy="667387"/>
              </a:xfrm>
              <a:solidFill>
                <a:srgbClr val="002360"/>
              </a:solidFill>
            </p:grpSpPr>
            <p:sp>
              <p:nvSpPr>
                <p:cNvPr id="18" name="Oval 190">
                  <a:extLst>
                    <a:ext uri="{FF2B5EF4-FFF2-40B4-BE49-F238E27FC236}">
                      <a16:creationId xmlns:a16="http://schemas.microsoft.com/office/drawing/2014/main" id="{F810AB7C-759D-9A41-7307-927B78C2A142}"/>
                    </a:ext>
                  </a:extLst>
                </p:cNvPr>
                <p:cNvSpPr>
                  <a:spLocks noChangeArrowheads="1"/>
                </p:cNvSpPr>
                <p:nvPr/>
              </p:nvSpPr>
              <p:spPr bwMode="auto">
                <a:xfrm>
                  <a:off x="9335966" y="2947088"/>
                  <a:ext cx="22357" cy="223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 name="Freeform 191">
                  <a:extLst>
                    <a:ext uri="{FF2B5EF4-FFF2-40B4-BE49-F238E27FC236}">
                      <a16:creationId xmlns:a16="http://schemas.microsoft.com/office/drawing/2014/main" id="{F2ECA1D8-6726-068A-1C2C-5E62ABB3CAB5}"/>
                    </a:ext>
                  </a:extLst>
                </p:cNvPr>
                <p:cNvSpPr>
                  <a:spLocks noEditPoints="1"/>
                </p:cNvSpPr>
                <p:nvPr/>
              </p:nvSpPr>
              <p:spPr bwMode="auto">
                <a:xfrm>
                  <a:off x="9012976" y="2479965"/>
                  <a:ext cx="668338" cy="667387"/>
                </a:xfrm>
                <a:custGeom>
                  <a:avLst/>
                  <a:gdLst>
                    <a:gd name="T0" fmla="*/ 171 w 2048"/>
                    <a:gd name="T1" fmla="*/ 0 h 2048"/>
                    <a:gd name="T2" fmla="*/ 171 w 2048"/>
                    <a:gd name="T3" fmla="*/ 1638 h 2048"/>
                    <a:gd name="T4" fmla="*/ 546 w 2048"/>
                    <a:gd name="T5" fmla="*/ 1946 h 2048"/>
                    <a:gd name="T6" fmla="*/ 1502 w 2048"/>
                    <a:gd name="T7" fmla="*/ 1946 h 2048"/>
                    <a:gd name="T8" fmla="*/ 1877 w 2048"/>
                    <a:gd name="T9" fmla="*/ 1638 h 2048"/>
                    <a:gd name="T10" fmla="*/ 2016 w 2048"/>
                    <a:gd name="T11" fmla="*/ 71 h 2048"/>
                    <a:gd name="T12" fmla="*/ 1604 w 2048"/>
                    <a:gd name="T13" fmla="*/ 822 h 2048"/>
                    <a:gd name="T14" fmla="*/ 1604 w 2048"/>
                    <a:gd name="T15" fmla="*/ 1297 h 2048"/>
                    <a:gd name="T16" fmla="*/ 1523 w 2048"/>
                    <a:gd name="T17" fmla="*/ 898 h 2048"/>
                    <a:gd name="T18" fmla="*/ 1331 w 2048"/>
                    <a:gd name="T19" fmla="*/ 1297 h 2048"/>
                    <a:gd name="T20" fmla="*/ 1263 w 2048"/>
                    <a:gd name="T21" fmla="*/ 1072 h 2048"/>
                    <a:gd name="T22" fmla="*/ 785 w 2048"/>
                    <a:gd name="T23" fmla="*/ 1297 h 2048"/>
                    <a:gd name="T24" fmla="*/ 990 w 2048"/>
                    <a:gd name="T25" fmla="*/ 1122 h 2048"/>
                    <a:gd name="T26" fmla="*/ 512 w 2048"/>
                    <a:gd name="T27" fmla="*/ 1297 h 2048"/>
                    <a:gd name="T28" fmla="*/ 717 w 2048"/>
                    <a:gd name="T29" fmla="*/ 1297 h 2048"/>
                    <a:gd name="T30" fmla="*/ 273 w 2048"/>
                    <a:gd name="T31" fmla="*/ 1239 h 2048"/>
                    <a:gd name="T32" fmla="*/ 444 w 2048"/>
                    <a:gd name="T33" fmla="*/ 1297 h 2048"/>
                    <a:gd name="T34" fmla="*/ 68 w 2048"/>
                    <a:gd name="T35" fmla="*/ 1263 h 2048"/>
                    <a:gd name="T36" fmla="*/ 68 w 2048"/>
                    <a:gd name="T37" fmla="*/ 1297 h 2048"/>
                    <a:gd name="T38" fmla="*/ 1980 w 2048"/>
                    <a:gd name="T39" fmla="*/ 649 h 2048"/>
                    <a:gd name="T40" fmla="*/ 1979 w 2048"/>
                    <a:gd name="T41" fmla="*/ 159 h 2048"/>
                    <a:gd name="T42" fmla="*/ 1604 w 2048"/>
                    <a:gd name="T43" fmla="*/ 435 h 2048"/>
                    <a:gd name="T44" fmla="*/ 1536 w 2048"/>
                    <a:gd name="T45" fmla="*/ 790 h 2048"/>
                    <a:gd name="T46" fmla="*/ 1331 w 2048"/>
                    <a:gd name="T47" fmla="*/ 763 h 2048"/>
                    <a:gd name="T48" fmla="*/ 1263 w 2048"/>
                    <a:gd name="T49" fmla="*/ 999 h 2048"/>
                    <a:gd name="T50" fmla="*/ 1263 w 2048"/>
                    <a:gd name="T51" fmla="*/ 785 h 2048"/>
                    <a:gd name="T52" fmla="*/ 853 w 2048"/>
                    <a:gd name="T53" fmla="*/ 1058 h 2048"/>
                    <a:gd name="T54" fmla="*/ 990 w 2048"/>
                    <a:gd name="T55" fmla="*/ 819 h 2048"/>
                    <a:gd name="T56" fmla="*/ 512 w 2048"/>
                    <a:gd name="T57" fmla="*/ 1087 h 2048"/>
                    <a:gd name="T58" fmla="*/ 717 w 2048"/>
                    <a:gd name="T59" fmla="*/ 1062 h 2048"/>
                    <a:gd name="T60" fmla="*/ 273 w 2048"/>
                    <a:gd name="T61" fmla="*/ 1168 h 2048"/>
                    <a:gd name="T62" fmla="*/ 444 w 2048"/>
                    <a:gd name="T63" fmla="*/ 1007 h 2048"/>
                    <a:gd name="T64" fmla="*/ 68 w 2048"/>
                    <a:gd name="T65" fmla="*/ 1194 h 2048"/>
                    <a:gd name="T66" fmla="*/ 205 w 2048"/>
                    <a:gd name="T67" fmla="*/ 1183 h 2048"/>
                    <a:gd name="T68" fmla="*/ 1980 w 2048"/>
                    <a:gd name="T69" fmla="*/ 1297 h 2048"/>
                    <a:gd name="T70" fmla="*/ 171 w 2048"/>
                    <a:gd name="T71" fmla="*/ 68 h 2048"/>
                    <a:gd name="T72" fmla="*/ 1788 w 2048"/>
                    <a:gd name="T73" fmla="*/ 312 h 2048"/>
                    <a:gd name="T74" fmla="*/ 1555 w 2048"/>
                    <a:gd name="T75" fmla="*/ 380 h 2048"/>
                    <a:gd name="T76" fmla="*/ 1543 w 2048"/>
                    <a:gd name="T77" fmla="*/ 388 h 2048"/>
                    <a:gd name="T78" fmla="*/ 1012 w 2048"/>
                    <a:gd name="T79" fmla="*/ 719 h 2048"/>
                    <a:gd name="T80" fmla="*/ 740 w 2048"/>
                    <a:gd name="T81" fmla="*/ 922 h 2048"/>
                    <a:gd name="T82" fmla="*/ 464 w 2048"/>
                    <a:gd name="T83" fmla="*/ 924 h 2048"/>
                    <a:gd name="T84" fmla="*/ 68 w 2048"/>
                    <a:gd name="T85" fmla="*/ 171 h 2048"/>
                    <a:gd name="T86" fmla="*/ 649 w 2048"/>
                    <a:gd name="T87" fmla="*/ 1980 h 2048"/>
                    <a:gd name="T88" fmla="*/ 1399 w 2048"/>
                    <a:gd name="T89" fmla="*/ 1911 h 2048"/>
                    <a:gd name="T90" fmla="*/ 1258 w 2048"/>
                    <a:gd name="T91" fmla="*/ 1843 h 2048"/>
                    <a:gd name="T92" fmla="*/ 1162 w 2048"/>
                    <a:gd name="T93" fmla="*/ 1638 h 2048"/>
                    <a:gd name="T94" fmla="*/ 1877 w 2048"/>
                    <a:gd name="T95" fmla="*/ 1570 h 2048"/>
                    <a:gd name="T96" fmla="*/ 68 w 2048"/>
                    <a:gd name="T97" fmla="*/ 1365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48" h="2048">
                      <a:moveTo>
                        <a:pt x="2011" y="66"/>
                      </a:moveTo>
                      <a:cubicBezTo>
                        <a:pt x="1979" y="24"/>
                        <a:pt x="1930" y="0"/>
                        <a:pt x="1877" y="0"/>
                      </a:cubicBezTo>
                      <a:cubicBezTo>
                        <a:pt x="171" y="0"/>
                        <a:pt x="171" y="0"/>
                        <a:pt x="171" y="0"/>
                      </a:cubicBezTo>
                      <a:cubicBezTo>
                        <a:pt x="76" y="0"/>
                        <a:pt x="0" y="76"/>
                        <a:pt x="0" y="171"/>
                      </a:cubicBezTo>
                      <a:cubicBezTo>
                        <a:pt x="0" y="1468"/>
                        <a:pt x="0" y="1468"/>
                        <a:pt x="0" y="1468"/>
                      </a:cubicBezTo>
                      <a:cubicBezTo>
                        <a:pt x="0" y="1562"/>
                        <a:pt x="76" y="1638"/>
                        <a:pt x="171" y="1638"/>
                      </a:cubicBezTo>
                      <a:cubicBezTo>
                        <a:pt x="817" y="1638"/>
                        <a:pt x="817" y="1638"/>
                        <a:pt x="817" y="1638"/>
                      </a:cubicBezTo>
                      <a:cubicBezTo>
                        <a:pt x="802" y="1743"/>
                        <a:pt x="723" y="1843"/>
                        <a:pt x="649" y="1843"/>
                      </a:cubicBezTo>
                      <a:cubicBezTo>
                        <a:pt x="592" y="1843"/>
                        <a:pt x="546" y="1889"/>
                        <a:pt x="546" y="1946"/>
                      </a:cubicBezTo>
                      <a:cubicBezTo>
                        <a:pt x="546" y="2002"/>
                        <a:pt x="592" y="2048"/>
                        <a:pt x="649" y="2048"/>
                      </a:cubicBezTo>
                      <a:cubicBezTo>
                        <a:pt x="1399" y="2048"/>
                        <a:pt x="1399" y="2048"/>
                        <a:pt x="1399" y="2048"/>
                      </a:cubicBezTo>
                      <a:cubicBezTo>
                        <a:pt x="1456" y="2048"/>
                        <a:pt x="1502" y="2002"/>
                        <a:pt x="1502" y="1946"/>
                      </a:cubicBezTo>
                      <a:cubicBezTo>
                        <a:pt x="1502" y="1889"/>
                        <a:pt x="1456" y="1843"/>
                        <a:pt x="1399" y="1843"/>
                      </a:cubicBezTo>
                      <a:cubicBezTo>
                        <a:pt x="1325" y="1843"/>
                        <a:pt x="1246" y="1743"/>
                        <a:pt x="1231" y="1638"/>
                      </a:cubicBezTo>
                      <a:cubicBezTo>
                        <a:pt x="1877" y="1638"/>
                        <a:pt x="1877" y="1638"/>
                        <a:pt x="1877" y="1638"/>
                      </a:cubicBezTo>
                      <a:cubicBezTo>
                        <a:pt x="1972" y="1638"/>
                        <a:pt x="2048" y="1562"/>
                        <a:pt x="2048" y="1468"/>
                      </a:cubicBezTo>
                      <a:cubicBezTo>
                        <a:pt x="2048" y="171"/>
                        <a:pt x="2048" y="171"/>
                        <a:pt x="2048" y="171"/>
                      </a:cubicBezTo>
                      <a:cubicBezTo>
                        <a:pt x="2048" y="135"/>
                        <a:pt x="2037" y="100"/>
                        <a:pt x="2016" y="71"/>
                      </a:cubicBezTo>
                      <a:cubicBezTo>
                        <a:pt x="2014" y="69"/>
                        <a:pt x="2013" y="67"/>
                        <a:pt x="2011" y="66"/>
                      </a:cubicBezTo>
                      <a:close/>
                      <a:moveTo>
                        <a:pt x="1604" y="1297"/>
                      </a:moveTo>
                      <a:cubicBezTo>
                        <a:pt x="1604" y="822"/>
                        <a:pt x="1604" y="822"/>
                        <a:pt x="1604" y="822"/>
                      </a:cubicBezTo>
                      <a:cubicBezTo>
                        <a:pt x="1654" y="783"/>
                        <a:pt x="1713" y="755"/>
                        <a:pt x="1775" y="741"/>
                      </a:cubicBezTo>
                      <a:cubicBezTo>
                        <a:pt x="1775" y="1297"/>
                        <a:pt x="1775" y="1297"/>
                        <a:pt x="1775" y="1297"/>
                      </a:cubicBezTo>
                      <a:lnTo>
                        <a:pt x="1604" y="1297"/>
                      </a:lnTo>
                      <a:close/>
                      <a:moveTo>
                        <a:pt x="1331" y="1297"/>
                      </a:moveTo>
                      <a:cubicBezTo>
                        <a:pt x="1331" y="1044"/>
                        <a:pt x="1331" y="1044"/>
                        <a:pt x="1331" y="1044"/>
                      </a:cubicBezTo>
                      <a:cubicBezTo>
                        <a:pt x="1404" y="1007"/>
                        <a:pt x="1469" y="958"/>
                        <a:pt x="1523" y="898"/>
                      </a:cubicBezTo>
                      <a:cubicBezTo>
                        <a:pt x="1527" y="893"/>
                        <a:pt x="1532" y="889"/>
                        <a:pt x="1536" y="884"/>
                      </a:cubicBezTo>
                      <a:cubicBezTo>
                        <a:pt x="1536" y="1297"/>
                        <a:pt x="1536" y="1297"/>
                        <a:pt x="1536" y="1297"/>
                      </a:cubicBezTo>
                      <a:lnTo>
                        <a:pt x="1331" y="1297"/>
                      </a:lnTo>
                      <a:close/>
                      <a:moveTo>
                        <a:pt x="1058" y="1297"/>
                      </a:moveTo>
                      <a:cubicBezTo>
                        <a:pt x="1058" y="1116"/>
                        <a:pt x="1058" y="1116"/>
                        <a:pt x="1058" y="1116"/>
                      </a:cubicBezTo>
                      <a:cubicBezTo>
                        <a:pt x="1128" y="1109"/>
                        <a:pt x="1196" y="1094"/>
                        <a:pt x="1263" y="1072"/>
                      </a:cubicBezTo>
                      <a:cubicBezTo>
                        <a:pt x="1263" y="1297"/>
                        <a:pt x="1263" y="1297"/>
                        <a:pt x="1263" y="1297"/>
                      </a:cubicBezTo>
                      <a:lnTo>
                        <a:pt x="1058" y="1297"/>
                      </a:lnTo>
                      <a:close/>
                      <a:moveTo>
                        <a:pt x="785" y="1297"/>
                      </a:moveTo>
                      <a:cubicBezTo>
                        <a:pt x="785" y="1127"/>
                        <a:pt x="785" y="1127"/>
                        <a:pt x="785" y="1127"/>
                      </a:cubicBezTo>
                      <a:cubicBezTo>
                        <a:pt x="807" y="1127"/>
                        <a:pt x="829" y="1126"/>
                        <a:pt x="853" y="1126"/>
                      </a:cubicBezTo>
                      <a:cubicBezTo>
                        <a:pt x="903" y="1126"/>
                        <a:pt x="948" y="1125"/>
                        <a:pt x="990" y="1122"/>
                      </a:cubicBezTo>
                      <a:cubicBezTo>
                        <a:pt x="990" y="1297"/>
                        <a:pt x="990" y="1297"/>
                        <a:pt x="990" y="1297"/>
                      </a:cubicBezTo>
                      <a:lnTo>
                        <a:pt x="785" y="1297"/>
                      </a:lnTo>
                      <a:close/>
                      <a:moveTo>
                        <a:pt x="512" y="1297"/>
                      </a:moveTo>
                      <a:cubicBezTo>
                        <a:pt x="512" y="1157"/>
                        <a:pt x="512" y="1157"/>
                        <a:pt x="512" y="1157"/>
                      </a:cubicBezTo>
                      <a:cubicBezTo>
                        <a:pt x="579" y="1142"/>
                        <a:pt x="648" y="1132"/>
                        <a:pt x="717" y="1130"/>
                      </a:cubicBezTo>
                      <a:cubicBezTo>
                        <a:pt x="717" y="1297"/>
                        <a:pt x="717" y="1297"/>
                        <a:pt x="717" y="1297"/>
                      </a:cubicBezTo>
                      <a:lnTo>
                        <a:pt x="512" y="1297"/>
                      </a:lnTo>
                      <a:close/>
                      <a:moveTo>
                        <a:pt x="273" y="1297"/>
                      </a:moveTo>
                      <a:cubicBezTo>
                        <a:pt x="273" y="1239"/>
                        <a:pt x="273" y="1239"/>
                        <a:pt x="273" y="1239"/>
                      </a:cubicBezTo>
                      <a:cubicBezTo>
                        <a:pt x="312" y="1229"/>
                        <a:pt x="350" y="1215"/>
                        <a:pt x="387" y="1199"/>
                      </a:cubicBezTo>
                      <a:cubicBezTo>
                        <a:pt x="405" y="1192"/>
                        <a:pt x="424" y="1185"/>
                        <a:pt x="444" y="1178"/>
                      </a:cubicBezTo>
                      <a:cubicBezTo>
                        <a:pt x="444" y="1297"/>
                        <a:pt x="444" y="1297"/>
                        <a:pt x="444" y="1297"/>
                      </a:cubicBezTo>
                      <a:lnTo>
                        <a:pt x="273" y="1297"/>
                      </a:lnTo>
                      <a:close/>
                      <a:moveTo>
                        <a:pt x="68" y="1297"/>
                      </a:moveTo>
                      <a:cubicBezTo>
                        <a:pt x="68" y="1263"/>
                        <a:pt x="68" y="1263"/>
                        <a:pt x="68" y="1263"/>
                      </a:cubicBezTo>
                      <a:cubicBezTo>
                        <a:pt x="114" y="1262"/>
                        <a:pt x="160" y="1259"/>
                        <a:pt x="205" y="1252"/>
                      </a:cubicBezTo>
                      <a:cubicBezTo>
                        <a:pt x="205" y="1297"/>
                        <a:pt x="205" y="1297"/>
                        <a:pt x="205" y="1297"/>
                      </a:cubicBezTo>
                      <a:lnTo>
                        <a:pt x="68" y="1297"/>
                      </a:lnTo>
                      <a:close/>
                      <a:moveTo>
                        <a:pt x="1979" y="159"/>
                      </a:moveTo>
                      <a:cubicBezTo>
                        <a:pt x="1979" y="163"/>
                        <a:pt x="1980" y="167"/>
                        <a:pt x="1980" y="171"/>
                      </a:cubicBezTo>
                      <a:cubicBezTo>
                        <a:pt x="1980" y="649"/>
                        <a:pt x="1980" y="649"/>
                        <a:pt x="1980" y="649"/>
                      </a:cubicBezTo>
                      <a:cubicBezTo>
                        <a:pt x="1934" y="650"/>
                        <a:pt x="1888" y="653"/>
                        <a:pt x="1843" y="659"/>
                      </a:cubicBezTo>
                      <a:cubicBezTo>
                        <a:pt x="1843" y="352"/>
                        <a:pt x="1843" y="352"/>
                        <a:pt x="1843" y="352"/>
                      </a:cubicBezTo>
                      <a:lnTo>
                        <a:pt x="1979" y="159"/>
                      </a:lnTo>
                      <a:close/>
                      <a:moveTo>
                        <a:pt x="1775" y="671"/>
                      </a:moveTo>
                      <a:cubicBezTo>
                        <a:pt x="1715" y="684"/>
                        <a:pt x="1657" y="707"/>
                        <a:pt x="1604" y="739"/>
                      </a:cubicBezTo>
                      <a:cubicBezTo>
                        <a:pt x="1604" y="435"/>
                        <a:pt x="1604" y="435"/>
                        <a:pt x="1604" y="435"/>
                      </a:cubicBezTo>
                      <a:cubicBezTo>
                        <a:pt x="1775" y="387"/>
                        <a:pt x="1775" y="387"/>
                        <a:pt x="1775" y="387"/>
                      </a:cubicBezTo>
                      <a:lnTo>
                        <a:pt x="1775" y="671"/>
                      </a:lnTo>
                      <a:close/>
                      <a:moveTo>
                        <a:pt x="1536" y="790"/>
                      </a:moveTo>
                      <a:cubicBezTo>
                        <a:pt x="1514" y="810"/>
                        <a:pt x="1494" y="830"/>
                        <a:pt x="1475" y="849"/>
                      </a:cubicBezTo>
                      <a:cubicBezTo>
                        <a:pt x="1433" y="895"/>
                        <a:pt x="1384" y="935"/>
                        <a:pt x="1331" y="967"/>
                      </a:cubicBezTo>
                      <a:cubicBezTo>
                        <a:pt x="1331" y="763"/>
                        <a:pt x="1331" y="763"/>
                        <a:pt x="1331" y="763"/>
                      </a:cubicBezTo>
                      <a:cubicBezTo>
                        <a:pt x="1536" y="507"/>
                        <a:pt x="1536" y="507"/>
                        <a:pt x="1536" y="507"/>
                      </a:cubicBezTo>
                      <a:lnTo>
                        <a:pt x="1536" y="790"/>
                      </a:lnTo>
                      <a:close/>
                      <a:moveTo>
                        <a:pt x="1263" y="999"/>
                      </a:moveTo>
                      <a:cubicBezTo>
                        <a:pt x="1197" y="1024"/>
                        <a:pt x="1128" y="1040"/>
                        <a:pt x="1058" y="1047"/>
                      </a:cubicBezTo>
                      <a:cubicBezTo>
                        <a:pt x="1058" y="785"/>
                        <a:pt x="1058" y="785"/>
                        <a:pt x="1058" y="785"/>
                      </a:cubicBezTo>
                      <a:cubicBezTo>
                        <a:pt x="1263" y="785"/>
                        <a:pt x="1263" y="785"/>
                        <a:pt x="1263" y="785"/>
                      </a:cubicBezTo>
                      <a:lnTo>
                        <a:pt x="1263" y="999"/>
                      </a:lnTo>
                      <a:close/>
                      <a:moveTo>
                        <a:pt x="990" y="1054"/>
                      </a:moveTo>
                      <a:cubicBezTo>
                        <a:pt x="948" y="1057"/>
                        <a:pt x="903" y="1058"/>
                        <a:pt x="853" y="1058"/>
                      </a:cubicBezTo>
                      <a:cubicBezTo>
                        <a:pt x="829" y="1058"/>
                        <a:pt x="807" y="1058"/>
                        <a:pt x="785" y="1059"/>
                      </a:cubicBezTo>
                      <a:cubicBezTo>
                        <a:pt x="785" y="973"/>
                        <a:pt x="785" y="973"/>
                        <a:pt x="785" y="973"/>
                      </a:cubicBezTo>
                      <a:cubicBezTo>
                        <a:pt x="990" y="819"/>
                        <a:pt x="990" y="819"/>
                        <a:pt x="990" y="819"/>
                      </a:cubicBezTo>
                      <a:lnTo>
                        <a:pt x="990" y="1054"/>
                      </a:lnTo>
                      <a:close/>
                      <a:moveTo>
                        <a:pt x="717" y="1062"/>
                      </a:moveTo>
                      <a:cubicBezTo>
                        <a:pt x="648" y="1064"/>
                        <a:pt x="579" y="1073"/>
                        <a:pt x="512" y="1087"/>
                      </a:cubicBezTo>
                      <a:cubicBezTo>
                        <a:pt x="512" y="990"/>
                        <a:pt x="512" y="990"/>
                        <a:pt x="512" y="990"/>
                      </a:cubicBezTo>
                      <a:cubicBezTo>
                        <a:pt x="717" y="990"/>
                        <a:pt x="717" y="990"/>
                        <a:pt x="717" y="990"/>
                      </a:cubicBezTo>
                      <a:lnTo>
                        <a:pt x="717" y="1062"/>
                      </a:lnTo>
                      <a:close/>
                      <a:moveTo>
                        <a:pt x="444" y="1106"/>
                      </a:moveTo>
                      <a:cubicBezTo>
                        <a:pt x="413" y="1116"/>
                        <a:pt x="387" y="1126"/>
                        <a:pt x="362" y="1136"/>
                      </a:cubicBezTo>
                      <a:cubicBezTo>
                        <a:pt x="333" y="1149"/>
                        <a:pt x="303" y="1159"/>
                        <a:pt x="273" y="1168"/>
                      </a:cubicBezTo>
                      <a:cubicBezTo>
                        <a:pt x="273" y="1092"/>
                        <a:pt x="273" y="1092"/>
                        <a:pt x="273" y="1092"/>
                      </a:cubicBezTo>
                      <a:cubicBezTo>
                        <a:pt x="273" y="1089"/>
                        <a:pt x="272" y="1085"/>
                        <a:pt x="271" y="1082"/>
                      </a:cubicBezTo>
                      <a:cubicBezTo>
                        <a:pt x="444" y="1007"/>
                        <a:pt x="444" y="1007"/>
                        <a:pt x="444" y="1007"/>
                      </a:cubicBezTo>
                      <a:lnTo>
                        <a:pt x="444" y="1106"/>
                      </a:lnTo>
                      <a:close/>
                      <a:moveTo>
                        <a:pt x="205" y="1183"/>
                      </a:moveTo>
                      <a:cubicBezTo>
                        <a:pt x="160" y="1190"/>
                        <a:pt x="114" y="1194"/>
                        <a:pt x="68" y="1194"/>
                      </a:cubicBezTo>
                      <a:cubicBezTo>
                        <a:pt x="68" y="1092"/>
                        <a:pt x="68" y="1092"/>
                        <a:pt x="68" y="1092"/>
                      </a:cubicBezTo>
                      <a:cubicBezTo>
                        <a:pt x="205" y="1092"/>
                        <a:pt x="205" y="1092"/>
                        <a:pt x="205" y="1092"/>
                      </a:cubicBezTo>
                      <a:lnTo>
                        <a:pt x="205" y="1183"/>
                      </a:lnTo>
                      <a:close/>
                      <a:moveTo>
                        <a:pt x="1843" y="728"/>
                      </a:moveTo>
                      <a:cubicBezTo>
                        <a:pt x="1888" y="722"/>
                        <a:pt x="1934" y="718"/>
                        <a:pt x="1980" y="717"/>
                      </a:cubicBezTo>
                      <a:cubicBezTo>
                        <a:pt x="1980" y="1297"/>
                        <a:pt x="1980" y="1297"/>
                        <a:pt x="1980" y="1297"/>
                      </a:cubicBezTo>
                      <a:cubicBezTo>
                        <a:pt x="1843" y="1297"/>
                        <a:pt x="1843" y="1297"/>
                        <a:pt x="1843" y="1297"/>
                      </a:cubicBezTo>
                      <a:lnTo>
                        <a:pt x="1843" y="728"/>
                      </a:lnTo>
                      <a:close/>
                      <a:moveTo>
                        <a:pt x="171" y="68"/>
                      </a:moveTo>
                      <a:cubicBezTo>
                        <a:pt x="1877" y="68"/>
                        <a:pt x="1877" y="68"/>
                        <a:pt x="1877" y="68"/>
                      </a:cubicBezTo>
                      <a:cubicBezTo>
                        <a:pt x="1901" y="68"/>
                        <a:pt x="1924" y="77"/>
                        <a:pt x="1942" y="92"/>
                      </a:cubicBezTo>
                      <a:cubicBezTo>
                        <a:pt x="1788" y="312"/>
                        <a:pt x="1788" y="312"/>
                        <a:pt x="1788" y="312"/>
                      </a:cubicBezTo>
                      <a:cubicBezTo>
                        <a:pt x="1561" y="377"/>
                        <a:pt x="1561" y="377"/>
                        <a:pt x="1561" y="377"/>
                      </a:cubicBezTo>
                      <a:cubicBezTo>
                        <a:pt x="1560" y="377"/>
                        <a:pt x="1559" y="378"/>
                        <a:pt x="1559" y="378"/>
                      </a:cubicBezTo>
                      <a:cubicBezTo>
                        <a:pt x="1557" y="378"/>
                        <a:pt x="1556" y="379"/>
                        <a:pt x="1555" y="380"/>
                      </a:cubicBezTo>
                      <a:cubicBezTo>
                        <a:pt x="1552" y="381"/>
                        <a:pt x="1550" y="382"/>
                        <a:pt x="1548" y="384"/>
                      </a:cubicBezTo>
                      <a:cubicBezTo>
                        <a:pt x="1547" y="385"/>
                        <a:pt x="1546" y="386"/>
                        <a:pt x="1545" y="387"/>
                      </a:cubicBezTo>
                      <a:cubicBezTo>
                        <a:pt x="1545" y="387"/>
                        <a:pt x="1544" y="388"/>
                        <a:pt x="1543" y="388"/>
                      </a:cubicBezTo>
                      <a:cubicBezTo>
                        <a:pt x="1281" y="717"/>
                        <a:pt x="1281" y="717"/>
                        <a:pt x="1281" y="717"/>
                      </a:cubicBezTo>
                      <a:cubicBezTo>
                        <a:pt x="1024" y="717"/>
                        <a:pt x="1024" y="717"/>
                        <a:pt x="1024" y="717"/>
                      </a:cubicBezTo>
                      <a:cubicBezTo>
                        <a:pt x="1020" y="717"/>
                        <a:pt x="1016" y="718"/>
                        <a:pt x="1012" y="719"/>
                      </a:cubicBezTo>
                      <a:cubicBezTo>
                        <a:pt x="1011" y="720"/>
                        <a:pt x="1009" y="720"/>
                        <a:pt x="1008" y="721"/>
                      </a:cubicBezTo>
                      <a:cubicBezTo>
                        <a:pt x="1007" y="722"/>
                        <a:pt x="1005" y="723"/>
                        <a:pt x="1004" y="724"/>
                      </a:cubicBezTo>
                      <a:cubicBezTo>
                        <a:pt x="740" y="922"/>
                        <a:pt x="740" y="922"/>
                        <a:pt x="740" y="922"/>
                      </a:cubicBezTo>
                      <a:cubicBezTo>
                        <a:pt x="478" y="922"/>
                        <a:pt x="478" y="922"/>
                        <a:pt x="478" y="922"/>
                      </a:cubicBezTo>
                      <a:cubicBezTo>
                        <a:pt x="473" y="922"/>
                        <a:pt x="469" y="923"/>
                        <a:pt x="464" y="924"/>
                      </a:cubicBezTo>
                      <a:cubicBezTo>
                        <a:pt x="464" y="924"/>
                        <a:pt x="464" y="924"/>
                        <a:pt x="464" y="924"/>
                      </a:cubicBezTo>
                      <a:cubicBezTo>
                        <a:pt x="232" y="1024"/>
                        <a:pt x="232" y="1024"/>
                        <a:pt x="232" y="1024"/>
                      </a:cubicBezTo>
                      <a:cubicBezTo>
                        <a:pt x="68" y="1024"/>
                        <a:pt x="68" y="1024"/>
                        <a:pt x="68" y="1024"/>
                      </a:cubicBezTo>
                      <a:cubicBezTo>
                        <a:pt x="68" y="171"/>
                        <a:pt x="68" y="171"/>
                        <a:pt x="68" y="171"/>
                      </a:cubicBezTo>
                      <a:cubicBezTo>
                        <a:pt x="68" y="114"/>
                        <a:pt x="114" y="68"/>
                        <a:pt x="171" y="68"/>
                      </a:cubicBezTo>
                      <a:close/>
                      <a:moveTo>
                        <a:pt x="1399" y="1980"/>
                      </a:moveTo>
                      <a:cubicBezTo>
                        <a:pt x="649" y="1980"/>
                        <a:pt x="649" y="1980"/>
                        <a:pt x="649" y="1980"/>
                      </a:cubicBezTo>
                      <a:cubicBezTo>
                        <a:pt x="630" y="1980"/>
                        <a:pt x="614" y="1964"/>
                        <a:pt x="614" y="1946"/>
                      </a:cubicBezTo>
                      <a:cubicBezTo>
                        <a:pt x="614" y="1927"/>
                        <a:pt x="630" y="1911"/>
                        <a:pt x="649" y="1911"/>
                      </a:cubicBezTo>
                      <a:cubicBezTo>
                        <a:pt x="1399" y="1911"/>
                        <a:pt x="1399" y="1911"/>
                        <a:pt x="1399" y="1911"/>
                      </a:cubicBezTo>
                      <a:cubicBezTo>
                        <a:pt x="1418" y="1911"/>
                        <a:pt x="1434" y="1927"/>
                        <a:pt x="1434" y="1946"/>
                      </a:cubicBezTo>
                      <a:cubicBezTo>
                        <a:pt x="1434" y="1964"/>
                        <a:pt x="1418" y="1980"/>
                        <a:pt x="1399" y="1980"/>
                      </a:cubicBezTo>
                      <a:close/>
                      <a:moveTo>
                        <a:pt x="1258" y="1843"/>
                      </a:moveTo>
                      <a:cubicBezTo>
                        <a:pt x="790" y="1843"/>
                        <a:pt x="790" y="1843"/>
                        <a:pt x="790" y="1843"/>
                      </a:cubicBezTo>
                      <a:cubicBezTo>
                        <a:pt x="843" y="1787"/>
                        <a:pt x="877" y="1715"/>
                        <a:pt x="886" y="1638"/>
                      </a:cubicBezTo>
                      <a:cubicBezTo>
                        <a:pt x="1162" y="1638"/>
                        <a:pt x="1162" y="1638"/>
                        <a:pt x="1162" y="1638"/>
                      </a:cubicBezTo>
                      <a:cubicBezTo>
                        <a:pt x="1171" y="1715"/>
                        <a:pt x="1205" y="1787"/>
                        <a:pt x="1258" y="1843"/>
                      </a:cubicBezTo>
                      <a:close/>
                      <a:moveTo>
                        <a:pt x="1980" y="1468"/>
                      </a:moveTo>
                      <a:cubicBezTo>
                        <a:pt x="1980" y="1524"/>
                        <a:pt x="1934" y="1570"/>
                        <a:pt x="1877" y="1570"/>
                      </a:cubicBezTo>
                      <a:cubicBezTo>
                        <a:pt x="171" y="1570"/>
                        <a:pt x="171" y="1570"/>
                        <a:pt x="171" y="1570"/>
                      </a:cubicBezTo>
                      <a:cubicBezTo>
                        <a:pt x="114" y="1570"/>
                        <a:pt x="68" y="1524"/>
                        <a:pt x="68" y="1468"/>
                      </a:cubicBezTo>
                      <a:cubicBezTo>
                        <a:pt x="68" y="1365"/>
                        <a:pt x="68" y="1365"/>
                        <a:pt x="68" y="1365"/>
                      </a:cubicBezTo>
                      <a:cubicBezTo>
                        <a:pt x="1980" y="1365"/>
                        <a:pt x="1980" y="1365"/>
                        <a:pt x="1980" y="1365"/>
                      </a:cubicBezTo>
                      <a:lnTo>
                        <a:pt x="1980" y="1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0" name="Freeform 192">
                  <a:extLst>
                    <a:ext uri="{FF2B5EF4-FFF2-40B4-BE49-F238E27FC236}">
                      <a16:creationId xmlns:a16="http://schemas.microsoft.com/office/drawing/2014/main" id="{9137D9B3-F08A-9C73-F60E-A39DC935A50A}"/>
                    </a:ext>
                  </a:extLst>
                </p:cNvPr>
                <p:cNvSpPr>
                  <a:spLocks noEditPoints="1"/>
                </p:cNvSpPr>
                <p:nvPr/>
              </p:nvSpPr>
              <p:spPr bwMode="auto">
                <a:xfrm>
                  <a:off x="9057690" y="2524679"/>
                  <a:ext cx="66596" cy="244502"/>
                </a:xfrm>
                <a:custGeom>
                  <a:avLst/>
                  <a:gdLst>
                    <a:gd name="T0" fmla="*/ 102 w 204"/>
                    <a:gd name="T1" fmla="*/ 750 h 750"/>
                    <a:gd name="T2" fmla="*/ 204 w 204"/>
                    <a:gd name="T3" fmla="*/ 648 h 750"/>
                    <a:gd name="T4" fmla="*/ 204 w 204"/>
                    <a:gd name="T5" fmla="*/ 102 h 750"/>
                    <a:gd name="T6" fmla="*/ 102 w 204"/>
                    <a:gd name="T7" fmla="*/ 0 h 750"/>
                    <a:gd name="T8" fmla="*/ 0 w 204"/>
                    <a:gd name="T9" fmla="*/ 102 h 750"/>
                    <a:gd name="T10" fmla="*/ 0 w 204"/>
                    <a:gd name="T11" fmla="*/ 648 h 750"/>
                    <a:gd name="T12" fmla="*/ 102 w 204"/>
                    <a:gd name="T13" fmla="*/ 750 h 750"/>
                    <a:gd name="T14" fmla="*/ 102 w 204"/>
                    <a:gd name="T15" fmla="*/ 682 h 750"/>
                    <a:gd name="T16" fmla="*/ 68 w 204"/>
                    <a:gd name="T17" fmla="*/ 648 h 750"/>
                    <a:gd name="T18" fmla="*/ 68 w 204"/>
                    <a:gd name="T19" fmla="*/ 546 h 750"/>
                    <a:gd name="T20" fmla="*/ 136 w 204"/>
                    <a:gd name="T21" fmla="*/ 546 h 750"/>
                    <a:gd name="T22" fmla="*/ 136 w 204"/>
                    <a:gd name="T23" fmla="*/ 648 h 750"/>
                    <a:gd name="T24" fmla="*/ 102 w 204"/>
                    <a:gd name="T25" fmla="*/ 682 h 750"/>
                    <a:gd name="T26" fmla="*/ 102 w 204"/>
                    <a:gd name="T27" fmla="*/ 68 h 750"/>
                    <a:gd name="T28" fmla="*/ 136 w 204"/>
                    <a:gd name="T29" fmla="*/ 102 h 750"/>
                    <a:gd name="T30" fmla="*/ 136 w 204"/>
                    <a:gd name="T31" fmla="*/ 477 h 750"/>
                    <a:gd name="T32" fmla="*/ 68 w 204"/>
                    <a:gd name="T33" fmla="*/ 477 h 750"/>
                    <a:gd name="T34" fmla="*/ 68 w 204"/>
                    <a:gd name="T35" fmla="*/ 102 h 750"/>
                    <a:gd name="T36" fmla="*/ 102 w 204"/>
                    <a:gd name="T37" fmla="*/ 68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750">
                      <a:moveTo>
                        <a:pt x="102" y="750"/>
                      </a:moveTo>
                      <a:cubicBezTo>
                        <a:pt x="158" y="750"/>
                        <a:pt x="204" y="705"/>
                        <a:pt x="204" y="648"/>
                      </a:cubicBezTo>
                      <a:cubicBezTo>
                        <a:pt x="204" y="102"/>
                        <a:pt x="204" y="102"/>
                        <a:pt x="204" y="102"/>
                      </a:cubicBezTo>
                      <a:cubicBezTo>
                        <a:pt x="204" y="45"/>
                        <a:pt x="158" y="0"/>
                        <a:pt x="102" y="0"/>
                      </a:cubicBezTo>
                      <a:cubicBezTo>
                        <a:pt x="45" y="0"/>
                        <a:pt x="0" y="45"/>
                        <a:pt x="0" y="102"/>
                      </a:cubicBezTo>
                      <a:cubicBezTo>
                        <a:pt x="0" y="648"/>
                        <a:pt x="0" y="648"/>
                        <a:pt x="0" y="648"/>
                      </a:cubicBezTo>
                      <a:cubicBezTo>
                        <a:pt x="0" y="705"/>
                        <a:pt x="45" y="750"/>
                        <a:pt x="102" y="750"/>
                      </a:cubicBezTo>
                      <a:close/>
                      <a:moveTo>
                        <a:pt x="102" y="682"/>
                      </a:moveTo>
                      <a:cubicBezTo>
                        <a:pt x="83" y="682"/>
                        <a:pt x="68" y="667"/>
                        <a:pt x="68" y="648"/>
                      </a:cubicBezTo>
                      <a:cubicBezTo>
                        <a:pt x="68" y="546"/>
                        <a:pt x="68" y="546"/>
                        <a:pt x="68" y="546"/>
                      </a:cubicBezTo>
                      <a:cubicBezTo>
                        <a:pt x="136" y="546"/>
                        <a:pt x="136" y="546"/>
                        <a:pt x="136" y="546"/>
                      </a:cubicBezTo>
                      <a:cubicBezTo>
                        <a:pt x="136" y="648"/>
                        <a:pt x="136" y="648"/>
                        <a:pt x="136" y="648"/>
                      </a:cubicBezTo>
                      <a:cubicBezTo>
                        <a:pt x="136" y="667"/>
                        <a:pt x="121" y="682"/>
                        <a:pt x="102" y="682"/>
                      </a:cubicBezTo>
                      <a:close/>
                      <a:moveTo>
                        <a:pt x="102" y="68"/>
                      </a:moveTo>
                      <a:cubicBezTo>
                        <a:pt x="121" y="68"/>
                        <a:pt x="136" y="83"/>
                        <a:pt x="136" y="102"/>
                      </a:cubicBezTo>
                      <a:cubicBezTo>
                        <a:pt x="136" y="477"/>
                        <a:pt x="136" y="477"/>
                        <a:pt x="136" y="477"/>
                      </a:cubicBezTo>
                      <a:cubicBezTo>
                        <a:pt x="68" y="477"/>
                        <a:pt x="68" y="477"/>
                        <a:pt x="68" y="477"/>
                      </a:cubicBezTo>
                      <a:cubicBezTo>
                        <a:pt x="68" y="102"/>
                        <a:pt x="68" y="102"/>
                        <a:pt x="68" y="102"/>
                      </a:cubicBezTo>
                      <a:cubicBezTo>
                        <a:pt x="68" y="83"/>
                        <a:pt x="83" y="68"/>
                        <a:pt x="10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1" name="Freeform 193">
                  <a:extLst>
                    <a:ext uri="{FF2B5EF4-FFF2-40B4-BE49-F238E27FC236}">
                      <a16:creationId xmlns:a16="http://schemas.microsoft.com/office/drawing/2014/main" id="{5393671E-97CC-9E10-DBBE-AF5B41A59B4E}"/>
                    </a:ext>
                  </a:extLst>
                </p:cNvPr>
                <p:cNvSpPr>
                  <a:spLocks noEditPoints="1"/>
                </p:cNvSpPr>
                <p:nvPr/>
              </p:nvSpPr>
              <p:spPr bwMode="auto">
                <a:xfrm>
                  <a:off x="9146644" y="2524679"/>
                  <a:ext cx="66596" cy="222145"/>
                </a:xfrm>
                <a:custGeom>
                  <a:avLst/>
                  <a:gdLst>
                    <a:gd name="T0" fmla="*/ 102 w 204"/>
                    <a:gd name="T1" fmla="*/ 682 h 682"/>
                    <a:gd name="T2" fmla="*/ 204 w 204"/>
                    <a:gd name="T3" fmla="*/ 580 h 682"/>
                    <a:gd name="T4" fmla="*/ 204 w 204"/>
                    <a:gd name="T5" fmla="*/ 102 h 682"/>
                    <a:gd name="T6" fmla="*/ 102 w 204"/>
                    <a:gd name="T7" fmla="*/ 0 h 682"/>
                    <a:gd name="T8" fmla="*/ 0 w 204"/>
                    <a:gd name="T9" fmla="*/ 102 h 682"/>
                    <a:gd name="T10" fmla="*/ 0 w 204"/>
                    <a:gd name="T11" fmla="*/ 580 h 682"/>
                    <a:gd name="T12" fmla="*/ 102 w 204"/>
                    <a:gd name="T13" fmla="*/ 682 h 682"/>
                    <a:gd name="T14" fmla="*/ 102 w 204"/>
                    <a:gd name="T15" fmla="*/ 614 h 682"/>
                    <a:gd name="T16" fmla="*/ 68 w 204"/>
                    <a:gd name="T17" fmla="*/ 580 h 682"/>
                    <a:gd name="T18" fmla="*/ 68 w 204"/>
                    <a:gd name="T19" fmla="*/ 341 h 682"/>
                    <a:gd name="T20" fmla="*/ 136 w 204"/>
                    <a:gd name="T21" fmla="*/ 341 h 682"/>
                    <a:gd name="T22" fmla="*/ 136 w 204"/>
                    <a:gd name="T23" fmla="*/ 580 h 682"/>
                    <a:gd name="T24" fmla="*/ 102 w 204"/>
                    <a:gd name="T25" fmla="*/ 614 h 682"/>
                    <a:gd name="T26" fmla="*/ 102 w 204"/>
                    <a:gd name="T27" fmla="*/ 68 h 682"/>
                    <a:gd name="T28" fmla="*/ 136 w 204"/>
                    <a:gd name="T29" fmla="*/ 102 h 682"/>
                    <a:gd name="T30" fmla="*/ 136 w 204"/>
                    <a:gd name="T31" fmla="*/ 273 h 682"/>
                    <a:gd name="T32" fmla="*/ 68 w 204"/>
                    <a:gd name="T33" fmla="*/ 273 h 682"/>
                    <a:gd name="T34" fmla="*/ 68 w 204"/>
                    <a:gd name="T35" fmla="*/ 102 h 682"/>
                    <a:gd name="T36" fmla="*/ 102 w 204"/>
                    <a:gd name="T37" fmla="*/ 68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682">
                      <a:moveTo>
                        <a:pt x="102" y="682"/>
                      </a:moveTo>
                      <a:cubicBezTo>
                        <a:pt x="159" y="682"/>
                        <a:pt x="204" y="636"/>
                        <a:pt x="204" y="580"/>
                      </a:cubicBezTo>
                      <a:cubicBezTo>
                        <a:pt x="204" y="102"/>
                        <a:pt x="204" y="102"/>
                        <a:pt x="204" y="102"/>
                      </a:cubicBezTo>
                      <a:cubicBezTo>
                        <a:pt x="204" y="45"/>
                        <a:pt x="159" y="0"/>
                        <a:pt x="102" y="0"/>
                      </a:cubicBezTo>
                      <a:cubicBezTo>
                        <a:pt x="45" y="0"/>
                        <a:pt x="0" y="45"/>
                        <a:pt x="0" y="102"/>
                      </a:cubicBezTo>
                      <a:cubicBezTo>
                        <a:pt x="0" y="580"/>
                        <a:pt x="0" y="580"/>
                        <a:pt x="0" y="580"/>
                      </a:cubicBezTo>
                      <a:cubicBezTo>
                        <a:pt x="0" y="636"/>
                        <a:pt x="45" y="682"/>
                        <a:pt x="102" y="682"/>
                      </a:cubicBezTo>
                      <a:close/>
                      <a:moveTo>
                        <a:pt x="102" y="614"/>
                      </a:moveTo>
                      <a:cubicBezTo>
                        <a:pt x="83" y="614"/>
                        <a:pt x="68" y="599"/>
                        <a:pt x="68" y="580"/>
                      </a:cubicBezTo>
                      <a:cubicBezTo>
                        <a:pt x="68" y="341"/>
                        <a:pt x="68" y="341"/>
                        <a:pt x="68" y="341"/>
                      </a:cubicBezTo>
                      <a:cubicBezTo>
                        <a:pt x="136" y="341"/>
                        <a:pt x="136" y="341"/>
                        <a:pt x="136" y="341"/>
                      </a:cubicBezTo>
                      <a:cubicBezTo>
                        <a:pt x="136" y="580"/>
                        <a:pt x="136" y="580"/>
                        <a:pt x="136" y="580"/>
                      </a:cubicBezTo>
                      <a:cubicBezTo>
                        <a:pt x="136" y="599"/>
                        <a:pt x="121" y="614"/>
                        <a:pt x="102" y="614"/>
                      </a:cubicBezTo>
                      <a:close/>
                      <a:moveTo>
                        <a:pt x="102" y="68"/>
                      </a:moveTo>
                      <a:cubicBezTo>
                        <a:pt x="121" y="68"/>
                        <a:pt x="136" y="83"/>
                        <a:pt x="136" y="102"/>
                      </a:cubicBezTo>
                      <a:cubicBezTo>
                        <a:pt x="136" y="273"/>
                        <a:pt x="136" y="273"/>
                        <a:pt x="136" y="273"/>
                      </a:cubicBezTo>
                      <a:cubicBezTo>
                        <a:pt x="68" y="273"/>
                        <a:pt x="68" y="273"/>
                        <a:pt x="68" y="273"/>
                      </a:cubicBezTo>
                      <a:cubicBezTo>
                        <a:pt x="68" y="102"/>
                        <a:pt x="68" y="102"/>
                        <a:pt x="68" y="102"/>
                      </a:cubicBezTo>
                      <a:cubicBezTo>
                        <a:pt x="68" y="83"/>
                        <a:pt x="83" y="68"/>
                        <a:pt x="10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2" name="Freeform 194">
                  <a:extLst>
                    <a:ext uri="{FF2B5EF4-FFF2-40B4-BE49-F238E27FC236}">
                      <a16:creationId xmlns:a16="http://schemas.microsoft.com/office/drawing/2014/main" id="{7824BA1D-B7B3-CF76-E483-0A4008F195AF}"/>
                    </a:ext>
                  </a:extLst>
                </p:cNvPr>
                <p:cNvSpPr>
                  <a:spLocks noEditPoints="1"/>
                </p:cNvSpPr>
                <p:nvPr/>
              </p:nvSpPr>
              <p:spPr bwMode="auto">
                <a:xfrm>
                  <a:off x="9236073" y="2524679"/>
                  <a:ext cx="66596" cy="188847"/>
                </a:xfrm>
                <a:custGeom>
                  <a:avLst/>
                  <a:gdLst>
                    <a:gd name="T0" fmla="*/ 102 w 204"/>
                    <a:gd name="T1" fmla="*/ 580 h 580"/>
                    <a:gd name="T2" fmla="*/ 204 w 204"/>
                    <a:gd name="T3" fmla="*/ 477 h 580"/>
                    <a:gd name="T4" fmla="*/ 204 w 204"/>
                    <a:gd name="T5" fmla="*/ 102 h 580"/>
                    <a:gd name="T6" fmla="*/ 102 w 204"/>
                    <a:gd name="T7" fmla="*/ 0 h 580"/>
                    <a:gd name="T8" fmla="*/ 0 w 204"/>
                    <a:gd name="T9" fmla="*/ 102 h 580"/>
                    <a:gd name="T10" fmla="*/ 0 w 204"/>
                    <a:gd name="T11" fmla="*/ 477 h 580"/>
                    <a:gd name="T12" fmla="*/ 102 w 204"/>
                    <a:gd name="T13" fmla="*/ 580 h 580"/>
                    <a:gd name="T14" fmla="*/ 102 w 204"/>
                    <a:gd name="T15" fmla="*/ 512 h 580"/>
                    <a:gd name="T16" fmla="*/ 68 w 204"/>
                    <a:gd name="T17" fmla="*/ 477 h 580"/>
                    <a:gd name="T18" fmla="*/ 68 w 204"/>
                    <a:gd name="T19" fmla="*/ 443 h 580"/>
                    <a:gd name="T20" fmla="*/ 136 w 204"/>
                    <a:gd name="T21" fmla="*/ 443 h 580"/>
                    <a:gd name="T22" fmla="*/ 136 w 204"/>
                    <a:gd name="T23" fmla="*/ 477 h 580"/>
                    <a:gd name="T24" fmla="*/ 102 w 204"/>
                    <a:gd name="T25" fmla="*/ 512 h 580"/>
                    <a:gd name="T26" fmla="*/ 102 w 204"/>
                    <a:gd name="T27" fmla="*/ 68 h 580"/>
                    <a:gd name="T28" fmla="*/ 136 w 204"/>
                    <a:gd name="T29" fmla="*/ 102 h 580"/>
                    <a:gd name="T30" fmla="*/ 136 w 204"/>
                    <a:gd name="T31" fmla="*/ 375 h 580"/>
                    <a:gd name="T32" fmla="*/ 68 w 204"/>
                    <a:gd name="T33" fmla="*/ 375 h 580"/>
                    <a:gd name="T34" fmla="*/ 68 w 204"/>
                    <a:gd name="T35" fmla="*/ 102 h 580"/>
                    <a:gd name="T36" fmla="*/ 102 w 204"/>
                    <a:gd name="T37" fmla="*/ 6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580">
                      <a:moveTo>
                        <a:pt x="102" y="580"/>
                      </a:moveTo>
                      <a:cubicBezTo>
                        <a:pt x="159" y="580"/>
                        <a:pt x="204" y="534"/>
                        <a:pt x="204" y="477"/>
                      </a:cubicBezTo>
                      <a:cubicBezTo>
                        <a:pt x="204" y="102"/>
                        <a:pt x="204" y="102"/>
                        <a:pt x="204" y="102"/>
                      </a:cubicBezTo>
                      <a:cubicBezTo>
                        <a:pt x="204" y="45"/>
                        <a:pt x="159" y="0"/>
                        <a:pt x="102" y="0"/>
                      </a:cubicBezTo>
                      <a:cubicBezTo>
                        <a:pt x="46" y="0"/>
                        <a:pt x="0" y="45"/>
                        <a:pt x="0" y="102"/>
                      </a:cubicBezTo>
                      <a:cubicBezTo>
                        <a:pt x="0" y="477"/>
                        <a:pt x="0" y="477"/>
                        <a:pt x="0" y="477"/>
                      </a:cubicBezTo>
                      <a:cubicBezTo>
                        <a:pt x="0" y="534"/>
                        <a:pt x="46" y="580"/>
                        <a:pt x="102" y="580"/>
                      </a:cubicBezTo>
                      <a:close/>
                      <a:moveTo>
                        <a:pt x="102" y="512"/>
                      </a:moveTo>
                      <a:cubicBezTo>
                        <a:pt x="83" y="512"/>
                        <a:pt x="68" y="496"/>
                        <a:pt x="68" y="477"/>
                      </a:cubicBezTo>
                      <a:cubicBezTo>
                        <a:pt x="68" y="443"/>
                        <a:pt x="68" y="443"/>
                        <a:pt x="68" y="443"/>
                      </a:cubicBezTo>
                      <a:cubicBezTo>
                        <a:pt x="136" y="443"/>
                        <a:pt x="136" y="443"/>
                        <a:pt x="136" y="443"/>
                      </a:cubicBezTo>
                      <a:cubicBezTo>
                        <a:pt x="136" y="477"/>
                        <a:pt x="136" y="477"/>
                        <a:pt x="136" y="477"/>
                      </a:cubicBezTo>
                      <a:cubicBezTo>
                        <a:pt x="136" y="496"/>
                        <a:pt x="121" y="512"/>
                        <a:pt x="102" y="512"/>
                      </a:cubicBezTo>
                      <a:close/>
                      <a:moveTo>
                        <a:pt x="102" y="68"/>
                      </a:moveTo>
                      <a:cubicBezTo>
                        <a:pt x="121" y="68"/>
                        <a:pt x="136" y="83"/>
                        <a:pt x="136" y="102"/>
                      </a:cubicBezTo>
                      <a:cubicBezTo>
                        <a:pt x="136" y="375"/>
                        <a:pt x="136" y="375"/>
                        <a:pt x="136" y="375"/>
                      </a:cubicBezTo>
                      <a:cubicBezTo>
                        <a:pt x="68" y="375"/>
                        <a:pt x="68" y="375"/>
                        <a:pt x="68" y="375"/>
                      </a:cubicBezTo>
                      <a:cubicBezTo>
                        <a:pt x="68" y="102"/>
                        <a:pt x="68" y="102"/>
                        <a:pt x="68" y="102"/>
                      </a:cubicBezTo>
                      <a:cubicBezTo>
                        <a:pt x="68" y="83"/>
                        <a:pt x="83" y="68"/>
                        <a:pt x="10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3" name="Freeform 195">
                  <a:extLst>
                    <a:ext uri="{FF2B5EF4-FFF2-40B4-BE49-F238E27FC236}">
                      <a16:creationId xmlns:a16="http://schemas.microsoft.com/office/drawing/2014/main" id="{359EC996-B5B6-4B30-1348-031F3C916CD7}"/>
                    </a:ext>
                  </a:extLst>
                </p:cNvPr>
                <p:cNvSpPr>
                  <a:spLocks noEditPoints="1"/>
                </p:cNvSpPr>
                <p:nvPr/>
              </p:nvSpPr>
              <p:spPr bwMode="auto">
                <a:xfrm>
                  <a:off x="9325026" y="2524679"/>
                  <a:ext cx="67072" cy="155073"/>
                </a:xfrm>
                <a:custGeom>
                  <a:avLst/>
                  <a:gdLst>
                    <a:gd name="T0" fmla="*/ 102 w 205"/>
                    <a:gd name="T1" fmla="*/ 477 h 477"/>
                    <a:gd name="T2" fmla="*/ 205 w 205"/>
                    <a:gd name="T3" fmla="*/ 375 h 477"/>
                    <a:gd name="T4" fmla="*/ 205 w 205"/>
                    <a:gd name="T5" fmla="*/ 102 h 477"/>
                    <a:gd name="T6" fmla="*/ 102 w 205"/>
                    <a:gd name="T7" fmla="*/ 0 h 477"/>
                    <a:gd name="T8" fmla="*/ 0 w 205"/>
                    <a:gd name="T9" fmla="*/ 102 h 477"/>
                    <a:gd name="T10" fmla="*/ 0 w 205"/>
                    <a:gd name="T11" fmla="*/ 375 h 477"/>
                    <a:gd name="T12" fmla="*/ 102 w 205"/>
                    <a:gd name="T13" fmla="*/ 477 h 477"/>
                    <a:gd name="T14" fmla="*/ 102 w 205"/>
                    <a:gd name="T15" fmla="*/ 409 h 477"/>
                    <a:gd name="T16" fmla="*/ 68 w 205"/>
                    <a:gd name="T17" fmla="*/ 375 h 477"/>
                    <a:gd name="T18" fmla="*/ 68 w 205"/>
                    <a:gd name="T19" fmla="*/ 204 h 477"/>
                    <a:gd name="T20" fmla="*/ 136 w 205"/>
                    <a:gd name="T21" fmla="*/ 204 h 477"/>
                    <a:gd name="T22" fmla="*/ 136 w 205"/>
                    <a:gd name="T23" fmla="*/ 375 h 477"/>
                    <a:gd name="T24" fmla="*/ 102 w 205"/>
                    <a:gd name="T25" fmla="*/ 409 h 477"/>
                    <a:gd name="T26" fmla="*/ 102 w 205"/>
                    <a:gd name="T27" fmla="*/ 68 h 477"/>
                    <a:gd name="T28" fmla="*/ 136 w 205"/>
                    <a:gd name="T29" fmla="*/ 102 h 477"/>
                    <a:gd name="T30" fmla="*/ 136 w 205"/>
                    <a:gd name="T31" fmla="*/ 136 h 477"/>
                    <a:gd name="T32" fmla="*/ 68 w 205"/>
                    <a:gd name="T33" fmla="*/ 136 h 477"/>
                    <a:gd name="T34" fmla="*/ 68 w 205"/>
                    <a:gd name="T35" fmla="*/ 102 h 477"/>
                    <a:gd name="T36" fmla="*/ 102 w 205"/>
                    <a:gd name="T37" fmla="*/ 6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477">
                      <a:moveTo>
                        <a:pt x="102" y="477"/>
                      </a:moveTo>
                      <a:cubicBezTo>
                        <a:pt x="159" y="477"/>
                        <a:pt x="204" y="432"/>
                        <a:pt x="205" y="375"/>
                      </a:cubicBezTo>
                      <a:cubicBezTo>
                        <a:pt x="205" y="102"/>
                        <a:pt x="205" y="102"/>
                        <a:pt x="205" y="102"/>
                      </a:cubicBezTo>
                      <a:cubicBezTo>
                        <a:pt x="205" y="45"/>
                        <a:pt x="159" y="0"/>
                        <a:pt x="102" y="0"/>
                      </a:cubicBezTo>
                      <a:cubicBezTo>
                        <a:pt x="46" y="0"/>
                        <a:pt x="0" y="45"/>
                        <a:pt x="0" y="102"/>
                      </a:cubicBezTo>
                      <a:cubicBezTo>
                        <a:pt x="0" y="375"/>
                        <a:pt x="0" y="375"/>
                        <a:pt x="0" y="375"/>
                      </a:cubicBezTo>
                      <a:cubicBezTo>
                        <a:pt x="0" y="432"/>
                        <a:pt x="46" y="477"/>
                        <a:pt x="102" y="477"/>
                      </a:cubicBezTo>
                      <a:close/>
                      <a:moveTo>
                        <a:pt x="102" y="409"/>
                      </a:moveTo>
                      <a:cubicBezTo>
                        <a:pt x="83" y="409"/>
                        <a:pt x="68" y="394"/>
                        <a:pt x="68" y="375"/>
                      </a:cubicBezTo>
                      <a:cubicBezTo>
                        <a:pt x="68" y="204"/>
                        <a:pt x="68" y="204"/>
                        <a:pt x="68" y="204"/>
                      </a:cubicBezTo>
                      <a:cubicBezTo>
                        <a:pt x="136" y="204"/>
                        <a:pt x="136" y="204"/>
                        <a:pt x="136" y="204"/>
                      </a:cubicBezTo>
                      <a:cubicBezTo>
                        <a:pt x="136" y="375"/>
                        <a:pt x="136" y="375"/>
                        <a:pt x="136" y="375"/>
                      </a:cubicBezTo>
                      <a:cubicBezTo>
                        <a:pt x="136" y="394"/>
                        <a:pt x="121" y="409"/>
                        <a:pt x="102" y="409"/>
                      </a:cubicBezTo>
                      <a:close/>
                      <a:moveTo>
                        <a:pt x="102" y="68"/>
                      </a:moveTo>
                      <a:cubicBezTo>
                        <a:pt x="121" y="68"/>
                        <a:pt x="136" y="83"/>
                        <a:pt x="136" y="102"/>
                      </a:cubicBezTo>
                      <a:cubicBezTo>
                        <a:pt x="136" y="136"/>
                        <a:pt x="136" y="136"/>
                        <a:pt x="136" y="136"/>
                      </a:cubicBezTo>
                      <a:cubicBezTo>
                        <a:pt x="68" y="136"/>
                        <a:pt x="68" y="136"/>
                        <a:pt x="68" y="136"/>
                      </a:cubicBezTo>
                      <a:cubicBezTo>
                        <a:pt x="68" y="102"/>
                        <a:pt x="68" y="102"/>
                        <a:pt x="68" y="102"/>
                      </a:cubicBezTo>
                      <a:cubicBezTo>
                        <a:pt x="68" y="83"/>
                        <a:pt x="83" y="68"/>
                        <a:pt x="10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4" name="Freeform 196">
                  <a:extLst>
                    <a:ext uri="{FF2B5EF4-FFF2-40B4-BE49-F238E27FC236}">
                      <a16:creationId xmlns:a16="http://schemas.microsoft.com/office/drawing/2014/main" id="{9B388BDD-C3EB-4681-CE53-DF8F6D6728C4}"/>
                    </a:ext>
                  </a:extLst>
                </p:cNvPr>
                <p:cNvSpPr>
                  <a:spLocks/>
                </p:cNvSpPr>
                <p:nvPr/>
              </p:nvSpPr>
              <p:spPr bwMode="auto">
                <a:xfrm>
                  <a:off x="9413979" y="2524679"/>
                  <a:ext cx="167441" cy="21882"/>
                </a:xfrm>
                <a:custGeom>
                  <a:avLst/>
                  <a:gdLst>
                    <a:gd name="T0" fmla="*/ 34 w 512"/>
                    <a:gd name="T1" fmla="*/ 68 h 68"/>
                    <a:gd name="T2" fmla="*/ 478 w 512"/>
                    <a:gd name="T3" fmla="*/ 68 h 68"/>
                    <a:gd name="T4" fmla="*/ 512 w 512"/>
                    <a:gd name="T5" fmla="*/ 34 h 68"/>
                    <a:gd name="T6" fmla="*/ 478 w 512"/>
                    <a:gd name="T7" fmla="*/ 0 h 68"/>
                    <a:gd name="T8" fmla="*/ 34 w 512"/>
                    <a:gd name="T9" fmla="*/ 0 h 68"/>
                    <a:gd name="T10" fmla="*/ 0 w 512"/>
                    <a:gd name="T11" fmla="*/ 34 h 68"/>
                    <a:gd name="T12" fmla="*/ 34 w 512"/>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512" h="68">
                      <a:moveTo>
                        <a:pt x="34" y="68"/>
                      </a:moveTo>
                      <a:cubicBezTo>
                        <a:pt x="478" y="68"/>
                        <a:pt x="478" y="68"/>
                        <a:pt x="478" y="68"/>
                      </a:cubicBezTo>
                      <a:cubicBezTo>
                        <a:pt x="497" y="68"/>
                        <a:pt x="512" y="53"/>
                        <a:pt x="512" y="34"/>
                      </a:cubicBezTo>
                      <a:cubicBezTo>
                        <a:pt x="512" y="15"/>
                        <a:pt x="497" y="0"/>
                        <a:pt x="478" y="0"/>
                      </a:cubicBezTo>
                      <a:cubicBezTo>
                        <a:pt x="34" y="0"/>
                        <a:pt x="34" y="0"/>
                        <a:pt x="34" y="0"/>
                      </a:cubicBezTo>
                      <a:cubicBezTo>
                        <a:pt x="15" y="0"/>
                        <a:pt x="0" y="15"/>
                        <a:pt x="0" y="34"/>
                      </a:cubicBezTo>
                      <a:cubicBezTo>
                        <a:pt x="0" y="53"/>
                        <a:pt x="15"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5" name="Freeform 197">
                  <a:extLst>
                    <a:ext uri="{FF2B5EF4-FFF2-40B4-BE49-F238E27FC236}">
                      <a16:creationId xmlns:a16="http://schemas.microsoft.com/office/drawing/2014/main" id="{C1A86B14-473D-B4F2-11A6-3F7E1DC7CD07}"/>
                    </a:ext>
                  </a:extLst>
                </p:cNvPr>
                <p:cNvSpPr>
                  <a:spLocks/>
                </p:cNvSpPr>
                <p:nvPr/>
              </p:nvSpPr>
              <p:spPr bwMode="auto">
                <a:xfrm>
                  <a:off x="9413979" y="2568918"/>
                  <a:ext cx="89429" cy="21882"/>
                </a:xfrm>
                <a:custGeom>
                  <a:avLst/>
                  <a:gdLst>
                    <a:gd name="T0" fmla="*/ 34 w 273"/>
                    <a:gd name="T1" fmla="*/ 68 h 68"/>
                    <a:gd name="T2" fmla="*/ 239 w 273"/>
                    <a:gd name="T3" fmla="*/ 68 h 68"/>
                    <a:gd name="T4" fmla="*/ 273 w 273"/>
                    <a:gd name="T5" fmla="*/ 34 h 68"/>
                    <a:gd name="T6" fmla="*/ 239 w 273"/>
                    <a:gd name="T7" fmla="*/ 0 h 68"/>
                    <a:gd name="T8" fmla="*/ 34 w 273"/>
                    <a:gd name="T9" fmla="*/ 0 h 68"/>
                    <a:gd name="T10" fmla="*/ 0 w 273"/>
                    <a:gd name="T11" fmla="*/ 34 h 68"/>
                    <a:gd name="T12" fmla="*/ 34 w 27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73" h="68">
                      <a:moveTo>
                        <a:pt x="34" y="68"/>
                      </a:moveTo>
                      <a:cubicBezTo>
                        <a:pt x="239" y="68"/>
                        <a:pt x="239" y="68"/>
                        <a:pt x="239" y="68"/>
                      </a:cubicBezTo>
                      <a:cubicBezTo>
                        <a:pt x="258" y="68"/>
                        <a:pt x="273" y="53"/>
                        <a:pt x="273" y="34"/>
                      </a:cubicBezTo>
                      <a:cubicBezTo>
                        <a:pt x="273" y="15"/>
                        <a:pt x="258" y="0"/>
                        <a:pt x="239" y="0"/>
                      </a:cubicBezTo>
                      <a:cubicBezTo>
                        <a:pt x="34" y="0"/>
                        <a:pt x="34" y="0"/>
                        <a:pt x="34" y="0"/>
                      </a:cubicBezTo>
                      <a:cubicBezTo>
                        <a:pt x="15" y="0"/>
                        <a:pt x="0" y="15"/>
                        <a:pt x="0" y="34"/>
                      </a:cubicBezTo>
                      <a:cubicBezTo>
                        <a:pt x="0" y="53"/>
                        <a:pt x="15"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6" name="Freeform 198">
                  <a:extLst>
                    <a:ext uri="{FF2B5EF4-FFF2-40B4-BE49-F238E27FC236}">
                      <a16:creationId xmlns:a16="http://schemas.microsoft.com/office/drawing/2014/main" id="{ED658C38-CB75-D226-E756-D3860DEA4C2B}"/>
                    </a:ext>
                  </a:extLst>
                </p:cNvPr>
                <p:cNvSpPr>
                  <a:spLocks/>
                </p:cNvSpPr>
                <p:nvPr/>
              </p:nvSpPr>
              <p:spPr bwMode="auto">
                <a:xfrm>
                  <a:off x="9413979" y="2613632"/>
                  <a:ext cx="44714" cy="21882"/>
                </a:xfrm>
                <a:custGeom>
                  <a:avLst/>
                  <a:gdLst>
                    <a:gd name="T0" fmla="*/ 34 w 136"/>
                    <a:gd name="T1" fmla="*/ 68 h 68"/>
                    <a:gd name="T2" fmla="*/ 102 w 136"/>
                    <a:gd name="T3" fmla="*/ 68 h 68"/>
                    <a:gd name="T4" fmla="*/ 136 w 136"/>
                    <a:gd name="T5" fmla="*/ 34 h 68"/>
                    <a:gd name="T6" fmla="*/ 102 w 136"/>
                    <a:gd name="T7" fmla="*/ 0 h 68"/>
                    <a:gd name="T8" fmla="*/ 34 w 136"/>
                    <a:gd name="T9" fmla="*/ 0 h 68"/>
                    <a:gd name="T10" fmla="*/ 0 w 136"/>
                    <a:gd name="T11" fmla="*/ 34 h 68"/>
                    <a:gd name="T12" fmla="*/ 34 w 136"/>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36" h="68">
                      <a:moveTo>
                        <a:pt x="34" y="68"/>
                      </a:moveTo>
                      <a:cubicBezTo>
                        <a:pt x="102" y="68"/>
                        <a:pt x="102" y="68"/>
                        <a:pt x="102" y="68"/>
                      </a:cubicBezTo>
                      <a:cubicBezTo>
                        <a:pt x="121" y="68"/>
                        <a:pt x="136" y="53"/>
                        <a:pt x="136" y="34"/>
                      </a:cubicBezTo>
                      <a:cubicBezTo>
                        <a:pt x="136" y="15"/>
                        <a:pt x="121" y="0"/>
                        <a:pt x="102" y="0"/>
                      </a:cubicBezTo>
                      <a:cubicBezTo>
                        <a:pt x="34" y="0"/>
                        <a:pt x="34" y="0"/>
                        <a:pt x="34" y="0"/>
                      </a:cubicBezTo>
                      <a:cubicBezTo>
                        <a:pt x="15" y="0"/>
                        <a:pt x="0" y="15"/>
                        <a:pt x="0" y="34"/>
                      </a:cubicBezTo>
                      <a:cubicBezTo>
                        <a:pt x="0" y="53"/>
                        <a:pt x="15"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grpSp>
      <p:pic>
        <p:nvPicPr>
          <p:cNvPr id="31" name="Picture 30" descr="A blue and green logo&#10;&#10;AI-generated content may be incorrect.">
            <a:extLst>
              <a:ext uri="{FF2B5EF4-FFF2-40B4-BE49-F238E27FC236}">
                <a16:creationId xmlns:a16="http://schemas.microsoft.com/office/drawing/2014/main" id="{4F6207CB-E4FD-EA95-E95E-4FC28CBD89C9}"/>
              </a:ext>
            </a:extLst>
          </p:cNvPr>
          <p:cNvPicPr>
            <a:picLocks noChangeAspect="1"/>
          </p:cNvPicPr>
          <p:nvPr/>
        </p:nvPicPr>
        <p:blipFill>
          <a:blip r:embed="rId3"/>
          <a:stretch>
            <a:fillRect/>
          </a:stretch>
        </p:blipFill>
        <p:spPr>
          <a:xfrm>
            <a:off x="889111" y="1718101"/>
            <a:ext cx="2481516" cy="788462"/>
          </a:xfrm>
          <a:prstGeom prst="roundRect">
            <a:avLst/>
          </a:prstGeom>
        </p:spPr>
      </p:pic>
    </p:spTree>
    <p:extLst>
      <p:ext uri="{BB962C8B-B14F-4D97-AF65-F5344CB8AC3E}">
        <p14:creationId xmlns:p14="http://schemas.microsoft.com/office/powerpoint/2010/main" val="3983706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dark sky with clouds and a city&#10;&#10;AI-generated content may be incorrect.">
            <a:extLst>
              <a:ext uri="{FF2B5EF4-FFF2-40B4-BE49-F238E27FC236}">
                <a16:creationId xmlns:a16="http://schemas.microsoft.com/office/drawing/2014/main" id="{53B3AFAC-B199-869B-EC32-E2971E049A27}"/>
              </a:ext>
            </a:extLst>
          </p:cNvPr>
          <p:cNvPicPr>
            <a:picLocks noChangeAspect="1"/>
          </p:cNvPicPr>
          <p:nvPr/>
        </p:nvPicPr>
        <p:blipFill>
          <a:blip r:embed="rId2"/>
          <a:srcRect l="8171" r="8718" b="1"/>
          <a:stretch>
            <a:fillRect/>
          </a:stretch>
        </p:blipFill>
        <p:spPr>
          <a:xfrm>
            <a:off x="20" y="10"/>
            <a:ext cx="12191980" cy="6857990"/>
          </a:xfrm>
          <a:prstGeom prst="rect">
            <a:avLst/>
          </a:prstGeom>
          <a:noFill/>
        </p:spPr>
      </p:pic>
      <p:sp>
        <p:nvSpPr>
          <p:cNvPr id="2" name="Text Placeholder 1">
            <a:extLst>
              <a:ext uri="{FF2B5EF4-FFF2-40B4-BE49-F238E27FC236}">
                <a16:creationId xmlns:a16="http://schemas.microsoft.com/office/drawing/2014/main" id="{5E6C6CE2-2085-1E06-E742-4068AAE188EC}"/>
              </a:ext>
            </a:extLst>
          </p:cNvPr>
          <p:cNvSpPr>
            <a:spLocks noGrp="1"/>
          </p:cNvSpPr>
          <p:nvPr>
            <p:ph type="body" sz="quarter" idx="13"/>
          </p:nvPr>
        </p:nvSpPr>
        <p:spPr/>
        <p:txBody>
          <a:bodyPr/>
          <a:lstStyle/>
          <a:p>
            <a:endParaRPr lang="en-US" noProof="0" dirty="0"/>
          </a:p>
        </p:txBody>
      </p:sp>
      <p:sp>
        <p:nvSpPr>
          <p:cNvPr id="3" name="Slide Number Placeholder 2">
            <a:extLst>
              <a:ext uri="{FF2B5EF4-FFF2-40B4-BE49-F238E27FC236}">
                <a16:creationId xmlns:a16="http://schemas.microsoft.com/office/drawing/2014/main" id="{095E535B-2E98-9C59-F556-29170B84344E}"/>
              </a:ext>
            </a:extLst>
          </p:cNvPr>
          <p:cNvSpPr>
            <a:spLocks noGrp="1"/>
          </p:cNvSpPr>
          <p:nvPr>
            <p:ph type="sldNum" sz="quarter" idx="12"/>
          </p:nvPr>
        </p:nvSpPr>
        <p:spPr/>
        <p:txBody>
          <a:bodyPr/>
          <a:lstStyle/>
          <a:p>
            <a:fld id="{393ADBA8-77A2-4533-9BC5-08370409A084}" type="slidenum">
              <a:rPr lang="en-US" noProof="0" smtClean="0"/>
              <a:pPr/>
              <a:t>2</a:t>
            </a:fld>
            <a:endParaRPr lang="en-US" noProof="0" dirty="0"/>
          </a:p>
        </p:txBody>
      </p:sp>
      <p:sp>
        <p:nvSpPr>
          <p:cNvPr id="4" name="Title 3">
            <a:extLst>
              <a:ext uri="{FF2B5EF4-FFF2-40B4-BE49-F238E27FC236}">
                <a16:creationId xmlns:a16="http://schemas.microsoft.com/office/drawing/2014/main" id="{B553E433-C749-F251-203F-A7CC50E01204}"/>
              </a:ext>
            </a:extLst>
          </p:cNvPr>
          <p:cNvSpPr>
            <a:spLocks noGrp="1"/>
          </p:cNvSpPr>
          <p:nvPr>
            <p:ph type="title"/>
          </p:nvPr>
        </p:nvSpPr>
        <p:spPr/>
        <p:txBody>
          <a:bodyPr/>
          <a:lstStyle/>
          <a:p>
            <a:endParaRPr lang="en-US" noProof="0" dirty="0"/>
          </a:p>
        </p:txBody>
      </p:sp>
    </p:spTree>
    <p:extLst>
      <p:ext uri="{BB962C8B-B14F-4D97-AF65-F5344CB8AC3E}">
        <p14:creationId xmlns:p14="http://schemas.microsoft.com/office/powerpoint/2010/main" val="117068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636614B-4EC7-4CA2-8FA8-947AD03203A0}"/>
              </a:ext>
            </a:extLst>
          </p:cNvPr>
          <p:cNvSpPr>
            <a:spLocks noGrp="1"/>
          </p:cNvSpPr>
          <p:nvPr>
            <p:ph type="title"/>
          </p:nvPr>
        </p:nvSpPr>
        <p:spPr/>
        <p:txBody>
          <a:bodyPr>
            <a:normAutofit/>
          </a:bodyPr>
          <a:lstStyle/>
          <a:p>
            <a:r>
              <a:rPr lang="en-US" noProof="0" dirty="0"/>
              <a:t>Replicating the event in INESCTEC’s physics based  inter-area model</a:t>
            </a:r>
          </a:p>
        </p:txBody>
      </p:sp>
      <p:pic>
        <p:nvPicPr>
          <p:cNvPr id="4" name="Graphic 3">
            <a:extLst>
              <a:ext uri="{FF2B5EF4-FFF2-40B4-BE49-F238E27FC236}">
                <a16:creationId xmlns:a16="http://schemas.microsoft.com/office/drawing/2014/main" id="{6C470DC9-C3A9-4FB7-9340-8F3571FD019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0969" t="3712" r="8571" b="7238"/>
          <a:stretch/>
        </p:blipFill>
        <p:spPr>
          <a:xfrm>
            <a:off x="1607932" y="1237259"/>
            <a:ext cx="8976135" cy="5390235"/>
          </a:xfrm>
          <a:prstGeom prst="rect">
            <a:avLst/>
          </a:prstGeom>
        </p:spPr>
      </p:pic>
      <p:sp>
        <p:nvSpPr>
          <p:cNvPr id="2" name="Rectangle 1">
            <a:extLst>
              <a:ext uri="{FF2B5EF4-FFF2-40B4-BE49-F238E27FC236}">
                <a16:creationId xmlns:a16="http://schemas.microsoft.com/office/drawing/2014/main" id="{5B81E117-F2D5-E481-2A25-B56F1440B3B2}"/>
              </a:ext>
            </a:extLst>
          </p:cNvPr>
          <p:cNvSpPr/>
          <p:nvPr/>
        </p:nvSpPr>
        <p:spPr>
          <a:xfrm>
            <a:off x="2353670" y="1432792"/>
            <a:ext cx="1005840" cy="55128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Rectangle 2">
            <a:extLst>
              <a:ext uri="{FF2B5EF4-FFF2-40B4-BE49-F238E27FC236}">
                <a16:creationId xmlns:a16="http://schemas.microsoft.com/office/drawing/2014/main" id="{CA05340A-BC99-7F84-F872-6A58A2996815}"/>
              </a:ext>
            </a:extLst>
          </p:cNvPr>
          <p:cNvSpPr/>
          <p:nvPr/>
        </p:nvSpPr>
        <p:spPr>
          <a:xfrm>
            <a:off x="8617788" y="1725685"/>
            <a:ext cx="717623" cy="55128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Rectangle 4">
            <a:extLst>
              <a:ext uri="{FF2B5EF4-FFF2-40B4-BE49-F238E27FC236}">
                <a16:creationId xmlns:a16="http://schemas.microsoft.com/office/drawing/2014/main" id="{2DC84B1B-A538-B635-B1A6-BEA92BF4C4D7}"/>
              </a:ext>
            </a:extLst>
          </p:cNvPr>
          <p:cNvSpPr/>
          <p:nvPr/>
        </p:nvSpPr>
        <p:spPr>
          <a:xfrm>
            <a:off x="9212001" y="2276968"/>
            <a:ext cx="794641" cy="189821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38354123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E59C3-A766-3F99-0B54-B27C7C0B6F61}"/>
              </a:ext>
            </a:extLst>
          </p:cNvPr>
          <p:cNvSpPr>
            <a:spLocks noGrp="1"/>
          </p:cNvSpPr>
          <p:nvPr>
            <p:ph type="body" sz="quarter" idx="13"/>
          </p:nvPr>
        </p:nvSpPr>
        <p:spPr/>
        <p:txBody>
          <a:bodyPr/>
          <a:lstStyle/>
          <a:p>
            <a:endParaRPr lang="en-US"/>
          </a:p>
        </p:txBody>
      </p:sp>
      <p:sp>
        <p:nvSpPr>
          <p:cNvPr id="3" name="Slide Number Placeholder 2">
            <a:extLst>
              <a:ext uri="{FF2B5EF4-FFF2-40B4-BE49-F238E27FC236}">
                <a16:creationId xmlns:a16="http://schemas.microsoft.com/office/drawing/2014/main" id="{BAA1538A-B25F-B3AC-0E67-8EE687ED6D82}"/>
              </a:ext>
            </a:extLst>
          </p:cNvPr>
          <p:cNvSpPr>
            <a:spLocks noGrp="1"/>
          </p:cNvSpPr>
          <p:nvPr>
            <p:ph type="sldNum" sz="quarter" idx="12"/>
          </p:nvPr>
        </p:nvSpPr>
        <p:spPr/>
        <p:txBody>
          <a:bodyPr/>
          <a:lstStyle/>
          <a:p>
            <a:fld id="{393ADBA8-77A2-4533-9BC5-08370409A084}" type="slidenum">
              <a:rPr lang="pt-PT" smtClean="0"/>
              <a:pPr/>
              <a:t>21</a:t>
            </a:fld>
            <a:endParaRPr lang="pt-PT" dirty="0"/>
          </a:p>
        </p:txBody>
      </p:sp>
      <p:sp>
        <p:nvSpPr>
          <p:cNvPr id="4" name="Title 3">
            <a:extLst>
              <a:ext uri="{FF2B5EF4-FFF2-40B4-BE49-F238E27FC236}">
                <a16:creationId xmlns:a16="http://schemas.microsoft.com/office/drawing/2014/main" id="{25073F8C-D5BE-28BC-AC93-A0016E43202F}"/>
              </a:ext>
            </a:extLst>
          </p:cNvPr>
          <p:cNvSpPr>
            <a:spLocks noGrp="1"/>
          </p:cNvSpPr>
          <p:nvPr>
            <p:ph type="title"/>
          </p:nvPr>
        </p:nvSpPr>
        <p:spPr/>
        <p:txBody>
          <a:bodyPr/>
          <a:lstStyle/>
          <a:p>
            <a:r>
              <a:rPr lang="en-US" dirty="0"/>
              <a:t>Replicating the event in INESCTEC’s physics based  inter-area model</a:t>
            </a:r>
          </a:p>
        </p:txBody>
      </p:sp>
      <p:pic>
        <p:nvPicPr>
          <p:cNvPr id="6" name="Graphic 5">
            <a:extLst>
              <a:ext uri="{FF2B5EF4-FFF2-40B4-BE49-F238E27FC236}">
                <a16:creationId xmlns:a16="http://schemas.microsoft.com/office/drawing/2014/main" id="{D53EA2B1-044C-32C5-A3B5-875C1BBAFD07}"/>
              </a:ext>
            </a:extLst>
          </p:cNvPr>
          <p:cNvPicPr>
            <a:picLocks noChangeAspect="1"/>
          </p:cNvPicPr>
          <p:nvPr/>
        </p:nvPicPr>
        <p:blipFill>
          <a:blip r:embed="rId2">
            <a:extLst>
              <a:ext uri="{96DAC541-7B7A-43D3-8B79-37D633B846F1}">
                <asvg:svgBlip xmlns:asvg="http://schemas.microsoft.com/office/drawing/2016/SVG/main" r:embed="rId3"/>
              </a:ext>
            </a:extLst>
          </a:blip>
          <a:srcRect l="5512" t="50000" r="8162" b="4138"/>
          <a:stretch>
            <a:fillRect/>
          </a:stretch>
        </p:blipFill>
        <p:spPr>
          <a:xfrm>
            <a:off x="681487" y="1190870"/>
            <a:ext cx="10672311" cy="5268217"/>
          </a:xfrm>
          <a:prstGeom prst="rect">
            <a:avLst/>
          </a:prstGeom>
        </p:spPr>
      </p:pic>
      <p:sp>
        <p:nvSpPr>
          <p:cNvPr id="7" name="Rectangle 6">
            <a:extLst>
              <a:ext uri="{FF2B5EF4-FFF2-40B4-BE49-F238E27FC236}">
                <a16:creationId xmlns:a16="http://schemas.microsoft.com/office/drawing/2014/main" id="{43653F14-DA2D-240D-666B-97736BDEDB99}"/>
              </a:ext>
            </a:extLst>
          </p:cNvPr>
          <p:cNvSpPr/>
          <p:nvPr/>
        </p:nvSpPr>
        <p:spPr>
          <a:xfrm>
            <a:off x="9834114" y="3211317"/>
            <a:ext cx="267418" cy="86897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929154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061EB7C-0055-039D-4BCA-E783A3718DB1}"/>
              </a:ext>
            </a:extLst>
          </p:cNvPr>
          <p:cNvSpPr>
            <a:spLocks noGrp="1"/>
          </p:cNvSpPr>
          <p:nvPr>
            <p:ph type="body" sz="quarter" idx="10"/>
          </p:nvPr>
        </p:nvSpPr>
        <p:spPr>
          <a:xfrm>
            <a:off x="352426" y="976235"/>
            <a:ext cx="5531540" cy="4847481"/>
          </a:xfrm>
        </p:spPr>
        <p:txBody>
          <a:bodyPr/>
          <a:lstStyle/>
          <a:p>
            <a:r>
              <a:rPr lang="en-US" noProof="0" dirty="0"/>
              <a:t>04</a:t>
            </a:r>
          </a:p>
        </p:txBody>
      </p:sp>
      <p:sp>
        <p:nvSpPr>
          <p:cNvPr id="2" name="Title 1">
            <a:extLst>
              <a:ext uri="{FF2B5EF4-FFF2-40B4-BE49-F238E27FC236}">
                <a16:creationId xmlns:a16="http://schemas.microsoft.com/office/drawing/2014/main" id="{E856C5C1-44BB-572C-7E72-588F444613D2}"/>
              </a:ext>
            </a:extLst>
          </p:cNvPr>
          <p:cNvSpPr>
            <a:spLocks noGrp="1"/>
          </p:cNvSpPr>
          <p:nvPr>
            <p:ph type="title"/>
          </p:nvPr>
        </p:nvSpPr>
        <p:spPr/>
        <p:txBody>
          <a:bodyPr/>
          <a:lstStyle/>
          <a:p>
            <a:r>
              <a:rPr lang="en-US" noProof="0" dirty="0"/>
              <a:t>Opportunities for Foundational Models</a:t>
            </a:r>
          </a:p>
        </p:txBody>
      </p:sp>
      <p:sp>
        <p:nvSpPr>
          <p:cNvPr id="4" name="Text Placeholder 3">
            <a:extLst>
              <a:ext uri="{FF2B5EF4-FFF2-40B4-BE49-F238E27FC236}">
                <a16:creationId xmlns:a16="http://schemas.microsoft.com/office/drawing/2014/main" id="{CE5226D8-8524-BFDC-965C-FE631DBFD9C1}"/>
              </a:ext>
            </a:extLst>
          </p:cNvPr>
          <p:cNvSpPr>
            <a:spLocks noGrp="1"/>
          </p:cNvSpPr>
          <p:nvPr>
            <p:ph type="body" idx="1"/>
          </p:nvPr>
        </p:nvSpPr>
        <p:spPr/>
        <p:txBody>
          <a:bodyPr/>
          <a:lstStyle/>
          <a:p>
            <a:endParaRPr lang="en-US" noProof="0" dirty="0"/>
          </a:p>
        </p:txBody>
      </p:sp>
    </p:spTree>
    <p:extLst>
      <p:ext uri="{BB962C8B-B14F-4D97-AF65-F5344CB8AC3E}">
        <p14:creationId xmlns:p14="http://schemas.microsoft.com/office/powerpoint/2010/main" val="2365154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E5533-A98C-A880-D6CC-723F77E512E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38507D-BE05-A36D-76BD-AB23D18E1689}"/>
              </a:ext>
            </a:extLst>
          </p:cNvPr>
          <p:cNvSpPr>
            <a:spLocks noGrp="1"/>
          </p:cNvSpPr>
          <p:nvPr>
            <p:ph type="sldNum" sz="quarter" idx="12"/>
          </p:nvPr>
        </p:nvSpPr>
        <p:spPr/>
        <p:txBody>
          <a:bodyPr/>
          <a:lstStyle/>
          <a:p>
            <a:fld id="{393ADBA8-77A2-4533-9BC5-08370409A084}" type="slidenum">
              <a:rPr lang="en-US" noProof="0" smtClean="0"/>
              <a:pPr/>
              <a:t>23</a:t>
            </a:fld>
            <a:endParaRPr lang="en-US" noProof="0" dirty="0"/>
          </a:p>
        </p:txBody>
      </p:sp>
      <p:sp>
        <p:nvSpPr>
          <p:cNvPr id="4" name="Title 3">
            <a:extLst>
              <a:ext uri="{FF2B5EF4-FFF2-40B4-BE49-F238E27FC236}">
                <a16:creationId xmlns:a16="http://schemas.microsoft.com/office/drawing/2014/main" id="{CF9E87CC-18EE-E1D9-8251-B8BFD397CE0D}"/>
              </a:ext>
            </a:extLst>
          </p:cNvPr>
          <p:cNvSpPr>
            <a:spLocks noGrp="1"/>
          </p:cNvSpPr>
          <p:nvPr>
            <p:ph type="title"/>
          </p:nvPr>
        </p:nvSpPr>
        <p:spPr/>
        <p:txBody>
          <a:bodyPr/>
          <a:lstStyle/>
          <a:p>
            <a:r>
              <a:rPr lang="en-US" noProof="0" dirty="0"/>
              <a:t>What information could have helped the operator during this day?</a:t>
            </a:r>
          </a:p>
        </p:txBody>
      </p:sp>
      <p:sp>
        <p:nvSpPr>
          <p:cNvPr id="10" name="Rectangle: Rounded Corners 9">
            <a:extLst>
              <a:ext uri="{FF2B5EF4-FFF2-40B4-BE49-F238E27FC236}">
                <a16:creationId xmlns:a16="http://schemas.microsoft.com/office/drawing/2014/main" id="{75948E2F-FD6A-CD85-1B8D-961F826EAC3A}"/>
              </a:ext>
            </a:extLst>
          </p:cNvPr>
          <p:cNvSpPr/>
          <p:nvPr/>
        </p:nvSpPr>
        <p:spPr>
          <a:xfrm>
            <a:off x="462536" y="4563447"/>
            <a:ext cx="5892726" cy="727339"/>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1600" noProof="0" dirty="0"/>
              <a:t>A small description of the event;</a:t>
            </a:r>
          </a:p>
        </p:txBody>
      </p:sp>
      <p:sp>
        <p:nvSpPr>
          <p:cNvPr id="2" name="Rectangle: Rounded Corners 1">
            <a:extLst>
              <a:ext uri="{FF2B5EF4-FFF2-40B4-BE49-F238E27FC236}">
                <a16:creationId xmlns:a16="http://schemas.microsoft.com/office/drawing/2014/main" id="{B9A786D8-444C-C9A5-78BD-D98CF81A2779}"/>
              </a:ext>
            </a:extLst>
          </p:cNvPr>
          <p:cNvSpPr/>
          <p:nvPr/>
        </p:nvSpPr>
        <p:spPr>
          <a:xfrm>
            <a:off x="462538" y="2991935"/>
            <a:ext cx="5892726" cy="952057"/>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1600" noProof="0" dirty="0"/>
              <a:t>The effect of the measures taken to damp the system oscillations on the system N-k security</a:t>
            </a:r>
          </a:p>
        </p:txBody>
      </p:sp>
      <p:sp>
        <p:nvSpPr>
          <p:cNvPr id="6" name="Rectangle: Rounded Corners 5">
            <a:extLst>
              <a:ext uri="{FF2B5EF4-FFF2-40B4-BE49-F238E27FC236}">
                <a16:creationId xmlns:a16="http://schemas.microsoft.com/office/drawing/2014/main" id="{0F6636B6-9F51-20C1-8721-4A4747A3366F}"/>
              </a:ext>
            </a:extLst>
          </p:cNvPr>
          <p:cNvSpPr/>
          <p:nvPr/>
        </p:nvSpPr>
        <p:spPr>
          <a:xfrm>
            <a:off x="6718764" y="2991935"/>
            <a:ext cx="5157099" cy="952056"/>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1600" noProof="0" dirty="0"/>
              <a:t>Allows the operator to perform an informed decision in terms of the actions taken to damp system oscillations.</a:t>
            </a:r>
          </a:p>
        </p:txBody>
      </p:sp>
      <p:sp>
        <p:nvSpPr>
          <p:cNvPr id="13" name="Rectangle: Rounded Corners 12">
            <a:extLst>
              <a:ext uri="{FF2B5EF4-FFF2-40B4-BE49-F238E27FC236}">
                <a16:creationId xmlns:a16="http://schemas.microsoft.com/office/drawing/2014/main" id="{807CD552-B313-57B5-BAA4-DF5107790B24}"/>
              </a:ext>
            </a:extLst>
          </p:cNvPr>
          <p:cNvSpPr/>
          <p:nvPr/>
        </p:nvSpPr>
        <p:spPr>
          <a:xfrm>
            <a:off x="6718762" y="4552671"/>
            <a:ext cx="5157101" cy="738115"/>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1600" noProof="0" dirty="0"/>
              <a:t>Provide operators with an early sketch of what might have happened.</a:t>
            </a:r>
          </a:p>
        </p:txBody>
      </p:sp>
    </p:spTree>
    <p:extLst>
      <p:ext uri="{BB962C8B-B14F-4D97-AF65-F5344CB8AC3E}">
        <p14:creationId xmlns:p14="http://schemas.microsoft.com/office/powerpoint/2010/main" val="2517587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 grpId="0" animBg="1"/>
      <p:bldP spid="6" grpId="0" animBg="1"/>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3119D-0588-8A47-1067-207A4B950FB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B32104-A308-C8DC-0561-C451C9A9112E}"/>
              </a:ext>
            </a:extLst>
          </p:cNvPr>
          <p:cNvSpPr>
            <a:spLocks noGrp="1"/>
          </p:cNvSpPr>
          <p:nvPr>
            <p:ph type="sldNum" sz="quarter" idx="12"/>
          </p:nvPr>
        </p:nvSpPr>
        <p:spPr/>
        <p:txBody>
          <a:bodyPr/>
          <a:lstStyle/>
          <a:p>
            <a:fld id="{393ADBA8-77A2-4533-9BC5-08370409A084}" type="slidenum">
              <a:rPr lang="en-US" noProof="0" smtClean="0"/>
              <a:pPr/>
              <a:t>24</a:t>
            </a:fld>
            <a:endParaRPr lang="en-US" noProof="0" dirty="0"/>
          </a:p>
        </p:txBody>
      </p:sp>
      <p:sp>
        <p:nvSpPr>
          <p:cNvPr id="4" name="Title 3">
            <a:extLst>
              <a:ext uri="{FF2B5EF4-FFF2-40B4-BE49-F238E27FC236}">
                <a16:creationId xmlns:a16="http://schemas.microsoft.com/office/drawing/2014/main" id="{4036074F-96D2-0816-755E-336FBA14FA89}"/>
              </a:ext>
            </a:extLst>
          </p:cNvPr>
          <p:cNvSpPr>
            <a:spLocks noGrp="1"/>
          </p:cNvSpPr>
          <p:nvPr>
            <p:ph type="title"/>
          </p:nvPr>
        </p:nvSpPr>
        <p:spPr/>
        <p:txBody>
          <a:bodyPr/>
          <a:lstStyle/>
          <a:p>
            <a:r>
              <a:rPr lang="en-US" noProof="0" dirty="0"/>
              <a:t>What are Foundational Models?</a:t>
            </a:r>
          </a:p>
        </p:txBody>
      </p:sp>
      <p:pic>
        <p:nvPicPr>
          <p:cNvPr id="2" name="Picture 2" descr="LF AI &amp; Data Foundation Logos and Artwork - NNStreamer">
            <a:extLst>
              <a:ext uri="{FF2B5EF4-FFF2-40B4-BE49-F238E27FC236}">
                <a16:creationId xmlns:a16="http://schemas.microsoft.com/office/drawing/2014/main" id="{8056C7D2-2096-FE60-8C5F-511B9D7027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8558" y="3666833"/>
            <a:ext cx="970972" cy="97097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Diagram of a diagram&#10;&#10;AI-generated content may be incorrect.">
            <a:extLst>
              <a:ext uri="{FF2B5EF4-FFF2-40B4-BE49-F238E27FC236}">
                <a16:creationId xmlns:a16="http://schemas.microsoft.com/office/drawing/2014/main" id="{9D0B86BF-88FF-2735-E875-8D59CE130118}"/>
              </a:ext>
            </a:extLst>
          </p:cNvPr>
          <p:cNvPicPr>
            <a:picLocks noChangeAspect="1"/>
          </p:cNvPicPr>
          <p:nvPr/>
        </p:nvPicPr>
        <p:blipFill>
          <a:blip r:embed="rId3"/>
          <a:stretch>
            <a:fillRect/>
          </a:stretch>
        </p:blipFill>
        <p:spPr>
          <a:xfrm>
            <a:off x="891209" y="1770459"/>
            <a:ext cx="5797833" cy="4003926"/>
          </a:xfrm>
          <a:prstGeom prst="rect">
            <a:avLst/>
          </a:prstGeom>
        </p:spPr>
      </p:pic>
      <p:sp>
        <p:nvSpPr>
          <p:cNvPr id="7" name="TextBox 6">
            <a:extLst>
              <a:ext uri="{FF2B5EF4-FFF2-40B4-BE49-F238E27FC236}">
                <a16:creationId xmlns:a16="http://schemas.microsoft.com/office/drawing/2014/main" id="{54C0614E-B87B-1E3C-588B-BEAB78FAC14B}"/>
              </a:ext>
            </a:extLst>
          </p:cNvPr>
          <p:cNvSpPr txBox="1"/>
          <p:nvPr/>
        </p:nvSpPr>
        <p:spPr>
          <a:xfrm>
            <a:off x="7709634" y="1770459"/>
            <a:ext cx="3644164" cy="1077218"/>
          </a:xfrm>
          <a:prstGeom prst="rect">
            <a:avLst/>
          </a:prstGeom>
          <a:noFill/>
        </p:spPr>
        <p:txBody>
          <a:bodyPr wrap="square" rtlCol="0">
            <a:spAutoFit/>
          </a:bodyPr>
          <a:lstStyle/>
          <a:p>
            <a:r>
              <a:rPr lang="en-US" sz="1600" noProof="0" dirty="0"/>
              <a:t>Once developed, FMs can be readily adapted to multiple downstream applications via fine-tuning with minimal labeled data.</a:t>
            </a:r>
          </a:p>
        </p:txBody>
      </p:sp>
      <p:pic>
        <p:nvPicPr>
          <p:cNvPr id="9" name="Picture 2" descr="Large Language Models (LLMs) | TWIML">
            <a:extLst>
              <a:ext uri="{FF2B5EF4-FFF2-40B4-BE49-F238E27FC236}">
                <a16:creationId xmlns:a16="http://schemas.microsoft.com/office/drawing/2014/main" id="{929E8219-4D0A-A3C7-D2B5-1BB426265D7D}"/>
              </a:ext>
            </a:extLst>
          </p:cNvPr>
          <p:cNvPicPr>
            <a:picLocks noChangeAspect="1" noChangeArrowheads="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9902595" y="3481984"/>
            <a:ext cx="1340670" cy="1340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9278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13E46-1D13-9959-BE2E-0434DA48A2C4}"/>
            </a:ext>
          </a:extLst>
        </p:cNvPr>
        <p:cNvGrpSpPr/>
        <p:nvPr/>
      </p:nvGrpSpPr>
      <p:grpSpPr>
        <a:xfrm>
          <a:off x="0" y="0"/>
          <a:ext cx="0" cy="0"/>
          <a:chOff x="0" y="0"/>
          <a:chExt cx="0" cy="0"/>
        </a:xfrm>
      </p:grpSpPr>
      <p:sp>
        <p:nvSpPr>
          <p:cNvPr id="20" name="TextBox 19">
            <a:extLst>
              <a:ext uri="{FF2B5EF4-FFF2-40B4-BE49-F238E27FC236}">
                <a16:creationId xmlns:a16="http://schemas.microsoft.com/office/drawing/2014/main" id="{26B0C241-E7AA-6F78-DC41-F70F4025EC6C}"/>
              </a:ext>
            </a:extLst>
          </p:cNvPr>
          <p:cNvSpPr txBox="1"/>
          <p:nvPr/>
        </p:nvSpPr>
        <p:spPr>
          <a:xfrm>
            <a:off x="619847" y="5693628"/>
            <a:ext cx="10733951" cy="830997"/>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b="1" noProof="0" dirty="0">
                <a:solidFill>
                  <a:srgbClr val="FF0000"/>
                </a:solidFill>
              </a:rPr>
              <a:t>Data for Training/Fine-Tuning:  </a:t>
            </a:r>
          </a:p>
          <a:p>
            <a:r>
              <a:rPr lang="en-US" sz="1600" noProof="0" dirty="0">
                <a:solidFill>
                  <a:schemeClr val="tx1"/>
                </a:solidFill>
              </a:rPr>
              <a:t>A large dataset of solved load flow cases may be used to train the FM for contingency analysis.</a:t>
            </a:r>
          </a:p>
          <a:p>
            <a:r>
              <a:rPr lang="en-US" sz="1600" noProof="0" dirty="0">
                <a:solidFill>
                  <a:schemeClr val="tx1"/>
                </a:solidFill>
              </a:rPr>
              <a:t>INESCTEC’s equivalent model of the Iberian System can be used to generate data on the loss of synchronism problem.</a:t>
            </a:r>
          </a:p>
        </p:txBody>
      </p:sp>
      <p:sp>
        <p:nvSpPr>
          <p:cNvPr id="3" name="Slide Number Placeholder 2">
            <a:extLst>
              <a:ext uri="{FF2B5EF4-FFF2-40B4-BE49-F238E27FC236}">
                <a16:creationId xmlns:a16="http://schemas.microsoft.com/office/drawing/2014/main" id="{1B915F19-DCA1-922A-5B4E-A7D75E2D54C1}"/>
              </a:ext>
            </a:extLst>
          </p:cNvPr>
          <p:cNvSpPr>
            <a:spLocks noGrp="1"/>
          </p:cNvSpPr>
          <p:nvPr>
            <p:ph type="sldNum" sz="quarter" idx="12"/>
          </p:nvPr>
        </p:nvSpPr>
        <p:spPr/>
        <p:txBody>
          <a:bodyPr/>
          <a:lstStyle/>
          <a:p>
            <a:fld id="{393ADBA8-77A2-4533-9BC5-08370409A084}" type="slidenum">
              <a:rPr lang="en-US" noProof="0" smtClean="0"/>
              <a:pPr/>
              <a:t>25</a:t>
            </a:fld>
            <a:endParaRPr lang="en-US" noProof="0" dirty="0"/>
          </a:p>
        </p:txBody>
      </p:sp>
      <p:sp>
        <p:nvSpPr>
          <p:cNvPr id="4" name="Title 3">
            <a:extLst>
              <a:ext uri="{FF2B5EF4-FFF2-40B4-BE49-F238E27FC236}">
                <a16:creationId xmlns:a16="http://schemas.microsoft.com/office/drawing/2014/main" id="{523CBA1D-FCD5-7AC5-CE13-AA469D145DBE}"/>
              </a:ext>
            </a:extLst>
          </p:cNvPr>
          <p:cNvSpPr>
            <a:spLocks noGrp="1"/>
          </p:cNvSpPr>
          <p:nvPr>
            <p:ph type="title"/>
          </p:nvPr>
        </p:nvSpPr>
        <p:spPr/>
        <p:txBody>
          <a:bodyPr>
            <a:normAutofit fontScale="90000"/>
          </a:bodyPr>
          <a:lstStyle/>
          <a:p>
            <a:r>
              <a:rPr lang="en-US" noProof="0" dirty="0"/>
              <a:t>Forecast the effect of the measures taken to damp the system oscillations on the system N-k security </a:t>
            </a:r>
          </a:p>
        </p:txBody>
      </p:sp>
      <p:sp>
        <p:nvSpPr>
          <p:cNvPr id="23" name="Rectangle: Rounded Corners 22">
            <a:extLst>
              <a:ext uri="{FF2B5EF4-FFF2-40B4-BE49-F238E27FC236}">
                <a16:creationId xmlns:a16="http://schemas.microsoft.com/office/drawing/2014/main" id="{299EF638-E5EC-C07C-D089-750868D27E8D}"/>
              </a:ext>
            </a:extLst>
          </p:cNvPr>
          <p:cNvSpPr/>
          <p:nvPr/>
        </p:nvSpPr>
        <p:spPr>
          <a:xfrm>
            <a:off x="3228129" y="4566684"/>
            <a:ext cx="8179844" cy="596667"/>
          </a:xfrm>
          <a:prstGeom prst="roundRect">
            <a:avLst>
              <a:gd name="adj" fmla="val 2048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700" noProof="0" dirty="0"/>
              <a:t>Leverage the ability of Foundational models to perform fast and accurate predictions. </a:t>
            </a:r>
          </a:p>
        </p:txBody>
      </p:sp>
      <p:sp>
        <p:nvSpPr>
          <p:cNvPr id="2" name="Rectangle: Rounded Corners 1">
            <a:extLst>
              <a:ext uri="{FF2B5EF4-FFF2-40B4-BE49-F238E27FC236}">
                <a16:creationId xmlns:a16="http://schemas.microsoft.com/office/drawing/2014/main" id="{43295A67-38D4-6227-B4BA-7D1EF6B8127C}"/>
              </a:ext>
            </a:extLst>
          </p:cNvPr>
          <p:cNvSpPr/>
          <p:nvPr/>
        </p:nvSpPr>
        <p:spPr>
          <a:xfrm>
            <a:off x="2528420" y="1661129"/>
            <a:ext cx="7025156" cy="853338"/>
          </a:xfrm>
          <a:prstGeom prst="roundRect">
            <a:avLst>
              <a:gd name="adj" fmla="val 50000"/>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en-US" sz="1700" noProof="0" dirty="0"/>
              <a:t>The actions taken to dampen oscillations are often defined</a:t>
            </a:r>
          </a:p>
          <a:p>
            <a:r>
              <a:rPr lang="en-US" sz="1700" noProof="0" dirty="0"/>
              <a:t> beforehand, as established procedures. </a:t>
            </a:r>
          </a:p>
        </p:txBody>
      </p:sp>
      <p:pic>
        <p:nvPicPr>
          <p:cNvPr id="6" name="Picture 5" descr="A paper with check marks and a gear&#10;&#10;AI-generated content may be incorrect.">
            <a:extLst>
              <a:ext uri="{FF2B5EF4-FFF2-40B4-BE49-F238E27FC236}">
                <a16:creationId xmlns:a16="http://schemas.microsoft.com/office/drawing/2014/main" id="{C8EB4CFC-7D42-9920-143D-AD9E624B2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8915" y="1737973"/>
            <a:ext cx="657093" cy="657093"/>
          </a:xfrm>
          <a:prstGeom prst="rect">
            <a:avLst/>
          </a:prstGeom>
        </p:spPr>
      </p:pic>
      <p:sp>
        <p:nvSpPr>
          <p:cNvPr id="7" name="Rectangle: Rounded Corners 6">
            <a:extLst>
              <a:ext uri="{FF2B5EF4-FFF2-40B4-BE49-F238E27FC236}">
                <a16:creationId xmlns:a16="http://schemas.microsoft.com/office/drawing/2014/main" id="{35702B54-ACAC-49AC-FC74-1CC10287A1A8}"/>
              </a:ext>
            </a:extLst>
          </p:cNvPr>
          <p:cNvSpPr/>
          <p:nvPr/>
        </p:nvSpPr>
        <p:spPr>
          <a:xfrm>
            <a:off x="619847" y="3234510"/>
            <a:ext cx="4543425" cy="691290"/>
          </a:xfrm>
          <a:prstGeom prst="roundRect">
            <a:avLst>
              <a:gd name="adj" fmla="val 22428"/>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r>
              <a:rPr lang="en-US" sz="1700" noProof="0" dirty="0"/>
              <a:t>Continuously forecast the impact of these measures on the system N-1 or N-K security.</a:t>
            </a:r>
          </a:p>
        </p:txBody>
      </p:sp>
      <p:sp>
        <p:nvSpPr>
          <p:cNvPr id="8" name="TextBox 7">
            <a:extLst>
              <a:ext uri="{FF2B5EF4-FFF2-40B4-BE49-F238E27FC236}">
                <a16:creationId xmlns:a16="http://schemas.microsoft.com/office/drawing/2014/main" id="{F1837282-CE8B-AB02-156D-1F1142A8FF7B}"/>
              </a:ext>
            </a:extLst>
          </p:cNvPr>
          <p:cNvSpPr txBox="1"/>
          <p:nvPr/>
        </p:nvSpPr>
        <p:spPr>
          <a:xfrm>
            <a:off x="1989420" y="2767628"/>
            <a:ext cx="1449436" cy="369332"/>
          </a:xfrm>
          <a:prstGeom prst="rect">
            <a:avLst/>
          </a:prstGeom>
          <a:noFill/>
        </p:spPr>
        <p:txBody>
          <a:bodyPr wrap="none" rtlCol="0">
            <a:spAutoFit/>
          </a:bodyPr>
          <a:lstStyle/>
          <a:p>
            <a:r>
              <a:rPr lang="en-US" b="1" noProof="0" dirty="0">
                <a:solidFill>
                  <a:srgbClr val="C00000"/>
                </a:solidFill>
              </a:rPr>
              <a:t>Opportunity</a:t>
            </a:r>
          </a:p>
        </p:txBody>
      </p:sp>
      <p:sp>
        <p:nvSpPr>
          <p:cNvPr id="9" name="Rectangle: Rounded Corners 8">
            <a:extLst>
              <a:ext uri="{FF2B5EF4-FFF2-40B4-BE49-F238E27FC236}">
                <a16:creationId xmlns:a16="http://schemas.microsoft.com/office/drawing/2014/main" id="{D4194D6F-7AD6-23CB-7EA8-EEB57865D422}"/>
              </a:ext>
            </a:extLst>
          </p:cNvPr>
          <p:cNvSpPr/>
          <p:nvPr/>
        </p:nvSpPr>
        <p:spPr>
          <a:xfrm>
            <a:off x="6040998" y="3248404"/>
            <a:ext cx="5161370" cy="663503"/>
          </a:xfrm>
          <a:prstGeom prst="roundRect">
            <a:avLst>
              <a:gd name="adj" fmla="val 11338"/>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r>
              <a:rPr lang="en-US" sz="1700" noProof="0" dirty="0"/>
              <a:t>The dimension of the contingencies to be </a:t>
            </a:r>
            <a:r>
              <a:rPr lang="en-US" sz="1700" noProof="0" dirty="0" err="1"/>
              <a:t>analysed</a:t>
            </a:r>
            <a:r>
              <a:rPr lang="en-US" sz="1700" noProof="0" dirty="0"/>
              <a:t> could make the analysis unfeasible in real-time.</a:t>
            </a:r>
          </a:p>
        </p:txBody>
      </p:sp>
      <p:sp>
        <p:nvSpPr>
          <p:cNvPr id="10" name="TextBox 9">
            <a:extLst>
              <a:ext uri="{FF2B5EF4-FFF2-40B4-BE49-F238E27FC236}">
                <a16:creationId xmlns:a16="http://schemas.microsoft.com/office/drawing/2014/main" id="{54054EF5-E82A-6AD7-7D15-3CECE1856E95}"/>
              </a:ext>
            </a:extLst>
          </p:cNvPr>
          <p:cNvSpPr txBox="1"/>
          <p:nvPr/>
        </p:nvSpPr>
        <p:spPr>
          <a:xfrm>
            <a:off x="7938991" y="2782105"/>
            <a:ext cx="1074333" cy="369332"/>
          </a:xfrm>
          <a:prstGeom prst="rect">
            <a:avLst/>
          </a:prstGeom>
          <a:noFill/>
        </p:spPr>
        <p:txBody>
          <a:bodyPr wrap="none" rtlCol="0">
            <a:spAutoFit/>
          </a:bodyPr>
          <a:lstStyle/>
          <a:p>
            <a:r>
              <a:rPr lang="en-US" b="1" noProof="0" dirty="0">
                <a:solidFill>
                  <a:srgbClr val="C00000"/>
                </a:solidFill>
              </a:rPr>
              <a:t>Problem</a:t>
            </a:r>
          </a:p>
        </p:txBody>
      </p:sp>
      <p:pic>
        <p:nvPicPr>
          <p:cNvPr id="1026" name="Picture 2" descr="LF AI &amp; Data Foundation Logos and Artwork - NNStreamer">
            <a:extLst>
              <a:ext uri="{FF2B5EF4-FFF2-40B4-BE49-F238E27FC236}">
                <a16:creationId xmlns:a16="http://schemas.microsoft.com/office/drawing/2014/main" id="{86A7CE81-6BAE-2530-81D8-EAAF204BE2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7421" y="4492014"/>
            <a:ext cx="703997" cy="703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1863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26"/>
                                        </p:tgtEl>
                                        <p:attrNameLst>
                                          <p:attrName>style.visibility</p:attrName>
                                        </p:attrNameLst>
                                      </p:cBhvr>
                                      <p:to>
                                        <p:strVal val="visible"/>
                                      </p:to>
                                    </p:set>
                                    <p:animEffect transition="in" filter="fade">
                                      <p:cBhvr>
                                        <p:cTn id="23" dur="500"/>
                                        <p:tgtEl>
                                          <p:spTgt spid="10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7" grpId="0" animBg="1"/>
      <p:bldP spid="8" grpId="0"/>
      <p:bldP spid="9" grpId="0" animBg="1"/>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13A63-F47F-42E6-BFC3-1EA3DFBBF2F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861981-F957-1BC2-D87A-528A5850BEDE}"/>
              </a:ext>
            </a:extLst>
          </p:cNvPr>
          <p:cNvSpPr>
            <a:spLocks noGrp="1"/>
          </p:cNvSpPr>
          <p:nvPr>
            <p:ph type="sldNum" sz="quarter" idx="12"/>
          </p:nvPr>
        </p:nvSpPr>
        <p:spPr/>
        <p:txBody>
          <a:bodyPr/>
          <a:lstStyle/>
          <a:p>
            <a:fld id="{393ADBA8-77A2-4533-9BC5-08370409A084}" type="slidenum">
              <a:rPr lang="en-US" noProof="0" smtClean="0"/>
              <a:pPr/>
              <a:t>26</a:t>
            </a:fld>
            <a:endParaRPr lang="en-US" noProof="0" dirty="0"/>
          </a:p>
        </p:txBody>
      </p:sp>
      <p:sp>
        <p:nvSpPr>
          <p:cNvPr id="4" name="Title 3">
            <a:extLst>
              <a:ext uri="{FF2B5EF4-FFF2-40B4-BE49-F238E27FC236}">
                <a16:creationId xmlns:a16="http://schemas.microsoft.com/office/drawing/2014/main" id="{2DA56726-7C0A-234F-D1B7-1353B5BEEBF2}"/>
              </a:ext>
            </a:extLst>
          </p:cNvPr>
          <p:cNvSpPr>
            <a:spLocks noGrp="1"/>
          </p:cNvSpPr>
          <p:nvPr>
            <p:ph type="title"/>
          </p:nvPr>
        </p:nvSpPr>
        <p:spPr>
          <a:xfrm>
            <a:off x="838200" y="343474"/>
            <a:ext cx="10515600" cy="1327754"/>
          </a:xfrm>
        </p:spPr>
        <p:txBody>
          <a:bodyPr>
            <a:normAutofit/>
          </a:bodyPr>
          <a:lstStyle/>
          <a:p>
            <a:r>
              <a:rPr lang="en-US" noProof="0" dirty="0"/>
              <a:t>Provide a first report on the blackout based on the PMU and alarm data.</a:t>
            </a:r>
          </a:p>
        </p:txBody>
      </p:sp>
      <p:sp>
        <p:nvSpPr>
          <p:cNvPr id="20" name="TextBox 19">
            <a:extLst>
              <a:ext uri="{FF2B5EF4-FFF2-40B4-BE49-F238E27FC236}">
                <a16:creationId xmlns:a16="http://schemas.microsoft.com/office/drawing/2014/main" id="{79C47FA8-B9ED-37AA-FAAB-3679BA2E7D31}"/>
              </a:ext>
            </a:extLst>
          </p:cNvPr>
          <p:cNvSpPr txBox="1"/>
          <p:nvPr/>
        </p:nvSpPr>
        <p:spPr>
          <a:xfrm>
            <a:off x="509442" y="5898973"/>
            <a:ext cx="10844356" cy="61555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b="1" noProof="0" dirty="0">
                <a:solidFill>
                  <a:srgbClr val="FF0000"/>
                </a:solidFill>
              </a:rPr>
              <a:t>Data for Training/Fine-Tuning:  </a:t>
            </a:r>
          </a:p>
          <a:p>
            <a:r>
              <a:rPr lang="en-US" sz="1700" noProof="0" dirty="0">
                <a:solidFill>
                  <a:schemeClr val="tx1"/>
                </a:solidFill>
              </a:rPr>
              <a:t>Existing PMU units spread to the Peninsula; Synthetic data generated through high-fidelity system models</a:t>
            </a:r>
            <a:r>
              <a:rPr lang="en-US" sz="1700" noProof="0" dirty="0">
                <a:solidFill>
                  <a:srgbClr val="FF0000"/>
                </a:solidFill>
              </a:rPr>
              <a:t>;</a:t>
            </a:r>
          </a:p>
        </p:txBody>
      </p:sp>
      <p:sp>
        <p:nvSpPr>
          <p:cNvPr id="2" name="Rectangle: Rounded Corners 1">
            <a:extLst>
              <a:ext uri="{FF2B5EF4-FFF2-40B4-BE49-F238E27FC236}">
                <a16:creationId xmlns:a16="http://schemas.microsoft.com/office/drawing/2014/main" id="{00BED2BF-2010-9DBA-6547-EB74DA219D52}"/>
              </a:ext>
            </a:extLst>
          </p:cNvPr>
          <p:cNvSpPr/>
          <p:nvPr/>
        </p:nvSpPr>
        <p:spPr>
          <a:xfrm>
            <a:off x="2832201" y="1933117"/>
            <a:ext cx="7111797" cy="738751"/>
          </a:xfrm>
          <a:prstGeom prst="roundRect">
            <a:avLst>
              <a:gd name="adj" fmla="val 35283"/>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en-US" sz="1700" noProof="0" dirty="0">
                <a:solidFill>
                  <a:schemeClr val="lt1"/>
                </a:solidFill>
              </a:rPr>
              <a:t> Understanding some of the specifics of the event that just took place can help the system operator have a first idea of what just happened.</a:t>
            </a:r>
          </a:p>
        </p:txBody>
      </p:sp>
      <p:sp>
        <p:nvSpPr>
          <p:cNvPr id="5" name="Rectangle: Rounded Corners 4">
            <a:extLst>
              <a:ext uri="{FF2B5EF4-FFF2-40B4-BE49-F238E27FC236}">
                <a16:creationId xmlns:a16="http://schemas.microsoft.com/office/drawing/2014/main" id="{8412C53B-500D-7DA9-9768-D8F18BDEBCD0}"/>
              </a:ext>
            </a:extLst>
          </p:cNvPr>
          <p:cNvSpPr/>
          <p:nvPr/>
        </p:nvSpPr>
        <p:spPr>
          <a:xfrm>
            <a:off x="7333056" y="4371576"/>
            <a:ext cx="3757789" cy="1189244"/>
          </a:xfrm>
          <a:prstGeom prst="roundRect">
            <a:avLst>
              <a:gd name="adj" fmla="val 11338"/>
            </a:avLst>
          </a:prstGeom>
        </p:spPr>
        <p:style>
          <a:lnRef idx="2">
            <a:schemeClr val="accent1"/>
          </a:lnRef>
          <a:fillRef idx="1">
            <a:schemeClr val="lt1"/>
          </a:fillRef>
          <a:effectRef idx="0">
            <a:schemeClr val="accent1"/>
          </a:effectRef>
          <a:fontRef idx="minor">
            <a:schemeClr val="dk1"/>
          </a:fontRef>
        </p:style>
        <p:txBody>
          <a:bodyPr rtlCol="0" anchor="ctr"/>
          <a:lstStyle/>
          <a:p>
            <a:endParaRPr lang="en-US" sz="1700" noProof="0" dirty="0"/>
          </a:p>
        </p:txBody>
      </p:sp>
      <p:sp>
        <p:nvSpPr>
          <p:cNvPr id="6" name="Rectangle: Rounded Corners 5">
            <a:extLst>
              <a:ext uri="{FF2B5EF4-FFF2-40B4-BE49-F238E27FC236}">
                <a16:creationId xmlns:a16="http://schemas.microsoft.com/office/drawing/2014/main" id="{99F9A945-6213-67B0-4D00-224E9D6A7A56}"/>
              </a:ext>
            </a:extLst>
          </p:cNvPr>
          <p:cNvSpPr/>
          <p:nvPr/>
        </p:nvSpPr>
        <p:spPr>
          <a:xfrm>
            <a:off x="838200" y="3144082"/>
            <a:ext cx="10742754" cy="663503"/>
          </a:xfrm>
          <a:prstGeom prst="roundRect">
            <a:avLst>
              <a:gd name="adj" fmla="val 17509"/>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noProof="0" dirty="0">
                <a:solidFill>
                  <a:srgbClr val="C00000"/>
                </a:solidFill>
              </a:rPr>
              <a:t>Problem: </a:t>
            </a:r>
            <a:r>
              <a:rPr lang="en-US" noProof="0" dirty="0"/>
              <a:t>Pinpointing root causes and gathering critical details often demands time and human resources.</a:t>
            </a:r>
            <a:endParaRPr lang="en-US" sz="1700" noProof="0" dirty="0"/>
          </a:p>
        </p:txBody>
      </p:sp>
      <p:sp>
        <p:nvSpPr>
          <p:cNvPr id="7" name="TextBox 6">
            <a:extLst>
              <a:ext uri="{FF2B5EF4-FFF2-40B4-BE49-F238E27FC236}">
                <a16:creationId xmlns:a16="http://schemas.microsoft.com/office/drawing/2014/main" id="{FA5B10ED-2209-2F16-BE18-14D244849606}"/>
              </a:ext>
            </a:extLst>
          </p:cNvPr>
          <p:cNvSpPr txBox="1"/>
          <p:nvPr/>
        </p:nvSpPr>
        <p:spPr>
          <a:xfrm>
            <a:off x="755000" y="3360033"/>
            <a:ext cx="184731" cy="369332"/>
          </a:xfrm>
          <a:prstGeom prst="rect">
            <a:avLst/>
          </a:prstGeom>
          <a:noFill/>
        </p:spPr>
        <p:txBody>
          <a:bodyPr wrap="none" rtlCol="0">
            <a:spAutoFit/>
          </a:bodyPr>
          <a:lstStyle/>
          <a:p>
            <a:endParaRPr lang="en-US" b="1" noProof="0" dirty="0">
              <a:solidFill>
                <a:srgbClr val="C00000"/>
              </a:solidFill>
            </a:endParaRPr>
          </a:p>
        </p:txBody>
      </p:sp>
      <p:pic>
        <p:nvPicPr>
          <p:cNvPr id="2050" name="Picture 2" descr="Large Language Models (LLMs) | TWIML">
            <a:extLst>
              <a:ext uri="{FF2B5EF4-FFF2-40B4-BE49-F238E27FC236}">
                <a16:creationId xmlns:a16="http://schemas.microsoft.com/office/drawing/2014/main" id="{75FD5CC5-6F98-7909-5B57-F9251FB6C8C2}"/>
              </a:ext>
            </a:extLst>
          </p:cNvPr>
          <p:cNvPicPr>
            <a:picLocks noChangeAspect="1" noChangeArrowheads="1"/>
          </p:cNvPicPr>
          <p:nvPr/>
        </p:nvPicPr>
        <p:blipFill>
          <a:blip r:embed="rId3">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9750175" y="4323002"/>
            <a:ext cx="1340670" cy="13406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LF AI &amp; Data Foundation Logos and Artwork - NNStreamer">
            <a:extLst>
              <a:ext uri="{FF2B5EF4-FFF2-40B4-BE49-F238E27FC236}">
                <a16:creationId xmlns:a16="http://schemas.microsoft.com/office/drawing/2014/main" id="{5AC2FC63-5A07-8C4F-3D83-4F84A4C98E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4724" y="4565670"/>
            <a:ext cx="769804" cy="769804"/>
          </a:xfrm>
          <a:prstGeom prst="rect">
            <a:avLst/>
          </a:prstGeom>
          <a:noFill/>
          <a:extLst>
            <a:ext uri="{909E8E84-426E-40DD-AFC4-6F175D3DCCD1}">
              <a14:hiddenFill xmlns:a14="http://schemas.microsoft.com/office/drawing/2010/main">
                <a:solidFill>
                  <a:srgbClr val="FFFFFF"/>
                </a:solidFill>
              </a14:hiddenFill>
            </a:ext>
          </a:extLst>
        </p:spPr>
      </p:pic>
      <p:sp>
        <p:nvSpPr>
          <p:cNvPr id="9" name="Cross 8">
            <a:extLst>
              <a:ext uri="{FF2B5EF4-FFF2-40B4-BE49-F238E27FC236}">
                <a16:creationId xmlns:a16="http://schemas.microsoft.com/office/drawing/2014/main" id="{FD24956F-86F6-6995-FBAA-BA09409B6912}"/>
              </a:ext>
            </a:extLst>
          </p:cNvPr>
          <p:cNvSpPr/>
          <p:nvPr/>
        </p:nvSpPr>
        <p:spPr>
          <a:xfrm>
            <a:off x="8882370" y="4665339"/>
            <a:ext cx="605920" cy="598265"/>
          </a:xfrm>
          <a:prstGeom prst="plus">
            <a:avLst>
              <a:gd name="adj" fmla="val 44143"/>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noProof="0" dirty="0"/>
          </a:p>
        </p:txBody>
      </p:sp>
      <p:sp>
        <p:nvSpPr>
          <p:cNvPr id="14" name="TextBox 13">
            <a:extLst>
              <a:ext uri="{FF2B5EF4-FFF2-40B4-BE49-F238E27FC236}">
                <a16:creationId xmlns:a16="http://schemas.microsoft.com/office/drawing/2014/main" id="{F5D9EBD9-9077-4A6F-53DE-C757A0CB6E27}"/>
              </a:ext>
            </a:extLst>
          </p:cNvPr>
          <p:cNvSpPr txBox="1"/>
          <p:nvPr/>
        </p:nvSpPr>
        <p:spPr>
          <a:xfrm>
            <a:off x="847365" y="4481978"/>
            <a:ext cx="5451835" cy="923330"/>
          </a:xfrm>
          <a:prstGeom prst="rect">
            <a:avLst/>
          </a:prstGeom>
          <a:noFill/>
        </p:spPr>
        <p:txBody>
          <a:bodyPr wrap="square" rtlCol="0">
            <a:spAutoFit/>
          </a:bodyPr>
          <a:lstStyle/>
          <a:p>
            <a:r>
              <a:rPr lang="en-US" noProof="0" dirty="0"/>
              <a:t>Combining a Foundational model fine-tuned for disturbance classification/location with a Power System Specific LLM  </a:t>
            </a:r>
          </a:p>
        </p:txBody>
      </p:sp>
    </p:spTree>
    <p:extLst>
      <p:ext uri="{BB962C8B-B14F-4D97-AF65-F5344CB8AC3E}">
        <p14:creationId xmlns:p14="http://schemas.microsoft.com/office/powerpoint/2010/main" val="2085261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0"/>
                                  </p:stCondLst>
                                  <p:childTnLst>
                                    <p:set>
                                      <p:cBhvr>
                                        <p:cTn id="23" dur="1" fill="hold">
                                          <p:stCondLst>
                                            <p:cond delay="0"/>
                                          </p:stCondLst>
                                        </p:cTn>
                                        <p:tgtEl>
                                          <p:spTgt spid="2050"/>
                                        </p:tgtEl>
                                        <p:attrNameLst>
                                          <p:attrName>style.visibility</p:attrName>
                                        </p:attrNameLst>
                                      </p:cBhvr>
                                      <p:to>
                                        <p:strVal val="visible"/>
                                      </p:to>
                                    </p:set>
                                    <p:animEffect transition="in" filter="fade">
                                      <p:cBhvr>
                                        <p:cTn id="24" dur="500"/>
                                        <p:tgtEl>
                                          <p:spTgt spid="205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animBg="1"/>
      <p:bldP spid="6" grpId="0" animBg="1"/>
      <p:bldP spid="9" grpId="0" animBg="1"/>
      <p:bldP spid="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E72E3-B516-307A-88A6-6789F872AC3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73B540-7929-7690-659C-611BB68F84A5}"/>
              </a:ext>
            </a:extLst>
          </p:cNvPr>
          <p:cNvSpPr>
            <a:spLocks noGrp="1"/>
          </p:cNvSpPr>
          <p:nvPr>
            <p:ph type="sldNum" sz="quarter" idx="12"/>
          </p:nvPr>
        </p:nvSpPr>
        <p:spPr/>
        <p:txBody>
          <a:bodyPr/>
          <a:lstStyle/>
          <a:p>
            <a:fld id="{393ADBA8-77A2-4533-9BC5-08370409A084}" type="slidenum">
              <a:rPr lang="en-US" noProof="0" smtClean="0"/>
              <a:pPr/>
              <a:t>27</a:t>
            </a:fld>
            <a:endParaRPr lang="en-US" noProof="0" dirty="0"/>
          </a:p>
        </p:txBody>
      </p:sp>
      <p:sp>
        <p:nvSpPr>
          <p:cNvPr id="4" name="Title 3">
            <a:extLst>
              <a:ext uri="{FF2B5EF4-FFF2-40B4-BE49-F238E27FC236}">
                <a16:creationId xmlns:a16="http://schemas.microsoft.com/office/drawing/2014/main" id="{609F74B7-41FE-C738-B022-65EB58D7F4B3}"/>
              </a:ext>
            </a:extLst>
          </p:cNvPr>
          <p:cNvSpPr>
            <a:spLocks noGrp="1"/>
          </p:cNvSpPr>
          <p:nvPr>
            <p:ph type="title"/>
          </p:nvPr>
        </p:nvSpPr>
        <p:spPr>
          <a:xfrm>
            <a:off x="1055370" y="733132"/>
            <a:ext cx="10515600" cy="1327754"/>
          </a:xfrm>
        </p:spPr>
        <p:txBody>
          <a:bodyPr>
            <a:normAutofit/>
          </a:bodyPr>
          <a:lstStyle/>
          <a:p>
            <a:r>
              <a:rPr lang="en-US" noProof="0" dirty="0"/>
              <a:t>Other opportunities for AI  </a:t>
            </a:r>
          </a:p>
        </p:txBody>
      </p:sp>
      <p:sp>
        <p:nvSpPr>
          <p:cNvPr id="6" name="Rectangle: Rounded Corners 5">
            <a:extLst>
              <a:ext uri="{FF2B5EF4-FFF2-40B4-BE49-F238E27FC236}">
                <a16:creationId xmlns:a16="http://schemas.microsoft.com/office/drawing/2014/main" id="{612E14BC-BB27-5F28-A582-F37447FAB076}"/>
              </a:ext>
            </a:extLst>
          </p:cNvPr>
          <p:cNvSpPr/>
          <p:nvPr/>
        </p:nvSpPr>
        <p:spPr>
          <a:xfrm>
            <a:off x="755000" y="2565974"/>
            <a:ext cx="5734050" cy="663503"/>
          </a:xfrm>
          <a:prstGeom prst="roundRect">
            <a:avLst>
              <a:gd name="adj" fmla="val 17509"/>
            </a:avLst>
          </a:prstGeom>
        </p:spPr>
        <p:style>
          <a:lnRef idx="2">
            <a:schemeClr val="accent1"/>
          </a:lnRef>
          <a:fillRef idx="1">
            <a:schemeClr val="lt1"/>
          </a:fillRef>
          <a:effectRef idx="0">
            <a:schemeClr val="accent1"/>
          </a:effectRef>
          <a:fontRef idx="minor">
            <a:schemeClr val="dk1"/>
          </a:fontRef>
        </p:style>
        <p:txBody>
          <a:bodyPr rtlCol="0" anchor="ctr"/>
          <a:lstStyle/>
          <a:p>
            <a:r>
              <a:rPr lang="en-US" noProof="0" dirty="0"/>
              <a:t>Support the Operators during the Black Start procedure.</a:t>
            </a:r>
            <a:endParaRPr lang="en-US" sz="1700" noProof="0" dirty="0"/>
          </a:p>
        </p:txBody>
      </p:sp>
      <p:sp>
        <p:nvSpPr>
          <p:cNvPr id="7" name="TextBox 6">
            <a:extLst>
              <a:ext uri="{FF2B5EF4-FFF2-40B4-BE49-F238E27FC236}">
                <a16:creationId xmlns:a16="http://schemas.microsoft.com/office/drawing/2014/main" id="{3616BA3B-DFC7-DADC-08F5-73FA76F8193C}"/>
              </a:ext>
            </a:extLst>
          </p:cNvPr>
          <p:cNvSpPr txBox="1"/>
          <p:nvPr/>
        </p:nvSpPr>
        <p:spPr>
          <a:xfrm>
            <a:off x="755000" y="3360033"/>
            <a:ext cx="184731" cy="369332"/>
          </a:xfrm>
          <a:prstGeom prst="rect">
            <a:avLst/>
          </a:prstGeom>
          <a:noFill/>
        </p:spPr>
        <p:txBody>
          <a:bodyPr wrap="none" rtlCol="0">
            <a:spAutoFit/>
          </a:bodyPr>
          <a:lstStyle/>
          <a:p>
            <a:endParaRPr lang="en-US" b="1" noProof="0" dirty="0">
              <a:solidFill>
                <a:srgbClr val="C00000"/>
              </a:solidFill>
            </a:endParaRPr>
          </a:p>
        </p:txBody>
      </p:sp>
      <p:sp>
        <p:nvSpPr>
          <p:cNvPr id="2" name="Rectangle: Rounded Corners 1">
            <a:extLst>
              <a:ext uri="{FF2B5EF4-FFF2-40B4-BE49-F238E27FC236}">
                <a16:creationId xmlns:a16="http://schemas.microsoft.com/office/drawing/2014/main" id="{CF7401D7-8AB5-6554-A902-C82711F89ADC}"/>
              </a:ext>
            </a:extLst>
          </p:cNvPr>
          <p:cNvSpPr/>
          <p:nvPr/>
        </p:nvSpPr>
        <p:spPr>
          <a:xfrm>
            <a:off x="7378776" y="2337036"/>
            <a:ext cx="3757789" cy="1189244"/>
          </a:xfrm>
          <a:prstGeom prst="roundRect">
            <a:avLst>
              <a:gd name="adj" fmla="val 11338"/>
            </a:avLst>
          </a:prstGeom>
        </p:spPr>
        <p:style>
          <a:lnRef idx="2">
            <a:schemeClr val="accent1"/>
          </a:lnRef>
          <a:fillRef idx="1">
            <a:schemeClr val="lt1"/>
          </a:fillRef>
          <a:effectRef idx="0">
            <a:schemeClr val="accent1"/>
          </a:effectRef>
          <a:fontRef idx="minor">
            <a:schemeClr val="dk1"/>
          </a:fontRef>
        </p:style>
        <p:txBody>
          <a:bodyPr rtlCol="0" anchor="ctr"/>
          <a:lstStyle/>
          <a:p>
            <a:endParaRPr lang="en-US" sz="1700" noProof="0" dirty="0"/>
          </a:p>
        </p:txBody>
      </p:sp>
      <p:pic>
        <p:nvPicPr>
          <p:cNvPr id="5" name="Picture 2" descr="Large Language Models (LLMs) | TWIML">
            <a:extLst>
              <a:ext uri="{FF2B5EF4-FFF2-40B4-BE49-F238E27FC236}">
                <a16:creationId xmlns:a16="http://schemas.microsoft.com/office/drawing/2014/main" id="{EDCDF827-62ED-F3AD-0FB4-82A7F0B8250E}"/>
              </a:ext>
            </a:extLst>
          </p:cNvPr>
          <p:cNvPicPr>
            <a:picLocks noChangeAspect="1" noChangeArrowheads="1"/>
          </p:cNvPicPr>
          <p:nvPr/>
        </p:nvPicPr>
        <p:blipFill>
          <a:blip r:embed="rId3">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9795895" y="2288462"/>
            <a:ext cx="1340670" cy="1340670"/>
          </a:xfrm>
          <a:prstGeom prst="rect">
            <a:avLst/>
          </a:prstGeom>
          <a:noFill/>
          <a:extLst>
            <a:ext uri="{909E8E84-426E-40DD-AFC4-6F175D3DCCD1}">
              <a14:hiddenFill xmlns:a14="http://schemas.microsoft.com/office/drawing/2010/main">
                <a:solidFill>
                  <a:srgbClr val="FFFFFF"/>
                </a:solidFill>
              </a14:hiddenFill>
            </a:ext>
          </a:extLst>
        </p:spPr>
      </p:pic>
      <p:sp>
        <p:nvSpPr>
          <p:cNvPr id="9" name="Cross 8">
            <a:extLst>
              <a:ext uri="{FF2B5EF4-FFF2-40B4-BE49-F238E27FC236}">
                <a16:creationId xmlns:a16="http://schemas.microsoft.com/office/drawing/2014/main" id="{885A7E52-1F3A-92A5-91A8-6FDEB93E2BC4}"/>
              </a:ext>
            </a:extLst>
          </p:cNvPr>
          <p:cNvSpPr/>
          <p:nvPr/>
        </p:nvSpPr>
        <p:spPr>
          <a:xfrm>
            <a:off x="8928090" y="2630799"/>
            <a:ext cx="605920" cy="598265"/>
          </a:xfrm>
          <a:prstGeom prst="plus">
            <a:avLst>
              <a:gd name="adj" fmla="val 44143"/>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noProof="0" dirty="0"/>
          </a:p>
        </p:txBody>
      </p:sp>
      <p:pic>
        <p:nvPicPr>
          <p:cNvPr id="13" name="Picture 12" descr="A paper with check marks and a gear&#10;&#10;AI-generated content may be incorrect.">
            <a:extLst>
              <a:ext uri="{FF2B5EF4-FFF2-40B4-BE49-F238E27FC236}">
                <a16:creationId xmlns:a16="http://schemas.microsoft.com/office/drawing/2014/main" id="{9C8B7B23-06C4-FA8D-AFB8-9A0A8724D3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30242" y="2565974"/>
            <a:ext cx="657093" cy="657093"/>
          </a:xfrm>
          <a:prstGeom prst="rect">
            <a:avLst/>
          </a:prstGeom>
        </p:spPr>
      </p:pic>
      <p:sp>
        <p:nvSpPr>
          <p:cNvPr id="15" name="Rectangle: Rounded Corners 14">
            <a:extLst>
              <a:ext uri="{FF2B5EF4-FFF2-40B4-BE49-F238E27FC236}">
                <a16:creationId xmlns:a16="http://schemas.microsoft.com/office/drawing/2014/main" id="{FB94E9D3-4BC8-45B2-C7D0-AC8336E1493D}"/>
              </a:ext>
            </a:extLst>
          </p:cNvPr>
          <p:cNvSpPr/>
          <p:nvPr/>
        </p:nvSpPr>
        <p:spPr>
          <a:xfrm>
            <a:off x="755000" y="4444304"/>
            <a:ext cx="5734050" cy="663503"/>
          </a:xfrm>
          <a:prstGeom prst="roundRect">
            <a:avLst>
              <a:gd name="adj" fmla="val 17509"/>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700" noProof="0" dirty="0"/>
              <a:t>Forecasting Damping associated with common Oscillatory modes  </a:t>
            </a:r>
          </a:p>
        </p:txBody>
      </p:sp>
      <p:sp>
        <p:nvSpPr>
          <p:cNvPr id="16" name="Rectangle: Rounded Corners 15">
            <a:extLst>
              <a:ext uri="{FF2B5EF4-FFF2-40B4-BE49-F238E27FC236}">
                <a16:creationId xmlns:a16="http://schemas.microsoft.com/office/drawing/2014/main" id="{9D2C8AFA-BF59-25DA-AD29-163BA84D293B}"/>
              </a:ext>
            </a:extLst>
          </p:cNvPr>
          <p:cNvSpPr/>
          <p:nvPr/>
        </p:nvSpPr>
        <p:spPr>
          <a:xfrm>
            <a:off x="7319448" y="4181433"/>
            <a:ext cx="3757789" cy="1189244"/>
          </a:xfrm>
          <a:prstGeom prst="roundRect">
            <a:avLst>
              <a:gd name="adj" fmla="val 11338"/>
            </a:avLst>
          </a:prstGeom>
        </p:spPr>
        <p:style>
          <a:lnRef idx="2">
            <a:schemeClr val="accent1"/>
          </a:lnRef>
          <a:fillRef idx="1">
            <a:schemeClr val="lt1"/>
          </a:fillRef>
          <a:effectRef idx="0">
            <a:schemeClr val="accent1"/>
          </a:effectRef>
          <a:fontRef idx="minor">
            <a:schemeClr val="dk1"/>
          </a:fontRef>
        </p:style>
        <p:txBody>
          <a:bodyPr rtlCol="0" anchor="ctr"/>
          <a:lstStyle/>
          <a:p>
            <a:endParaRPr lang="en-US" sz="1700" noProof="0" dirty="0"/>
          </a:p>
        </p:txBody>
      </p:sp>
      <p:sp>
        <p:nvSpPr>
          <p:cNvPr id="17" name="Oval 16">
            <a:extLst>
              <a:ext uri="{FF2B5EF4-FFF2-40B4-BE49-F238E27FC236}">
                <a16:creationId xmlns:a16="http://schemas.microsoft.com/office/drawing/2014/main" id="{06B87D4E-BA2B-9BAA-B5CD-A2F42D1C2575}"/>
              </a:ext>
            </a:extLst>
          </p:cNvPr>
          <p:cNvSpPr/>
          <p:nvPr/>
        </p:nvSpPr>
        <p:spPr>
          <a:xfrm>
            <a:off x="7624845" y="4476922"/>
            <a:ext cx="997848" cy="581527"/>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noProof="0" dirty="0"/>
              <a:t>PMU</a:t>
            </a:r>
          </a:p>
        </p:txBody>
      </p:sp>
      <p:sp>
        <p:nvSpPr>
          <p:cNvPr id="18" name="Cross 17">
            <a:extLst>
              <a:ext uri="{FF2B5EF4-FFF2-40B4-BE49-F238E27FC236}">
                <a16:creationId xmlns:a16="http://schemas.microsoft.com/office/drawing/2014/main" id="{4A4C90CD-99AC-A82F-B245-F28F38FDF302}"/>
              </a:ext>
            </a:extLst>
          </p:cNvPr>
          <p:cNvSpPr/>
          <p:nvPr/>
        </p:nvSpPr>
        <p:spPr>
          <a:xfrm>
            <a:off x="8928090" y="4476922"/>
            <a:ext cx="605920" cy="598265"/>
          </a:xfrm>
          <a:prstGeom prst="plus">
            <a:avLst>
              <a:gd name="adj" fmla="val 44143"/>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noProof="0" dirty="0"/>
          </a:p>
        </p:txBody>
      </p:sp>
      <p:pic>
        <p:nvPicPr>
          <p:cNvPr id="20" name="Graphic 19" descr="Database with solid fill">
            <a:extLst>
              <a:ext uri="{FF2B5EF4-FFF2-40B4-BE49-F238E27FC236}">
                <a16:creationId xmlns:a16="http://schemas.microsoft.com/office/drawing/2014/main" id="{6E2654A8-646C-74EB-D6EF-C0879B0C53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56242" y="4357622"/>
            <a:ext cx="750185" cy="750185"/>
          </a:xfrm>
          <a:prstGeom prst="rect">
            <a:avLst/>
          </a:prstGeom>
        </p:spPr>
      </p:pic>
    </p:spTree>
    <p:extLst>
      <p:ext uri="{BB962C8B-B14F-4D97-AF65-F5344CB8AC3E}">
        <p14:creationId xmlns:p14="http://schemas.microsoft.com/office/powerpoint/2010/main" val="26418133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9888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53FF7-D787-58C7-C853-411DA6B3EC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26C107-2902-4479-CC5C-4ABD55DC5469}"/>
              </a:ext>
            </a:extLst>
          </p:cNvPr>
          <p:cNvSpPr>
            <a:spLocks noGrp="1"/>
          </p:cNvSpPr>
          <p:nvPr>
            <p:ph type="title"/>
          </p:nvPr>
        </p:nvSpPr>
        <p:spPr>
          <a:xfrm>
            <a:off x="838201" y="1524000"/>
            <a:ext cx="9642986" cy="1668087"/>
          </a:xfrm>
        </p:spPr>
        <p:txBody>
          <a:bodyPr>
            <a:normAutofit/>
          </a:bodyPr>
          <a:lstStyle/>
          <a:p>
            <a:r>
              <a:rPr lang="pt-BR" sz="4400" dirty="0"/>
              <a:t>O que acha? </a:t>
            </a:r>
            <a:br>
              <a:rPr lang="pt-BR" sz="4400" dirty="0"/>
            </a:br>
            <a:r>
              <a:rPr lang="pt-BR" sz="4400" b="1" dirty="0"/>
              <a:t>Envie-nos o seu feedback!</a:t>
            </a:r>
            <a:endParaRPr lang="en-NL" sz="4400" b="1" dirty="0"/>
          </a:p>
        </p:txBody>
      </p:sp>
      <p:sp>
        <p:nvSpPr>
          <p:cNvPr id="3" name="Text Placeholder 2">
            <a:extLst>
              <a:ext uri="{FF2B5EF4-FFF2-40B4-BE49-F238E27FC236}">
                <a16:creationId xmlns:a16="http://schemas.microsoft.com/office/drawing/2014/main" id="{B8FE14FB-D761-13D6-E380-ECF76277813C}"/>
              </a:ext>
            </a:extLst>
          </p:cNvPr>
          <p:cNvSpPr>
            <a:spLocks noGrp="1"/>
          </p:cNvSpPr>
          <p:nvPr>
            <p:ph type="body" idx="1"/>
          </p:nvPr>
        </p:nvSpPr>
        <p:spPr/>
        <p:txBody>
          <a:bodyPr/>
          <a:lstStyle/>
          <a:p>
            <a:r>
              <a:rPr lang="pt-BR" dirty="0"/>
              <a:t>Isso ajuda-nos a melhorar ainda mais os webinars da Every1. Obrigado.</a:t>
            </a:r>
          </a:p>
          <a:p>
            <a:endParaRPr lang="pt-BR" sz="1800" dirty="0"/>
          </a:p>
          <a:p>
            <a:r>
              <a:rPr lang="pt-BR" sz="1800" dirty="0"/>
              <a:t>Aceda ao inquérito de 3 a 5 minutos:</a:t>
            </a:r>
          </a:p>
          <a:p>
            <a:r>
              <a:rPr lang="pt-PT" u="sng" dirty="0">
                <a:solidFill>
                  <a:schemeClr val="accent2"/>
                </a:solidFill>
                <a:hlinkClick r:id="rId2" tooltip="https://ec.europa.eu/eusurvey/runner/Every1WebinarPortuguese">
                  <a:extLst>
                    <a:ext uri="{A12FA001-AC4F-418D-AE19-62706E023703}">
                      <ahyp:hlinkClr xmlns:ahyp="http://schemas.microsoft.com/office/drawing/2018/hyperlinkcolor" val="tx"/>
                    </a:ext>
                  </a:extLst>
                </a:hlinkClick>
              </a:rPr>
              <a:t>https://ec.europa.eu/eusurvey/runner/Every1WebinarPortuguese</a:t>
            </a:r>
            <a:r>
              <a:rPr lang="pt-PT" u="sng" dirty="0">
                <a:solidFill>
                  <a:schemeClr val="accent2"/>
                </a:solidFill>
              </a:rPr>
              <a:t> </a:t>
            </a:r>
            <a:endParaRPr lang="fr-FR" sz="1800" dirty="0">
              <a:solidFill>
                <a:schemeClr val="accent2"/>
              </a:solidFill>
            </a:endParaRPr>
          </a:p>
        </p:txBody>
      </p:sp>
    </p:spTree>
    <p:extLst>
      <p:ext uri="{BB962C8B-B14F-4D97-AF65-F5344CB8AC3E}">
        <p14:creationId xmlns:p14="http://schemas.microsoft.com/office/powerpoint/2010/main" val="280104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84E4446-FE72-09FE-4D10-B63A05255291}"/>
              </a:ext>
            </a:extLst>
          </p:cNvPr>
          <p:cNvGrpSpPr/>
          <p:nvPr/>
        </p:nvGrpSpPr>
        <p:grpSpPr>
          <a:xfrm>
            <a:off x="5609305" y="2718"/>
            <a:ext cx="6582694" cy="6554115"/>
            <a:chOff x="5609306" y="90658"/>
            <a:chExt cx="6582694" cy="6554115"/>
          </a:xfrm>
        </p:grpSpPr>
        <p:sp>
          <p:nvSpPr>
            <p:cNvPr id="16" name="AutoShape 2">
              <a:extLst>
                <a:ext uri="{FF2B5EF4-FFF2-40B4-BE49-F238E27FC236}">
                  <a16:creationId xmlns:a16="http://schemas.microsoft.com/office/drawing/2014/main" id="{D22D6E98-E67B-36E6-8C6C-6CF2943F2508}"/>
                </a:ext>
              </a:extLst>
            </p:cNvPr>
            <p:cNvSpPr>
              <a:spLocks noChangeAspect="1" noChangeArrowheads="1"/>
            </p:cNvSpPr>
            <p:nvPr/>
          </p:nvSpPr>
          <p:spPr bwMode="auto">
            <a:xfrm>
              <a:off x="5943600" y="25951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pic>
          <p:nvPicPr>
            <p:cNvPr id="17" name="Picture 16" descr="A map of france with different colored areas&#10;&#10;AI-generated content may be incorrect.">
              <a:extLst>
                <a:ext uri="{FF2B5EF4-FFF2-40B4-BE49-F238E27FC236}">
                  <a16:creationId xmlns:a16="http://schemas.microsoft.com/office/drawing/2014/main" id="{13B6F604-C9E4-F276-DA4D-280473A5E687}"/>
                </a:ext>
              </a:extLst>
            </p:cNvPr>
            <p:cNvPicPr>
              <a:picLocks noChangeAspect="1"/>
            </p:cNvPicPr>
            <p:nvPr/>
          </p:nvPicPr>
          <p:blipFill>
            <a:blip r:embed="rId2"/>
            <a:stretch>
              <a:fillRect/>
            </a:stretch>
          </p:blipFill>
          <p:spPr>
            <a:xfrm>
              <a:off x="5609306" y="90658"/>
              <a:ext cx="6582694" cy="6554115"/>
            </a:xfrm>
            <a:prstGeom prst="rect">
              <a:avLst/>
            </a:prstGeom>
          </p:spPr>
        </p:pic>
        <p:pic>
          <p:nvPicPr>
            <p:cNvPr id="18" name="Picture 17" descr="A person wearing a hard hat&#10;&#10;AI-generated content may be incorrect.">
              <a:extLst>
                <a:ext uri="{FF2B5EF4-FFF2-40B4-BE49-F238E27FC236}">
                  <a16:creationId xmlns:a16="http://schemas.microsoft.com/office/drawing/2014/main" id="{711C69B4-8CA0-CF80-419B-B82E1B7E91A7}"/>
                </a:ext>
              </a:extLst>
            </p:cNvPr>
            <p:cNvPicPr>
              <a:picLocks noChangeAspect="1"/>
            </p:cNvPicPr>
            <p:nvPr/>
          </p:nvPicPr>
          <p:blipFill>
            <a:blip r:embed="rId3"/>
            <a:stretch>
              <a:fillRect/>
            </a:stretch>
          </p:blipFill>
          <p:spPr>
            <a:xfrm>
              <a:off x="5828828" y="407782"/>
              <a:ext cx="2319166" cy="1784482"/>
            </a:xfrm>
            <a:prstGeom prst="rect">
              <a:avLst/>
            </a:prstGeom>
          </p:spPr>
        </p:pic>
        <p:pic>
          <p:nvPicPr>
            <p:cNvPr id="19" name="Picture 18" descr="A screenshot of a phone&#10;&#10;AI-generated content may be incorrect.">
              <a:extLst>
                <a:ext uri="{FF2B5EF4-FFF2-40B4-BE49-F238E27FC236}">
                  <a16:creationId xmlns:a16="http://schemas.microsoft.com/office/drawing/2014/main" id="{308B0A94-1EF9-284D-602D-AD7E9E8BC274}"/>
                </a:ext>
              </a:extLst>
            </p:cNvPr>
            <p:cNvPicPr>
              <a:picLocks noChangeAspect="1"/>
            </p:cNvPicPr>
            <p:nvPr/>
          </p:nvPicPr>
          <p:blipFill>
            <a:blip r:embed="rId4"/>
            <a:stretch>
              <a:fillRect/>
            </a:stretch>
          </p:blipFill>
          <p:spPr>
            <a:xfrm>
              <a:off x="8987789" y="4381501"/>
              <a:ext cx="3054987" cy="1101422"/>
            </a:xfrm>
            <a:prstGeom prst="rect">
              <a:avLst/>
            </a:prstGeom>
          </p:spPr>
        </p:pic>
        <p:cxnSp>
          <p:nvCxnSpPr>
            <p:cNvPr id="20" name="Straight Arrow Connector 19">
              <a:extLst>
                <a:ext uri="{FF2B5EF4-FFF2-40B4-BE49-F238E27FC236}">
                  <a16:creationId xmlns:a16="http://schemas.microsoft.com/office/drawing/2014/main" id="{3871EF70-3027-96FF-1F98-099182F109C6}"/>
                </a:ext>
              </a:extLst>
            </p:cNvPr>
            <p:cNvCxnSpPr>
              <a:cxnSpLocks/>
            </p:cNvCxnSpPr>
            <p:nvPr/>
          </p:nvCxnSpPr>
          <p:spPr>
            <a:xfrm>
              <a:off x="8782050" y="3557732"/>
              <a:ext cx="1638300" cy="757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540557E-85FF-A97E-A9F5-2B9736A519E6}"/>
                </a:ext>
              </a:extLst>
            </p:cNvPr>
            <p:cNvCxnSpPr/>
            <p:nvPr/>
          </p:nvCxnSpPr>
          <p:spPr>
            <a:xfrm flipH="1" flipV="1">
              <a:off x="6800850" y="2305050"/>
              <a:ext cx="657225" cy="141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401BC13-7A2D-78CC-2EE7-32F35670B7A0}"/>
              </a:ext>
            </a:extLst>
          </p:cNvPr>
          <p:cNvSpPr>
            <a:spLocks noGrp="1"/>
          </p:cNvSpPr>
          <p:nvPr>
            <p:ph type="sldNum" sz="quarter" idx="12"/>
          </p:nvPr>
        </p:nvSpPr>
        <p:spPr/>
        <p:txBody>
          <a:bodyPr/>
          <a:lstStyle/>
          <a:p>
            <a:fld id="{393ADBA8-77A2-4533-9BC5-08370409A084}" type="slidenum">
              <a:rPr lang="en-US" noProof="0" smtClean="0"/>
              <a:pPr/>
              <a:t>3</a:t>
            </a:fld>
            <a:endParaRPr lang="en-US" noProof="0" dirty="0"/>
          </a:p>
        </p:txBody>
      </p:sp>
      <p:sp>
        <p:nvSpPr>
          <p:cNvPr id="14" name="Text Placeholder 15">
            <a:extLst>
              <a:ext uri="{FF2B5EF4-FFF2-40B4-BE49-F238E27FC236}">
                <a16:creationId xmlns:a16="http://schemas.microsoft.com/office/drawing/2014/main" id="{1911E3FC-144E-CC3F-8A22-4FCF82BF977B}"/>
              </a:ext>
            </a:extLst>
          </p:cNvPr>
          <p:cNvSpPr txBox="1">
            <a:spLocks/>
          </p:cNvSpPr>
          <p:nvPr/>
        </p:nvSpPr>
        <p:spPr bwMode="auto">
          <a:xfrm>
            <a:off x="838200" y="333376"/>
            <a:ext cx="4501551" cy="589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fontAlgn="base">
              <a:lnSpc>
                <a:spcPct val="100000"/>
              </a:lnSpc>
              <a:spcBef>
                <a:spcPts val="0"/>
              </a:spcBef>
              <a:spcAft>
                <a:spcPts val="600"/>
              </a:spcAft>
              <a:buFont typeface="Arial" panose="020B0604020202020204" pitchFamily="34" charset="0"/>
              <a:buNone/>
              <a:defRPr lang="en-US" sz="1650" b="0" i="0" kern="1200">
                <a:solidFill>
                  <a:schemeClr val="tx1"/>
                </a:solidFill>
                <a:latin typeface="Aptos Light" panose="020B0004020202020204" pitchFamily="34" charset="0"/>
                <a:ea typeface="Aptos Light" panose="020B0004020202020204" pitchFamily="34" charset="0"/>
                <a:cs typeface="JetBrains Mono" panose="02000009000000000000" pitchFamily="49" charset="0"/>
              </a:defRPr>
            </a:lvl1pPr>
            <a:lvl2pPr marL="457200" indent="0" algn="l" rtl="0" fontAlgn="base">
              <a:lnSpc>
                <a:spcPct val="90000"/>
              </a:lnSpc>
              <a:spcBef>
                <a:spcPts val="500"/>
              </a:spcBef>
              <a:spcAft>
                <a:spcPts val="600"/>
              </a:spcAft>
              <a:buFont typeface="Arial" panose="020B0604020202020204" pitchFamily="34" charset="0"/>
              <a:buNone/>
              <a:defRPr lang="en-US" sz="14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2pPr>
            <a:lvl3pPr marL="914400" indent="0" algn="l" rtl="0" fontAlgn="base">
              <a:lnSpc>
                <a:spcPct val="90000"/>
              </a:lnSpc>
              <a:spcBef>
                <a:spcPts val="500"/>
              </a:spcBef>
              <a:spcAft>
                <a:spcPts val="600"/>
              </a:spcAft>
              <a:buFont typeface="Arial" panose="020B0604020202020204" pitchFamily="34" charset="0"/>
              <a:buNone/>
              <a:defRPr lang="en-US" sz="12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3pPr>
            <a:lvl4pPr marL="1371600" indent="0" algn="l" rtl="0" fontAlgn="base">
              <a:lnSpc>
                <a:spcPct val="90000"/>
              </a:lnSpc>
              <a:spcBef>
                <a:spcPts val="500"/>
              </a:spcBef>
              <a:spcAft>
                <a:spcPts val="600"/>
              </a:spcAft>
              <a:buFont typeface="Arial" panose="020B0604020202020204" pitchFamily="34" charset="0"/>
              <a:buNone/>
              <a:defRPr lang="en-US" sz="11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4pPr>
            <a:lvl5pPr marL="1828800" indent="0" algn="l" rtl="0" fontAlgn="base">
              <a:lnSpc>
                <a:spcPct val="90000"/>
              </a:lnSpc>
              <a:spcBef>
                <a:spcPts val="500"/>
              </a:spcBef>
              <a:spcAft>
                <a:spcPts val="600"/>
              </a:spcAft>
              <a:buFont typeface="Arial" panose="020B0604020202020204" pitchFamily="34" charset="0"/>
              <a:buNone/>
              <a:defRPr lang="en-US" sz="1000" b="0" i="0" kern="1200">
                <a:solidFill>
                  <a:schemeClr val="tx1"/>
                </a:solidFill>
                <a:latin typeface="Aptos" panose="020B0004020202020204" pitchFamily="34" charset="0"/>
                <a:ea typeface="JetBrains Mono" panose="02000009000000000000" pitchFamily="49" charset="0"/>
                <a:cs typeface="JetBrains Mono" panose="02000009000000000000" pitchFamily="49"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endParaRPr lang="en-US" noProof="0" dirty="0"/>
          </a:p>
          <a:p>
            <a:pPr eaLnBrk="1" hangingPunct="1"/>
            <a:r>
              <a:rPr lang="en-US" noProof="0" dirty="0"/>
              <a:t>On </a:t>
            </a:r>
            <a:r>
              <a:rPr lang="en-US" b="1" noProof="0" dirty="0"/>
              <a:t>28 April</a:t>
            </a:r>
            <a:r>
              <a:rPr lang="en-US" noProof="0" dirty="0"/>
              <a:t>, at </a:t>
            </a:r>
            <a:r>
              <a:rPr lang="en-US" b="1" noProof="0" dirty="0"/>
              <a:t>12:33 CEST</a:t>
            </a:r>
            <a:r>
              <a:rPr lang="en-US" noProof="0" dirty="0"/>
              <a:t>, the Iberian power system experienced a blackout. </a:t>
            </a:r>
          </a:p>
          <a:p>
            <a:pPr eaLnBrk="1" hangingPunct="1"/>
            <a:endParaRPr lang="en-US" noProof="0" dirty="0"/>
          </a:p>
          <a:p>
            <a:pPr eaLnBrk="1" hangingPunct="1"/>
            <a:r>
              <a:rPr lang="en-US" noProof="0" dirty="0"/>
              <a:t>Transmission system restoration completed by:</a:t>
            </a:r>
          </a:p>
          <a:p>
            <a:pPr marL="742950" lvl="1" indent="-285750" eaLnBrk="1" hangingPunct="1">
              <a:buFont typeface="Arial" panose="020B0604020202020204" pitchFamily="34" charset="0"/>
              <a:buChar char="•"/>
            </a:pPr>
            <a:r>
              <a:rPr lang="en-US" sz="1600" noProof="0" dirty="0">
                <a:latin typeface="Aptos Light" panose="020B0004020202020204" pitchFamily="34" charset="0"/>
              </a:rPr>
              <a:t>00:22 on 29 April in </a:t>
            </a:r>
            <a:r>
              <a:rPr lang="en-US" sz="1600" b="1" noProof="0" dirty="0">
                <a:latin typeface="Aptos Light" panose="020B0004020202020204" pitchFamily="34" charset="0"/>
              </a:rPr>
              <a:t>Portugal</a:t>
            </a:r>
          </a:p>
          <a:p>
            <a:pPr marL="742950" lvl="1" indent="-285750" eaLnBrk="1" hangingPunct="1">
              <a:buFont typeface="Arial" panose="020B0604020202020204" pitchFamily="34" charset="0"/>
              <a:buChar char="•"/>
            </a:pPr>
            <a:r>
              <a:rPr lang="en-US" sz="1600" noProof="0" dirty="0">
                <a:latin typeface="Aptos Light" panose="020B0004020202020204" pitchFamily="34" charset="0"/>
              </a:rPr>
              <a:t>04:00 on 29 April in </a:t>
            </a:r>
            <a:r>
              <a:rPr lang="en-US" sz="1600" b="1" noProof="0" dirty="0">
                <a:latin typeface="Aptos Light" panose="020B0004020202020204" pitchFamily="34" charset="0"/>
              </a:rPr>
              <a:t>Spain</a:t>
            </a:r>
          </a:p>
        </p:txBody>
      </p:sp>
      <p:sp>
        <p:nvSpPr>
          <p:cNvPr id="22" name="TextBox 21">
            <a:extLst>
              <a:ext uri="{FF2B5EF4-FFF2-40B4-BE49-F238E27FC236}">
                <a16:creationId xmlns:a16="http://schemas.microsoft.com/office/drawing/2014/main" id="{1763E447-B88C-F246-069C-C283F2326D58}"/>
              </a:ext>
            </a:extLst>
          </p:cNvPr>
          <p:cNvSpPr txBox="1"/>
          <p:nvPr/>
        </p:nvSpPr>
        <p:spPr>
          <a:xfrm>
            <a:off x="110436" y="3477220"/>
            <a:ext cx="5339751" cy="1200329"/>
          </a:xfrm>
          <a:prstGeom prst="rect">
            <a:avLst/>
          </a:prstGeom>
          <a:noFill/>
        </p:spPr>
        <p:txBody>
          <a:bodyPr wrap="square">
            <a:spAutoFit/>
          </a:bodyPr>
          <a:lstStyle/>
          <a:p>
            <a:pPr algn="ctr"/>
            <a:r>
              <a:rPr lang="en-US" sz="2400" i="1" noProof="0" dirty="0">
                <a:latin typeface="Aptos Light" panose="020B0004020202020204" pitchFamily="34" charset="0"/>
              </a:rPr>
              <a:t>“This blackout was the most serious incident to occur on the European power system in over 20 years …”</a:t>
            </a:r>
          </a:p>
        </p:txBody>
      </p:sp>
      <p:sp>
        <p:nvSpPr>
          <p:cNvPr id="23" name="TextBox 22">
            <a:extLst>
              <a:ext uri="{FF2B5EF4-FFF2-40B4-BE49-F238E27FC236}">
                <a16:creationId xmlns:a16="http://schemas.microsoft.com/office/drawing/2014/main" id="{C06B4D45-B0A5-8AA7-8BCE-25B736AD6E77}"/>
              </a:ext>
            </a:extLst>
          </p:cNvPr>
          <p:cNvSpPr txBox="1"/>
          <p:nvPr/>
        </p:nvSpPr>
        <p:spPr>
          <a:xfrm>
            <a:off x="0" y="6653645"/>
            <a:ext cx="5857694" cy="230832"/>
          </a:xfrm>
          <a:prstGeom prst="rect">
            <a:avLst/>
          </a:prstGeom>
          <a:noFill/>
        </p:spPr>
        <p:txBody>
          <a:bodyPr wrap="none" rtlCol="0">
            <a:spAutoFit/>
          </a:bodyPr>
          <a:lstStyle/>
          <a:p>
            <a:r>
              <a:rPr lang="en-US" sz="900" noProof="0" dirty="0">
                <a:latin typeface="Aptos Light3"/>
              </a:rPr>
              <a:t>Image from ENTSO-E blackout webpage (</a:t>
            </a:r>
            <a:r>
              <a:rPr lang="en-US" sz="900" noProof="0" dirty="0">
                <a:solidFill>
                  <a:srgbClr val="026599"/>
                </a:solidFill>
                <a:latin typeface="Aptos Light3"/>
                <a:hlinkClick r:id="rId5">
                  <a:extLst>
                    <a:ext uri="{A12FA001-AC4F-418D-AE19-62706E023703}">
                      <ahyp:hlinkClr xmlns:ahyp="http://schemas.microsoft.com/office/drawing/2018/hyperlinkcolor" val="tx"/>
                    </a:ext>
                  </a:extLst>
                </a:hlinkClick>
              </a:rPr>
              <a:t>https://www.entsoe.eu/publications/blackout/28-april-2025-iberian-blackout/</a:t>
            </a:r>
            <a:r>
              <a:rPr lang="en-US" sz="900" noProof="0" dirty="0">
                <a:solidFill>
                  <a:srgbClr val="026599"/>
                </a:solidFill>
                <a:latin typeface="Aptos Light3"/>
              </a:rPr>
              <a:t> </a:t>
            </a:r>
            <a:r>
              <a:rPr lang="en-US" sz="900" noProof="0" dirty="0">
                <a:latin typeface="Aptos Light3"/>
              </a:rPr>
              <a:t>)</a:t>
            </a:r>
          </a:p>
        </p:txBody>
      </p:sp>
    </p:spTree>
    <p:extLst>
      <p:ext uri="{BB962C8B-B14F-4D97-AF65-F5344CB8AC3E}">
        <p14:creationId xmlns:p14="http://schemas.microsoft.com/office/powerpoint/2010/main" val="1707030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8FC769B-A0C8-1E82-ABE0-83AD42164AC8}"/>
              </a:ext>
            </a:extLst>
          </p:cNvPr>
          <p:cNvSpPr>
            <a:spLocks noGrp="1"/>
          </p:cNvSpPr>
          <p:nvPr>
            <p:ph type="sldNum" sz="quarter" idx="12"/>
          </p:nvPr>
        </p:nvSpPr>
        <p:spPr/>
        <p:txBody>
          <a:bodyPr/>
          <a:lstStyle/>
          <a:p>
            <a:fld id="{393ADBA8-77A2-4533-9BC5-08370409A084}" type="slidenum">
              <a:rPr lang="en-US" noProof="0" smtClean="0"/>
              <a:pPr/>
              <a:t>4</a:t>
            </a:fld>
            <a:endParaRPr lang="en-US" noProof="0" dirty="0"/>
          </a:p>
        </p:txBody>
      </p:sp>
      <p:grpSp>
        <p:nvGrpSpPr>
          <p:cNvPr id="62" name="Group 61">
            <a:extLst>
              <a:ext uri="{FF2B5EF4-FFF2-40B4-BE49-F238E27FC236}">
                <a16:creationId xmlns:a16="http://schemas.microsoft.com/office/drawing/2014/main" id="{44A03917-30E2-4972-C16A-70BA67C12455}"/>
              </a:ext>
            </a:extLst>
          </p:cNvPr>
          <p:cNvGrpSpPr/>
          <p:nvPr/>
        </p:nvGrpSpPr>
        <p:grpSpPr>
          <a:xfrm>
            <a:off x="860512" y="374491"/>
            <a:ext cx="10719999" cy="5032742"/>
            <a:chOff x="838198" y="785302"/>
            <a:chExt cx="10719999" cy="5032742"/>
          </a:xfrm>
        </p:grpSpPr>
        <p:grpSp>
          <p:nvGrpSpPr>
            <p:cNvPr id="41" name="Group 40">
              <a:extLst>
                <a:ext uri="{FF2B5EF4-FFF2-40B4-BE49-F238E27FC236}">
                  <a16:creationId xmlns:a16="http://schemas.microsoft.com/office/drawing/2014/main" id="{9C313B4C-C48F-CDC3-69B2-C0FB6DB82616}"/>
                </a:ext>
              </a:extLst>
            </p:cNvPr>
            <p:cNvGrpSpPr/>
            <p:nvPr/>
          </p:nvGrpSpPr>
          <p:grpSpPr>
            <a:xfrm rot="10800000">
              <a:off x="7284539" y="1473886"/>
              <a:ext cx="297180" cy="1997676"/>
              <a:chOff x="3465653" y="3089734"/>
              <a:chExt cx="297180" cy="1997676"/>
            </a:xfrm>
          </p:grpSpPr>
          <p:cxnSp>
            <p:nvCxnSpPr>
              <p:cNvPr id="42" name="Straight Connector 41">
                <a:extLst>
                  <a:ext uri="{FF2B5EF4-FFF2-40B4-BE49-F238E27FC236}">
                    <a16:creationId xmlns:a16="http://schemas.microsoft.com/office/drawing/2014/main" id="{D9534720-69CC-A31D-DD94-82535E97958B}"/>
                  </a:ext>
                </a:extLst>
              </p:cNvPr>
              <p:cNvCxnSpPr>
                <a:cxnSpLocks/>
              </p:cNvCxnSpPr>
              <p:nvPr/>
            </p:nvCxnSpPr>
            <p:spPr>
              <a:xfrm rot="10800000" flipV="1">
                <a:off x="3621863" y="3089734"/>
                <a:ext cx="1219" cy="183409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529D81C-8736-DF8B-5CCE-5C746ABD9FCB}"/>
                  </a:ext>
                </a:extLst>
              </p:cNvPr>
              <p:cNvSpPr/>
              <p:nvPr/>
            </p:nvSpPr>
            <p:spPr>
              <a:xfrm>
                <a:off x="3465653" y="4896910"/>
                <a:ext cx="297180" cy="190500"/>
              </a:xfrm>
              <a:prstGeom prst="rect">
                <a:avLst/>
              </a:prstGeom>
              <a:solidFill>
                <a:schemeClr val="bg1"/>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6" name="Group 35">
              <a:extLst>
                <a:ext uri="{FF2B5EF4-FFF2-40B4-BE49-F238E27FC236}">
                  <a16:creationId xmlns:a16="http://schemas.microsoft.com/office/drawing/2014/main" id="{6E47612A-E4CA-1F03-6F1E-3C9E87F976E3}"/>
                </a:ext>
              </a:extLst>
            </p:cNvPr>
            <p:cNvGrpSpPr/>
            <p:nvPr/>
          </p:nvGrpSpPr>
          <p:grpSpPr>
            <a:xfrm rot="10800000">
              <a:off x="3474401" y="1473886"/>
              <a:ext cx="297180" cy="1997676"/>
              <a:chOff x="3465653" y="3089734"/>
              <a:chExt cx="297180" cy="1997676"/>
            </a:xfrm>
          </p:grpSpPr>
          <p:cxnSp>
            <p:nvCxnSpPr>
              <p:cNvPr id="34" name="Straight Connector 33">
                <a:extLst>
                  <a:ext uri="{FF2B5EF4-FFF2-40B4-BE49-F238E27FC236}">
                    <a16:creationId xmlns:a16="http://schemas.microsoft.com/office/drawing/2014/main" id="{7464EE8F-CE96-B005-7362-E522452C1BCB}"/>
                  </a:ext>
                </a:extLst>
              </p:cNvPr>
              <p:cNvCxnSpPr>
                <a:cxnSpLocks/>
              </p:cNvCxnSpPr>
              <p:nvPr/>
            </p:nvCxnSpPr>
            <p:spPr>
              <a:xfrm rot="10800000" flipV="1">
                <a:off x="3621863" y="3089734"/>
                <a:ext cx="1219" cy="183409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B1A577D2-26C5-AB3E-68F5-4451DDDB9F85}"/>
                  </a:ext>
                </a:extLst>
              </p:cNvPr>
              <p:cNvSpPr/>
              <p:nvPr/>
            </p:nvSpPr>
            <p:spPr>
              <a:xfrm>
                <a:off x="3465653" y="4896910"/>
                <a:ext cx="297180" cy="190500"/>
              </a:xfrm>
              <a:prstGeom prst="rect">
                <a:avLst/>
              </a:prstGeom>
              <a:solidFill>
                <a:schemeClr val="bg1"/>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cxnSp>
          <p:nvCxnSpPr>
            <p:cNvPr id="32" name="Straight Connector 31">
              <a:extLst>
                <a:ext uri="{FF2B5EF4-FFF2-40B4-BE49-F238E27FC236}">
                  <a16:creationId xmlns:a16="http://schemas.microsoft.com/office/drawing/2014/main" id="{76944E98-CB60-11AC-0C7F-0B45542CF484}"/>
                </a:ext>
              </a:extLst>
            </p:cNvPr>
            <p:cNvCxnSpPr/>
            <p:nvPr/>
          </p:nvCxnSpPr>
          <p:spPr>
            <a:xfrm>
              <a:off x="10518205" y="1240824"/>
              <a:ext cx="0" cy="24638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050D27B-36DC-D474-838C-7CF923094337}"/>
                </a:ext>
              </a:extLst>
            </p:cNvPr>
            <p:cNvSpPr/>
            <p:nvPr/>
          </p:nvSpPr>
          <p:spPr>
            <a:xfrm>
              <a:off x="10361995" y="3677710"/>
              <a:ext cx="297180" cy="190500"/>
            </a:xfrm>
            <a:prstGeom prst="rect">
              <a:avLst/>
            </a:prstGeom>
            <a:solidFill>
              <a:schemeClr val="bg1"/>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30" name="Straight Connector 29">
              <a:extLst>
                <a:ext uri="{FF2B5EF4-FFF2-40B4-BE49-F238E27FC236}">
                  <a16:creationId xmlns:a16="http://schemas.microsoft.com/office/drawing/2014/main" id="{535B8966-6E54-E79C-EA5A-DF649339CD6D}"/>
                </a:ext>
              </a:extLst>
            </p:cNvPr>
            <p:cNvCxnSpPr/>
            <p:nvPr/>
          </p:nvCxnSpPr>
          <p:spPr>
            <a:xfrm>
              <a:off x="5523862" y="1240824"/>
              <a:ext cx="0" cy="24638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6FC505A2-503F-5A35-5031-FD182EC2B4A9}"/>
                </a:ext>
              </a:extLst>
            </p:cNvPr>
            <p:cNvSpPr/>
            <p:nvPr/>
          </p:nvSpPr>
          <p:spPr>
            <a:xfrm>
              <a:off x="5367652" y="3677710"/>
              <a:ext cx="297180" cy="190500"/>
            </a:xfrm>
            <a:prstGeom prst="rect">
              <a:avLst/>
            </a:prstGeom>
            <a:solidFill>
              <a:schemeClr val="bg1"/>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28" name="Straight Connector 27">
              <a:extLst>
                <a:ext uri="{FF2B5EF4-FFF2-40B4-BE49-F238E27FC236}">
                  <a16:creationId xmlns:a16="http://schemas.microsoft.com/office/drawing/2014/main" id="{5E1C8E67-45C8-FFD7-8CC8-DC8EAC3FFE7E}"/>
                </a:ext>
              </a:extLst>
            </p:cNvPr>
            <p:cNvCxnSpPr/>
            <p:nvPr/>
          </p:nvCxnSpPr>
          <p:spPr>
            <a:xfrm>
              <a:off x="1722120" y="1240824"/>
              <a:ext cx="0" cy="24638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1B839356-78EA-2F5B-0EAE-9B2731ADCC5A}"/>
                </a:ext>
              </a:extLst>
            </p:cNvPr>
            <p:cNvSpPr/>
            <p:nvPr/>
          </p:nvSpPr>
          <p:spPr>
            <a:xfrm>
              <a:off x="1565910" y="3677710"/>
              <a:ext cx="297180" cy="190500"/>
            </a:xfrm>
            <a:prstGeom prst="rect">
              <a:avLst/>
            </a:prstGeom>
            <a:solidFill>
              <a:schemeClr val="bg1"/>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Rectangle: Rounded Corners 4">
              <a:extLst>
                <a:ext uri="{FF2B5EF4-FFF2-40B4-BE49-F238E27FC236}">
                  <a16:creationId xmlns:a16="http://schemas.microsoft.com/office/drawing/2014/main" id="{9E0FBC5D-BA60-1C0C-082D-CA1F0AF39CD8}"/>
                </a:ext>
              </a:extLst>
            </p:cNvPr>
            <p:cNvSpPr/>
            <p:nvPr/>
          </p:nvSpPr>
          <p:spPr>
            <a:xfrm>
              <a:off x="838198" y="2386642"/>
              <a:ext cx="7805470" cy="194094"/>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Oval 16">
              <a:extLst>
                <a:ext uri="{FF2B5EF4-FFF2-40B4-BE49-F238E27FC236}">
                  <a16:creationId xmlns:a16="http://schemas.microsoft.com/office/drawing/2014/main" id="{06DF4488-8A40-BDCC-A043-F8FF1ED4EADB}"/>
                </a:ext>
              </a:extLst>
            </p:cNvPr>
            <p:cNvSpPr/>
            <p:nvPr/>
          </p:nvSpPr>
          <p:spPr>
            <a:xfrm>
              <a:off x="1293965" y="2002766"/>
              <a:ext cx="844669" cy="844669"/>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Oval 5">
              <a:extLst>
                <a:ext uri="{FF2B5EF4-FFF2-40B4-BE49-F238E27FC236}">
                  <a16:creationId xmlns:a16="http://schemas.microsoft.com/office/drawing/2014/main" id="{33DA543A-8B2B-EEC3-4272-2DC0BB76E500}"/>
                </a:ext>
              </a:extLst>
            </p:cNvPr>
            <p:cNvSpPr/>
            <p:nvPr/>
          </p:nvSpPr>
          <p:spPr>
            <a:xfrm>
              <a:off x="1345721" y="2063240"/>
              <a:ext cx="741872" cy="74187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Oval 7">
              <a:extLst>
                <a:ext uri="{FF2B5EF4-FFF2-40B4-BE49-F238E27FC236}">
                  <a16:creationId xmlns:a16="http://schemas.microsoft.com/office/drawing/2014/main" id="{05C3EE8A-CD5B-6450-9177-E8A34ABB286D}"/>
                </a:ext>
              </a:extLst>
            </p:cNvPr>
            <p:cNvSpPr/>
            <p:nvPr/>
          </p:nvSpPr>
          <p:spPr>
            <a:xfrm>
              <a:off x="3244970" y="2114910"/>
              <a:ext cx="741872" cy="74187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Oval 9">
              <a:extLst>
                <a:ext uri="{FF2B5EF4-FFF2-40B4-BE49-F238E27FC236}">
                  <a16:creationId xmlns:a16="http://schemas.microsoft.com/office/drawing/2014/main" id="{6F119377-9D27-00BE-2A46-9FB396D3099E}"/>
                </a:ext>
              </a:extLst>
            </p:cNvPr>
            <p:cNvSpPr/>
            <p:nvPr/>
          </p:nvSpPr>
          <p:spPr>
            <a:xfrm>
              <a:off x="5144219" y="2112753"/>
              <a:ext cx="741872" cy="74187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Oval 10">
              <a:extLst>
                <a:ext uri="{FF2B5EF4-FFF2-40B4-BE49-F238E27FC236}">
                  <a16:creationId xmlns:a16="http://schemas.microsoft.com/office/drawing/2014/main" id="{E7576E9C-EA7D-3AAB-94EB-B77A003958F1}"/>
                </a:ext>
              </a:extLst>
            </p:cNvPr>
            <p:cNvSpPr/>
            <p:nvPr/>
          </p:nvSpPr>
          <p:spPr>
            <a:xfrm>
              <a:off x="7043468" y="2112753"/>
              <a:ext cx="741872" cy="74187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Oval 11">
              <a:extLst>
                <a:ext uri="{FF2B5EF4-FFF2-40B4-BE49-F238E27FC236}">
                  <a16:creationId xmlns:a16="http://schemas.microsoft.com/office/drawing/2014/main" id="{FCE00186-DE54-5E47-0F72-1DEE36B4667C}"/>
                </a:ext>
              </a:extLst>
            </p:cNvPr>
            <p:cNvSpPr/>
            <p:nvPr/>
          </p:nvSpPr>
          <p:spPr>
            <a:xfrm>
              <a:off x="8729932" y="2386642"/>
              <a:ext cx="198408" cy="198408"/>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Oval 12">
              <a:extLst>
                <a:ext uri="{FF2B5EF4-FFF2-40B4-BE49-F238E27FC236}">
                  <a16:creationId xmlns:a16="http://schemas.microsoft.com/office/drawing/2014/main" id="{0331E97C-9DD8-5A8F-D2D3-98EDF0E2E218}"/>
                </a:ext>
              </a:extLst>
            </p:cNvPr>
            <p:cNvSpPr/>
            <p:nvPr/>
          </p:nvSpPr>
          <p:spPr>
            <a:xfrm>
              <a:off x="9123152" y="2382328"/>
              <a:ext cx="198408" cy="198408"/>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Oval 13">
              <a:extLst>
                <a:ext uri="{FF2B5EF4-FFF2-40B4-BE49-F238E27FC236}">
                  <a16:creationId xmlns:a16="http://schemas.microsoft.com/office/drawing/2014/main" id="{A4D83EDE-5875-ADB2-E9BD-78982A26F5C8}"/>
                </a:ext>
              </a:extLst>
            </p:cNvPr>
            <p:cNvSpPr/>
            <p:nvPr/>
          </p:nvSpPr>
          <p:spPr>
            <a:xfrm>
              <a:off x="9516372" y="2386642"/>
              <a:ext cx="198408" cy="198408"/>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Rectangle: Rounded Corners 15">
              <a:extLst>
                <a:ext uri="{FF2B5EF4-FFF2-40B4-BE49-F238E27FC236}">
                  <a16:creationId xmlns:a16="http://schemas.microsoft.com/office/drawing/2014/main" id="{072E899B-95B0-95E3-8C78-CE2F24B8FA4A}"/>
                </a:ext>
              </a:extLst>
            </p:cNvPr>
            <p:cNvSpPr/>
            <p:nvPr/>
          </p:nvSpPr>
          <p:spPr>
            <a:xfrm>
              <a:off x="9801044" y="2406052"/>
              <a:ext cx="1584000" cy="194094"/>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Oval 8">
              <a:extLst>
                <a:ext uri="{FF2B5EF4-FFF2-40B4-BE49-F238E27FC236}">
                  <a16:creationId xmlns:a16="http://schemas.microsoft.com/office/drawing/2014/main" id="{A619D6DB-70C1-55CE-746F-50AB3DD13A4A}"/>
                </a:ext>
              </a:extLst>
            </p:cNvPr>
            <p:cNvSpPr/>
            <p:nvPr/>
          </p:nvSpPr>
          <p:spPr>
            <a:xfrm>
              <a:off x="10138911" y="2114910"/>
              <a:ext cx="741872" cy="74187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Oval 17">
              <a:extLst>
                <a:ext uri="{FF2B5EF4-FFF2-40B4-BE49-F238E27FC236}">
                  <a16:creationId xmlns:a16="http://schemas.microsoft.com/office/drawing/2014/main" id="{A2826EF6-7A52-0225-33A3-20E9FDAD901E}"/>
                </a:ext>
              </a:extLst>
            </p:cNvPr>
            <p:cNvSpPr/>
            <p:nvPr/>
          </p:nvSpPr>
          <p:spPr>
            <a:xfrm>
              <a:off x="3193571" y="2050390"/>
              <a:ext cx="844669" cy="844669"/>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Oval 18">
              <a:extLst>
                <a:ext uri="{FF2B5EF4-FFF2-40B4-BE49-F238E27FC236}">
                  <a16:creationId xmlns:a16="http://schemas.microsoft.com/office/drawing/2014/main" id="{56F22D74-8B2A-2460-6294-1063788BC7F4}"/>
                </a:ext>
              </a:extLst>
            </p:cNvPr>
            <p:cNvSpPr/>
            <p:nvPr/>
          </p:nvSpPr>
          <p:spPr>
            <a:xfrm>
              <a:off x="5092820" y="2059197"/>
              <a:ext cx="844669" cy="844669"/>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Oval 19">
              <a:extLst>
                <a:ext uri="{FF2B5EF4-FFF2-40B4-BE49-F238E27FC236}">
                  <a16:creationId xmlns:a16="http://schemas.microsoft.com/office/drawing/2014/main" id="{306E615A-84DC-3A01-510E-856B27113D23}"/>
                </a:ext>
              </a:extLst>
            </p:cNvPr>
            <p:cNvSpPr/>
            <p:nvPr/>
          </p:nvSpPr>
          <p:spPr>
            <a:xfrm>
              <a:off x="6990633" y="2063240"/>
              <a:ext cx="844669" cy="844669"/>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Oval 20">
              <a:extLst>
                <a:ext uri="{FF2B5EF4-FFF2-40B4-BE49-F238E27FC236}">
                  <a16:creationId xmlns:a16="http://schemas.microsoft.com/office/drawing/2014/main" id="{A09796CA-1331-76A9-48EB-D92B6824935E}"/>
                </a:ext>
              </a:extLst>
            </p:cNvPr>
            <p:cNvSpPr/>
            <p:nvPr/>
          </p:nvSpPr>
          <p:spPr>
            <a:xfrm>
              <a:off x="10082124" y="2059197"/>
              <a:ext cx="844669" cy="844669"/>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Oval 21">
              <a:extLst>
                <a:ext uri="{FF2B5EF4-FFF2-40B4-BE49-F238E27FC236}">
                  <a16:creationId xmlns:a16="http://schemas.microsoft.com/office/drawing/2014/main" id="{0159E63A-4B0D-9C1A-68A1-28A397A24A6C}"/>
                </a:ext>
              </a:extLst>
            </p:cNvPr>
            <p:cNvSpPr/>
            <p:nvPr/>
          </p:nvSpPr>
          <p:spPr>
            <a:xfrm>
              <a:off x="1395099" y="2103900"/>
              <a:ext cx="642399" cy="6423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noProof="0" dirty="0">
                  <a:solidFill>
                    <a:schemeClr val="accent1"/>
                  </a:solidFill>
                </a:rPr>
                <a:t>01</a:t>
              </a:r>
              <a:endParaRPr lang="en-US" b="1" noProof="0" dirty="0">
                <a:solidFill>
                  <a:schemeClr val="accent1"/>
                </a:solidFill>
              </a:endParaRPr>
            </a:p>
          </p:txBody>
        </p:sp>
        <p:sp>
          <p:nvSpPr>
            <p:cNvPr id="23" name="Oval 22">
              <a:extLst>
                <a:ext uri="{FF2B5EF4-FFF2-40B4-BE49-F238E27FC236}">
                  <a16:creationId xmlns:a16="http://schemas.microsoft.com/office/drawing/2014/main" id="{9D5C3F92-E993-43D0-5C8D-B1D4D81929FB}"/>
                </a:ext>
              </a:extLst>
            </p:cNvPr>
            <p:cNvSpPr/>
            <p:nvPr/>
          </p:nvSpPr>
          <p:spPr>
            <a:xfrm>
              <a:off x="3292418" y="2171699"/>
              <a:ext cx="642399" cy="6423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noProof="0" dirty="0">
                  <a:solidFill>
                    <a:schemeClr val="accent1"/>
                  </a:solidFill>
                </a:rPr>
                <a:t>02</a:t>
              </a:r>
              <a:endParaRPr lang="en-US" noProof="0" dirty="0"/>
            </a:p>
          </p:txBody>
        </p:sp>
        <p:sp>
          <p:nvSpPr>
            <p:cNvPr id="24" name="Oval 23">
              <a:extLst>
                <a:ext uri="{FF2B5EF4-FFF2-40B4-BE49-F238E27FC236}">
                  <a16:creationId xmlns:a16="http://schemas.microsoft.com/office/drawing/2014/main" id="{47C4E7EE-294A-62C0-73E6-8EFCDEEDFB8D}"/>
                </a:ext>
              </a:extLst>
            </p:cNvPr>
            <p:cNvSpPr/>
            <p:nvPr/>
          </p:nvSpPr>
          <p:spPr>
            <a:xfrm>
              <a:off x="5193954" y="2171698"/>
              <a:ext cx="642399" cy="6423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noProof="0" dirty="0">
                  <a:solidFill>
                    <a:schemeClr val="accent1"/>
                  </a:solidFill>
                </a:rPr>
                <a:t>03</a:t>
              </a:r>
              <a:endParaRPr lang="en-US" noProof="0" dirty="0"/>
            </a:p>
          </p:txBody>
        </p:sp>
        <p:sp>
          <p:nvSpPr>
            <p:cNvPr id="25" name="Oval 24">
              <a:extLst>
                <a:ext uri="{FF2B5EF4-FFF2-40B4-BE49-F238E27FC236}">
                  <a16:creationId xmlns:a16="http://schemas.microsoft.com/office/drawing/2014/main" id="{022053EE-360D-33DE-0B4D-62DF7BD06822}"/>
                </a:ext>
              </a:extLst>
            </p:cNvPr>
            <p:cNvSpPr/>
            <p:nvPr/>
          </p:nvSpPr>
          <p:spPr>
            <a:xfrm>
              <a:off x="7086327" y="2171159"/>
              <a:ext cx="642399" cy="6423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noProof="0" dirty="0">
                  <a:solidFill>
                    <a:schemeClr val="accent1"/>
                  </a:solidFill>
                </a:rPr>
                <a:t>04</a:t>
              </a:r>
              <a:endParaRPr lang="en-US" noProof="0" dirty="0"/>
            </a:p>
          </p:txBody>
        </p:sp>
        <p:sp>
          <p:nvSpPr>
            <p:cNvPr id="26" name="Oval 25">
              <a:extLst>
                <a:ext uri="{FF2B5EF4-FFF2-40B4-BE49-F238E27FC236}">
                  <a16:creationId xmlns:a16="http://schemas.microsoft.com/office/drawing/2014/main" id="{20819537-CFAF-438A-B00C-753F62AE6005}"/>
                </a:ext>
              </a:extLst>
            </p:cNvPr>
            <p:cNvSpPr/>
            <p:nvPr/>
          </p:nvSpPr>
          <p:spPr>
            <a:xfrm>
              <a:off x="10194264" y="2170980"/>
              <a:ext cx="642399" cy="6423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noProof="0" dirty="0">
                  <a:solidFill>
                    <a:schemeClr val="accent1"/>
                  </a:solidFill>
                </a:rPr>
                <a:t>05</a:t>
              </a:r>
              <a:endParaRPr lang="en-US" noProof="0" dirty="0"/>
            </a:p>
          </p:txBody>
        </p:sp>
        <p:sp>
          <p:nvSpPr>
            <p:cNvPr id="45" name="TextBox 44">
              <a:extLst>
                <a:ext uri="{FF2B5EF4-FFF2-40B4-BE49-F238E27FC236}">
                  <a16:creationId xmlns:a16="http://schemas.microsoft.com/office/drawing/2014/main" id="{EB3361B1-11A0-6A29-B575-5F46F8F08880}"/>
                </a:ext>
              </a:extLst>
            </p:cNvPr>
            <p:cNvSpPr txBox="1"/>
            <p:nvPr/>
          </p:nvSpPr>
          <p:spPr>
            <a:xfrm>
              <a:off x="1240739" y="896973"/>
              <a:ext cx="1344346" cy="338554"/>
            </a:xfrm>
            <a:prstGeom prst="rect">
              <a:avLst/>
            </a:prstGeom>
            <a:noFill/>
          </p:spPr>
          <p:txBody>
            <a:bodyPr wrap="square">
              <a:spAutoFit/>
            </a:bodyPr>
            <a:lstStyle/>
            <a:p>
              <a:r>
                <a:rPr lang="en-US" sz="1600" noProof="0" dirty="0">
                  <a:solidFill>
                    <a:schemeClr val="accent1"/>
                  </a:solidFill>
                  <a:latin typeface="Aptos Light" panose="020B0004020202020204" pitchFamily="34" charset="0"/>
                </a:rPr>
                <a:t>16 June</a:t>
              </a:r>
            </a:p>
          </p:txBody>
        </p:sp>
        <p:sp>
          <p:nvSpPr>
            <p:cNvPr id="46" name="TextBox 45">
              <a:extLst>
                <a:ext uri="{FF2B5EF4-FFF2-40B4-BE49-F238E27FC236}">
                  <a16:creationId xmlns:a16="http://schemas.microsoft.com/office/drawing/2014/main" id="{0FDEF01E-BDBF-7B74-CB6D-B3A59E32C6CA}"/>
                </a:ext>
              </a:extLst>
            </p:cNvPr>
            <p:cNvSpPr txBox="1"/>
            <p:nvPr/>
          </p:nvSpPr>
          <p:spPr>
            <a:xfrm>
              <a:off x="3143223" y="3430689"/>
              <a:ext cx="1344346" cy="338554"/>
            </a:xfrm>
            <a:prstGeom prst="rect">
              <a:avLst/>
            </a:prstGeom>
            <a:noFill/>
          </p:spPr>
          <p:txBody>
            <a:bodyPr wrap="square">
              <a:spAutoFit/>
            </a:bodyPr>
            <a:lstStyle/>
            <a:p>
              <a:r>
                <a:rPr lang="en-US" sz="1600" noProof="0" dirty="0">
                  <a:solidFill>
                    <a:schemeClr val="accent1"/>
                  </a:solidFill>
                  <a:latin typeface="Aptos Light" panose="020B0004020202020204" pitchFamily="34" charset="0"/>
                </a:rPr>
                <a:t>18 June</a:t>
              </a:r>
            </a:p>
          </p:txBody>
        </p:sp>
        <p:sp>
          <p:nvSpPr>
            <p:cNvPr id="47" name="TextBox 46">
              <a:extLst>
                <a:ext uri="{FF2B5EF4-FFF2-40B4-BE49-F238E27FC236}">
                  <a16:creationId xmlns:a16="http://schemas.microsoft.com/office/drawing/2014/main" id="{342568A4-79F1-63F4-DD5C-37E644E66E8B}"/>
                </a:ext>
              </a:extLst>
            </p:cNvPr>
            <p:cNvSpPr txBox="1"/>
            <p:nvPr/>
          </p:nvSpPr>
          <p:spPr>
            <a:xfrm>
              <a:off x="4828723" y="788965"/>
              <a:ext cx="1344346" cy="523220"/>
            </a:xfrm>
            <a:prstGeom prst="rect">
              <a:avLst/>
            </a:prstGeom>
            <a:noFill/>
          </p:spPr>
          <p:txBody>
            <a:bodyPr wrap="square">
              <a:spAutoFit/>
            </a:bodyPr>
            <a:lstStyle/>
            <a:p>
              <a:r>
                <a:rPr lang="en-US" sz="2800" b="1" noProof="0" dirty="0">
                  <a:solidFill>
                    <a:schemeClr val="accent1"/>
                  </a:solidFill>
                  <a:latin typeface="Aptos Light" panose="020B0004020202020204" pitchFamily="34" charset="0"/>
                </a:rPr>
                <a:t>30 June</a:t>
              </a:r>
            </a:p>
          </p:txBody>
        </p:sp>
        <p:sp>
          <p:nvSpPr>
            <p:cNvPr id="48" name="TextBox 47">
              <a:extLst>
                <a:ext uri="{FF2B5EF4-FFF2-40B4-BE49-F238E27FC236}">
                  <a16:creationId xmlns:a16="http://schemas.microsoft.com/office/drawing/2014/main" id="{7503CD94-6B75-6D4F-9F22-9F25E139A77E}"/>
                </a:ext>
              </a:extLst>
            </p:cNvPr>
            <p:cNvSpPr txBox="1"/>
            <p:nvPr/>
          </p:nvSpPr>
          <p:spPr>
            <a:xfrm>
              <a:off x="6925735" y="3433029"/>
              <a:ext cx="1741103" cy="338554"/>
            </a:xfrm>
            <a:prstGeom prst="rect">
              <a:avLst/>
            </a:prstGeom>
            <a:noFill/>
          </p:spPr>
          <p:txBody>
            <a:bodyPr wrap="square">
              <a:spAutoFit/>
            </a:bodyPr>
            <a:lstStyle/>
            <a:p>
              <a:r>
                <a:rPr lang="en-US" sz="1600" noProof="0" dirty="0">
                  <a:solidFill>
                    <a:schemeClr val="accent1"/>
                  </a:solidFill>
                  <a:latin typeface="Aptos Light" panose="020B0004020202020204" pitchFamily="34" charset="0"/>
                </a:rPr>
                <a:t>3 October</a:t>
              </a:r>
            </a:p>
          </p:txBody>
        </p:sp>
        <p:sp>
          <p:nvSpPr>
            <p:cNvPr id="51" name="TextBox 50">
              <a:extLst>
                <a:ext uri="{FF2B5EF4-FFF2-40B4-BE49-F238E27FC236}">
                  <a16:creationId xmlns:a16="http://schemas.microsoft.com/office/drawing/2014/main" id="{C89927A5-0F13-B791-FBE2-0421D81A4245}"/>
                </a:ext>
              </a:extLst>
            </p:cNvPr>
            <p:cNvSpPr txBox="1"/>
            <p:nvPr/>
          </p:nvSpPr>
          <p:spPr>
            <a:xfrm>
              <a:off x="10010230" y="902273"/>
              <a:ext cx="1547967" cy="338554"/>
            </a:xfrm>
            <a:prstGeom prst="rect">
              <a:avLst/>
            </a:prstGeom>
            <a:noFill/>
          </p:spPr>
          <p:txBody>
            <a:bodyPr wrap="square">
              <a:spAutoFit/>
            </a:bodyPr>
            <a:lstStyle/>
            <a:p>
              <a:r>
                <a:rPr lang="en-US" sz="1600" noProof="0" dirty="0">
                  <a:solidFill>
                    <a:schemeClr val="accent1"/>
                  </a:solidFill>
                  <a:latin typeface="Aptos Light" panose="020B0004020202020204" pitchFamily="34" charset="0"/>
                </a:rPr>
                <a:t>Q1 2026</a:t>
              </a:r>
            </a:p>
          </p:txBody>
        </p:sp>
        <p:pic>
          <p:nvPicPr>
            <p:cNvPr id="2054" name="Picture 6" descr="Red Eléctrica - Solarplaza Network">
              <a:extLst>
                <a:ext uri="{FF2B5EF4-FFF2-40B4-BE49-F238E27FC236}">
                  <a16:creationId xmlns:a16="http://schemas.microsoft.com/office/drawing/2014/main" id="{B08C24B8-6BF3-C363-CE10-9C707C79E7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4814" y="785302"/>
              <a:ext cx="1547967" cy="92878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Gobierno de España » vectorlogo.es">
              <a:extLst>
                <a:ext uri="{FF2B5EF4-FFF2-40B4-BE49-F238E27FC236}">
                  <a16:creationId xmlns:a16="http://schemas.microsoft.com/office/drawing/2014/main" id="{3C6C75B2-AB52-EE48-9394-4EA031435D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2327" y="3919567"/>
              <a:ext cx="1344346" cy="68284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INESC TEC">
              <a:extLst>
                <a:ext uri="{FF2B5EF4-FFF2-40B4-BE49-F238E27FC236}">
                  <a16:creationId xmlns:a16="http://schemas.microsoft.com/office/drawing/2014/main" id="{4A2F48C1-D411-A3A6-E311-E0AC09C544C0}"/>
                </a:ext>
              </a:extLst>
            </p:cNvPr>
            <p:cNvPicPr>
              <a:picLocks noChangeAspect="1"/>
            </p:cNvPicPr>
            <p:nvPr/>
          </p:nvPicPr>
          <p:blipFill rotWithShape="1">
            <a:blip r:embed="rId4">
              <a:extLst>
                <a:ext uri="{28A0092B-C50C-407E-A947-70E740481C1C}">
                  <a14:useLocalDpi xmlns:a14="http://schemas.microsoft.com/office/drawing/2010/main" val="0"/>
                </a:ext>
              </a:extLst>
            </a:blip>
            <a:srcRect t="16898" b="23480"/>
            <a:stretch/>
          </p:blipFill>
          <p:spPr bwMode="auto">
            <a:xfrm>
              <a:off x="4369443" y="4807216"/>
              <a:ext cx="2276412" cy="396748"/>
            </a:xfrm>
            <a:prstGeom prst="rect">
              <a:avLst/>
            </a:prstGeom>
            <a:noFill/>
            <a:ln>
              <a:noFill/>
            </a:ln>
            <a:extLst>
              <a:ext uri="{53640926-AAD7-44D8-BBD7-CCE9431645EC}">
                <a14:shadowObscured xmlns:a14="http://schemas.microsoft.com/office/drawing/2010/main"/>
              </a:ext>
            </a:extLst>
          </p:spPr>
        </p:pic>
        <p:pic>
          <p:nvPicPr>
            <p:cNvPr id="2058" name="Picture 10" descr="Inicio - aelec">
              <a:extLst>
                <a:ext uri="{FF2B5EF4-FFF2-40B4-BE49-F238E27FC236}">
                  <a16:creationId xmlns:a16="http://schemas.microsoft.com/office/drawing/2014/main" id="{370627C4-EF6B-6AC8-2ED2-41A013C9C3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6906" y="3929082"/>
              <a:ext cx="2863218" cy="79223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Compass Lexecon">
              <a:extLst>
                <a:ext uri="{FF2B5EF4-FFF2-40B4-BE49-F238E27FC236}">
                  <a16:creationId xmlns:a16="http://schemas.microsoft.com/office/drawing/2014/main" id="{0BFF26BA-092E-CD00-8040-EF44CC017F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2781" y="5256935"/>
              <a:ext cx="2045278" cy="56110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Press Corner">
              <a:extLst>
                <a:ext uri="{FF2B5EF4-FFF2-40B4-BE49-F238E27FC236}">
                  <a16:creationId xmlns:a16="http://schemas.microsoft.com/office/drawing/2014/main" id="{B21A1C55-DA2F-7A3F-21F2-9E9571395D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90633" y="842543"/>
              <a:ext cx="964904" cy="321115"/>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39A13A19-70C4-69AD-190F-FDB7FFC76638}"/>
                </a:ext>
              </a:extLst>
            </p:cNvPr>
            <p:cNvSpPr txBox="1"/>
            <p:nvPr/>
          </p:nvSpPr>
          <p:spPr>
            <a:xfrm>
              <a:off x="6756039" y="1163658"/>
              <a:ext cx="1402261" cy="276999"/>
            </a:xfrm>
            <a:prstGeom prst="rect">
              <a:avLst/>
            </a:prstGeom>
            <a:noFill/>
          </p:spPr>
          <p:txBody>
            <a:bodyPr wrap="square" rtlCol="0">
              <a:spAutoFit/>
            </a:bodyPr>
            <a:lstStyle/>
            <a:p>
              <a:pPr algn="ctr"/>
              <a:r>
                <a:rPr lang="en-US" sz="1200" b="1" noProof="0" dirty="0"/>
                <a:t>Factual Report</a:t>
              </a:r>
            </a:p>
          </p:txBody>
        </p:sp>
        <p:pic>
          <p:nvPicPr>
            <p:cNvPr id="60" name="Picture 14" descr="Press Corner">
              <a:extLst>
                <a:ext uri="{FF2B5EF4-FFF2-40B4-BE49-F238E27FC236}">
                  <a16:creationId xmlns:a16="http://schemas.microsoft.com/office/drawing/2014/main" id="{777EB8B3-79CB-E03E-FDD5-06F6D39B66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82124" y="3947585"/>
              <a:ext cx="964904" cy="321115"/>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a:extLst>
                <a:ext uri="{FF2B5EF4-FFF2-40B4-BE49-F238E27FC236}">
                  <a16:creationId xmlns:a16="http://schemas.microsoft.com/office/drawing/2014/main" id="{2D8FCCA9-E176-0128-74EF-ED76D0E9D341}"/>
                </a:ext>
              </a:extLst>
            </p:cNvPr>
            <p:cNvSpPr txBox="1"/>
            <p:nvPr/>
          </p:nvSpPr>
          <p:spPr>
            <a:xfrm>
              <a:off x="9847530" y="4268700"/>
              <a:ext cx="1402261" cy="276999"/>
            </a:xfrm>
            <a:prstGeom prst="rect">
              <a:avLst/>
            </a:prstGeom>
            <a:noFill/>
          </p:spPr>
          <p:txBody>
            <a:bodyPr wrap="square" rtlCol="0">
              <a:spAutoFit/>
            </a:bodyPr>
            <a:lstStyle/>
            <a:p>
              <a:pPr algn="ctr"/>
              <a:r>
                <a:rPr lang="en-US" sz="1200" b="1" noProof="0" dirty="0"/>
                <a:t>Final Report</a:t>
              </a:r>
            </a:p>
          </p:txBody>
        </p:sp>
      </p:grpSp>
      <p:sp>
        <p:nvSpPr>
          <p:cNvPr id="63" name="Text Placeholder 5">
            <a:extLst>
              <a:ext uri="{FF2B5EF4-FFF2-40B4-BE49-F238E27FC236}">
                <a16:creationId xmlns:a16="http://schemas.microsoft.com/office/drawing/2014/main" id="{2CE3CEA6-A03D-5A3E-8BC7-98B38E556FCD}"/>
              </a:ext>
            </a:extLst>
          </p:cNvPr>
          <p:cNvSpPr>
            <a:spLocks noGrp="1"/>
          </p:cNvSpPr>
          <p:nvPr>
            <p:ph type="body" sz="quarter" idx="13"/>
          </p:nvPr>
        </p:nvSpPr>
        <p:spPr>
          <a:xfrm>
            <a:off x="-10247" y="6227874"/>
            <a:ext cx="10800425" cy="627483"/>
          </a:xfrm>
        </p:spPr>
        <p:txBody>
          <a:bodyPr/>
          <a:lstStyle/>
          <a:p>
            <a:pPr>
              <a:spcAft>
                <a:spcPts val="0"/>
              </a:spcAft>
            </a:pPr>
            <a:r>
              <a:rPr lang="en-US" sz="900" noProof="0" dirty="0"/>
              <a:t>Government of Spain:  </a:t>
            </a:r>
            <a:r>
              <a:rPr lang="en-US" sz="900" noProof="0" dirty="0">
                <a:solidFill>
                  <a:schemeClr val="tx2"/>
                </a:solidFill>
                <a:hlinkClick r:id="rId8">
                  <a:extLst>
                    <a:ext uri="{A12FA001-AC4F-418D-AE19-62706E023703}">
                      <ahyp:hlinkClr xmlns:ahyp="http://schemas.microsoft.com/office/drawing/2018/hyperlinkcolor" val="tx"/>
                    </a:ext>
                  </a:extLst>
                </a:hlinkClick>
              </a:rPr>
              <a:t>https://www.lamoncloa.gob.es/consejodeministros/resumenes/Documents/2025/Informe-no-confidencial-Comite-de-analisis-28A.pdf</a:t>
            </a:r>
            <a:r>
              <a:rPr lang="en-US" sz="900" noProof="0" dirty="0">
                <a:solidFill>
                  <a:schemeClr val="tx2"/>
                </a:solidFill>
              </a:rPr>
              <a:t> </a:t>
            </a:r>
          </a:p>
          <a:p>
            <a:pPr>
              <a:spcAft>
                <a:spcPts val="0"/>
              </a:spcAft>
            </a:pPr>
            <a:r>
              <a:rPr lang="en-US" sz="900" noProof="0" dirty="0"/>
              <a:t>Red </a:t>
            </a:r>
            <a:r>
              <a:rPr lang="en-US" sz="900" noProof="0" dirty="0" err="1"/>
              <a:t>Elétrica</a:t>
            </a:r>
            <a:r>
              <a:rPr lang="en-US" sz="900" noProof="0" dirty="0"/>
              <a:t>: </a:t>
            </a:r>
            <a:r>
              <a:rPr lang="en-US" sz="900" noProof="0" dirty="0">
                <a:solidFill>
                  <a:schemeClr val="tx2"/>
                </a:solidFill>
                <a:hlinkClick r:id="rId9">
                  <a:extLst>
                    <a:ext uri="{A12FA001-AC4F-418D-AE19-62706E023703}">
                      <ahyp:hlinkClr xmlns:ahyp="http://schemas.microsoft.com/office/drawing/2018/hyperlinkcolor" val="tx"/>
                    </a:ext>
                  </a:extLst>
                </a:hlinkClick>
              </a:rPr>
              <a:t>https://www.ree.es/en/press-office/news/press-release/2025/06/red-electrica-presents-report-incident-28-april-/and-proposes-recommendations</a:t>
            </a:r>
            <a:endParaRPr lang="en-US" sz="900" noProof="0" dirty="0">
              <a:solidFill>
                <a:schemeClr val="tx2"/>
              </a:solidFill>
            </a:endParaRPr>
          </a:p>
          <a:p>
            <a:pPr>
              <a:spcAft>
                <a:spcPts val="0"/>
              </a:spcAft>
            </a:pPr>
            <a:r>
              <a:rPr lang="en-US" sz="900" noProof="0" dirty="0"/>
              <a:t>INESCTEC &amp; Compass Lexecon: </a:t>
            </a:r>
            <a:r>
              <a:rPr lang="en-US" sz="900" noProof="0" dirty="0">
                <a:solidFill>
                  <a:schemeClr val="tx2"/>
                </a:solidFill>
                <a:hlinkClick r:id="rId10">
                  <a:extLst>
                    <a:ext uri="{A12FA001-AC4F-418D-AE19-62706E023703}">
                      <ahyp:hlinkClr xmlns:ahyp="http://schemas.microsoft.com/office/drawing/2018/hyperlinkcolor" val="tx"/>
                    </a:ext>
                  </a:extLst>
                </a:hlinkClick>
              </a:rPr>
              <a:t>https://aelec.es/wp-content/uploads/2025/07/20250730_CL_INESCTEC_Blackout_full-report_en.pdf</a:t>
            </a:r>
            <a:r>
              <a:rPr lang="en-US" sz="900" noProof="0" dirty="0">
                <a:solidFill>
                  <a:schemeClr val="tx2"/>
                </a:solidFill>
              </a:rPr>
              <a:t> </a:t>
            </a:r>
          </a:p>
          <a:p>
            <a:pPr>
              <a:spcAft>
                <a:spcPts val="0"/>
              </a:spcAft>
            </a:pPr>
            <a:r>
              <a:rPr lang="en-US" sz="900" noProof="0" dirty="0"/>
              <a:t>ENTSO-E Factual Report : </a:t>
            </a:r>
            <a:r>
              <a:rPr lang="en-US" sz="900" noProof="0" dirty="0">
                <a:solidFill>
                  <a:schemeClr val="tx2"/>
                </a:solidFill>
                <a:hlinkClick r:id="rId11">
                  <a:extLst>
                    <a:ext uri="{A12FA001-AC4F-418D-AE19-62706E023703}">
                      <ahyp:hlinkClr xmlns:ahyp="http://schemas.microsoft.com/office/drawing/2018/hyperlinkcolor" val="tx"/>
                    </a:ext>
                  </a:extLst>
                </a:hlinkClick>
              </a:rPr>
              <a:t>https://www.entsoe.eu/publications/blackout/28-april-2025-iberian-blackout/</a:t>
            </a:r>
            <a:r>
              <a:rPr lang="en-US" sz="900" noProof="0" dirty="0">
                <a:solidFill>
                  <a:schemeClr val="tx2"/>
                </a:solidFill>
              </a:rPr>
              <a:t> </a:t>
            </a:r>
          </a:p>
        </p:txBody>
      </p:sp>
    </p:spTree>
    <p:extLst>
      <p:ext uri="{BB962C8B-B14F-4D97-AF65-F5344CB8AC3E}">
        <p14:creationId xmlns:p14="http://schemas.microsoft.com/office/powerpoint/2010/main" val="1292067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A51788E-C821-F62D-348F-46A593606BD6}"/>
              </a:ext>
            </a:extLst>
          </p:cNvPr>
          <p:cNvSpPr>
            <a:spLocks noGrp="1"/>
          </p:cNvSpPr>
          <p:nvPr>
            <p:ph type="body" sz="quarter" idx="10"/>
          </p:nvPr>
        </p:nvSpPr>
        <p:spPr>
          <a:xfrm>
            <a:off x="352426" y="976235"/>
            <a:ext cx="5531540" cy="4847481"/>
          </a:xfrm>
        </p:spPr>
        <p:txBody>
          <a:bodyPr/>
          <a:lstStyle/>
          <a:p>
            <a:r>
              <a:rPr lang="en-US" noProof="0" dirty="0"/>
              <a:t>01</a:t>
            </a:r>
          </a:p>
        </p:txBody>
      </p:sp>
      <p:sp>
        <p:nvSpPr>
          <p:cNvPr id="11" name="Title 1">
            <a:extLst>
              <a:ext uri="{FF2B5EF4-FFF2-40B4-BE49-F238E27FC236}">
                <a16:creationId xmlns:a16="http://schemas.microsoft.com/office/drawing/2014/main" id="{36516C66-CC03-5187-52B3-5E9BDBFCBC21}"/>
              </a:ext>
            </a:extLst>
          </p:cNvPr>
          <p:cNvSpPr>
            <a:spLocks noGrp="1"/>
          </p:cNvSpPr>
          <p:nvPr>
            <p:ph type="title"/>
          </p:nvPr>
        </p:nvSpPr>
        <p:spPr/>
        <p:txBody>
          <a:bodyPr/>
          <a:lstStyle/>
          <a:p>
            <a:r>
              <a:rPr lang="en-US" noProof="0" dirty="0"/>
              <a:t>System Conditions before the Blackout</a:t>
            </a:r>
          </a:p>
        </p:txBody>
      </p:sp>
      <p:sp>
        <p:nvSpPr>
          <p:cNvPr id="7" name="Text Placeholder 6">
            <a:extLst>
              <a:ext uri="{FF2B5EF4-FFF2-40B4-BE49-F238E27FC236}">
                <a16:creationId xmlns:a16="http://schemas.microsoft.com/office/drawing/2014/main" id="{779B586D-8F66-99DA-44F1-C73FB1E5799A}"/>
              </a:ext>
            </a:extLst>
          </p:cNvPr>
          <p:cNvSpPr>
            <a:spLocks noGrp="1"/>
          </p:cNvSpPr>
          <p:nvPr>
            <p:ph type="body" idx="1"/>
          </p:nvPr>
        </p:nvSpPr>
        <p:spPr/>
        <p:txBody>
          <a:bodyPr/>
          <a:lstStyle/>
          <a:p>
            <a:endParaRPr lang="en-US" noProof="0" dirty="0"/>
          </a:p>
        </p:txBody>
      </p:sp>
      <p:sp>
        <p:nvSpPr>
          <p:cNvPr id="3" name="Slide Number Placeholder 2" hidden="1">
            <a:extLst>
              <a:ext uri="{FF2B5EF4-FFF2-40B4-BE49-F238E27FC236}">
                <a16:creationId xmlns:a16="http://schemas.microsoft.com/office/drawing/2014/main" id="{AD0CDC52-4EAB-2CA7-078B-F0CE2108615E}"/>
              </a:ext>
            </a:extLst>
          </p:cNvPr>
          <p:cNvSpPr>
            <a:spLocks noGrp="1"/>
          </p:cNvSpPr>
          <p:nvPr>
            <p:ph type="sldNum" sz="quarter" idx="4294967295"/>
          </p:nvPr>
        </p:nvSpPr>
        <p:spPr>
          <a:xfrm>
            <a:off x="9448800" y="6205538"/>
            <a:ext cx="2743200" cy="255587"/>
          </a:xfrm>
        </p:spPr>
        <p:txBody>
          <a:bodyPr/>
          <a:lstStyle/>
          <a:p>
            <a:pPr>
              <a:spcAft>
                <a:spcPts val="600"/>
              </a:spcAft>
            </a:pPr>
            <a:fld id="{393ADBA8-77A2-4533-9BC5-08370409A084}" type="slidenum">
              <a:rPr lang="en-US" noProof="0" smtClean="0"/>
              <a:pPr>
                <a:spcAft>
                  <a:spcPts val="600"/>
                </a:spcAft>
              </a:pPr>
              <a:t>5</a:t>
            </a:fld>
            <a:endParaRPr lang="en-US" noProof="0" dirty="0"/>
          </a:p>
        </p:txBody>
      </p:sp>
    </p:spTree>
    <p:extLst>
      <p:ext uri="{BB962C8B-B14F-4D97-AF65-F5344CB8AC3E}">
        <p14:creationId xmlns:p14="http://schemas.microsoft.com/office/powerpoint/2010/main" val="2444220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A3B7E-D8D1-9351-DADF-57DAFEEA89DB}"/>
              </a:ext>
            </a:extLst>
          </p:cNvPr>
          <p:cNvSpPr>
            <a:spLocks noGrp="1"/>
          </p:cNvSpPr>
          <p:nvPr>
            <p:ph type="body" sz="quarter" idx="13"/>
          </p:nvPr>
        </p:nvSpPr>
        <p:spPr/>
        <p:txBody>
          <a:bodyPr/>
          <a:lstStyle/>
          <a:p>
            <a:endParaRPr lang="en-US" noProof="0" dirty="0"/>
          </a:p>
        </p:txBody>
      </p:sp>
      <p:sp>
        <p:nvSpPr>
          <p:cNvPr id="3" name="Slide Number Placeholder 2">
            <a:extLst>
              <a:ext uri="{FF2B5EF4-FFF2-40B4-BE49-F238E27FC236}">
                <a16:creationId xmlns:a16="http://schemas.microsoft.com/office/drawing/2014/main" id="{49837E3B-FFD5-3872-3DF7-808EE6B1BD53}"/>
              </a:ext>
            </a:extLst>
          </p:cNvPr>
          <p:cNvSpPr>
            <a:spLocks noGrp="1"/>
          </p:cNvSpPr>
          <p:nvPr>
            <p:ph type="sldNum" sz="quarter" idx="12"/>
          </p:nvPr>
        </p:nvSpPr>
        <p:spPr/>
        <p:txBody>
          <a:bodyPr/>
          <a:lstStyle/>
          <a:p>
            <a:fld id="{393ADBA8-77A2-4533-9BC5-08370409A084}" type="slidenum">
              <a:rPr lang="en-US" noProof="0" smtClean="0"/>
              <a:pPr/>
              <a:t>6</a:t>
            </a:fld>
            <a:endParaRPr lang="en-US" noProof="0" dirty="0"/>
          </a:p>
        </p:txBody>
      </p:sp>
      <p:sp>
        <p:nvSpPr>
          <p:cNvPr id="4" name="Title 3">
            <a:extLst>
              <a:ext uri="{FF2B5EF4-FFF2-40B4-BE49-F238E27FC236}">
                <a16:creationId xmlns:a16="http://schemas.microsoft.com/office/drawing/2014/main" id="{7AD27DF0-14E3-B7EF-F181-D2B3DB09C7B2}"/>
              </a:ext>
            </a:extLst>
          </p:cNvPr>
          <p:cNvSpPr>
            <a:spLocks noGrp="1"/>
          </p:cNvSpPr>
          <p:nvPr>
            <p:ph type="title"/>
          </p:nvPr>
        </p:nvSpPr>
        <p:spPr/>
        <p:txBody>
          <a:bodyPr/>
          <a:lstStyle/>
          <a:p>
            <a:r>
              <a:rPr lang="en-US" noProof="0" dirty="0"/>
              <a:t>Generation Mix Before the Blackout</a:t>
            </a:r>
          </a:p>
        </p:txBody>
      </p:sp>
      <p:pic>
        <p:nvPicPr>
          <p:cNvPr id="6" name="Graphic 5">
            <a:extLst>
              <a:ext uri="{FF2B5EF4-FFF2-40B4-BE49-F238E27FC236}">
                <a16:creationId xmlns:a16="http://schemas.microsoft.com/office/drawing/2014/main" id="{20E4274E-50E6-EEA2-A4B8-ECABFD98DF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8200" y="985969"/>
            <a:ext cx="7175861" cy="3552939"/>
          </a:xfrm>
          <a:prstGeom prst="rect">
            <a:avLst/>
          </a:prstGeom>
        </p:spPr>
      </p:pic>
      <p:pic>
        <p:nvPicPr>
          <p:cNvPr id="8" name="Graphic 7">
            <a:extLst>
              <a:ext uri="{FF2B5EF4-FFF2-40B4-BE49-F238E27FC236}">
                <a16:creationId xmlns:a16="http://schemas.microsoft.com/office/drawing/2014/main" id="{FBD4D5A2-4C98-44BC-E977-097DC1D80F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16139" y="2767851"/>
            <a:ext cx="7175861" cy="3555607"/>
          </a:xfrm>
          <a:prstGeom prst="rect">
            <a:avLst/>
          </a:prstGeom>
        </p:spPr>
      </p:pic>
    </p:spTree>
    <p:extLst>
      <p:ext uri="{BB962C8B-B14F-4D97-AF65-F5344CB8AC3E}">
        <p14:creationId xmlns:p14="http://schemas.microsoft.com/office/powerpoint/2010/main" val="3046978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1C2-044B-B1EF-FBFB-F078F2A71557}"/>
              </a:ext>
            </a:extLst>
          </p:cNvPr>
          <p:cNvSpPr>
            <a:spLocks noGrp="1"/>
          </p:cNvSpPr>
          <p:nvPr>
            <p:ph type="title"/>
          </p:nvPr>
        </p:nvSpPr>
        <p:spPr>
          <a:xfrm>
            <a:off x="907868" y="333375"/>
            <a:ext cx="10636132" cy="485401"/>
          </a:xfrm>
        </p:spPr>
        <p:txBody>
          <a:bodyPr/>
          <a:lstStyle/>
          <a:p>
            <a:r>
              <a:rPr lang="en-US" noProof="0" dirty="0"/>
              <a:t>Conventional Generation on the Grid</a:t>
            </a:r>
          </a:p>
        </p:txBody>
      </p:sp>
      <p:sp>
        <p:nvSpPr>
          <p:cNvPr id="4" name="Title 1">
            <a:extLst>
              <a:ext uri="{FF2B5EF4-FFF2-40B4-BE49-F238E27FC236}">
                <a16:creationId xmlns:a16="http://schemas.microsoft.com/office/drawing/2014/main" id="{EA439948-F0B9-1AFC-1C2E-F1E2627F03FE}"/>
              </a:ext>
            </a:extLst>
          </p:cNvPr>
          <p:cNvSpPr txBox="1">
            <a:spLocks/>
          </p:cNvSpPr>
          <p:nvPr>
            <p:custDataLst>
              <p:tags r:id="rId1"/>
            </p:custDataLst>
          </p:nvPr>
        </p:nvSpPr>
        <p:spPr>
          <a:xfrm>
            <a:off x="1039496" y="858613"/>
            <a:ext cx="10860000" cy="346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effectLst/>
                <a:uLnTx/>
                <a:uFillTx/>
                <a:latin typeface="Aptos Light" panose="020B0004020202020204" pitchFamily="34" charset="0"/>
              </a:rPr>
              <a:t>The number of coupled thermal groups was the lowest of the year, and they were concentrated in the north </a:t>
            </a:r>
          </a:p>
        </p:txBody>
      </p:sp>
      <p:sp>
        <p:nvSpPr>
          <p:cNvPr id="5" name="Slide Number Placeholder 2">
            <a:extLst>
              <a:ext uri="{FF2B5EF4-FFF2-40B4-BE49-F238E27FC236}">
                <a16:creationId xmlns:a16="http://schemas.microsoft.com/office/drawing/2014/main" id="{3DE3F485-B298-2198-6EF7-9DCEC8FC4275}"/>
              </a:ext>
            </a:extLst>
          </p:cNvPr>
          <p:cNvSpPr txBox="1">
            <a:spLocks/>
          </p:cNvSpPr>
          <p:nvPr>
            <p:custDataLst>
              <p:tags r:id="rId2"/>
            </p:custDataLst>
          </p:nvPr>
        </p:nvSpPr>
        <p:spPr>
          <a:xfrm>
            <a:off x="11335108" y="6246000"/>
            <a:ext cx="496891" cy="248462"/>
          </a:xfrm>
          <a:prstGeom prst="rect">
            <a:avLst/>
          </a:prstGeom>
        </p:spPr>
        <p:txBody>
          <a:bodyPr vert="horz" lIns="0" tIns="0" rIns="0" bIns="0" rtlCol="0" anchor="b" anchorCtr="0"/>
          <a:lstStyle>
            <a:defPPr>
              <a:defRPr lang="en-US"/>
            </a:defPPr>
            <a:lvl1pPr marL="0" algn="r" defTabSz="914400" rtl="0" eaLnBrk="1" latinLnBrk="0" hangingPunct="1">
              <a:defRPr sz="12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noProof="0" dirty="0">
              <a:solidFill>
                <a:srgbClr val="037CBA"/>
              </a:solidFill>
              <a:latin typeface="Arial"/>
            </a:endParaRPr>
          </a:p>
        </p:txBody>
      </p:sp>
      <p:pic>
        <p:nvPicPr>
          <p:cNvPr id="6" name="Picture 5">
            <a:extLst>
              <a:ext uri="{FF2B5EF4-FFF2-40B4-BE49-F238E27FC236}">
                <a16:creationId xmlns:a16="http://schemas.microsoft.com/office/drawing/2014/main" id="{D13B5BB0-E0C1-FF59-7D39-4A30A996B57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59152" y="2072278"/>
            <a:ext cx="5607182" cy="3111938"/>
          </a:xfrm>
          <a:prstGeom prst="rect">
            <a:avLst/>
          </a:prstGeom>
        </p:spPr>
      </p:pic>
      <p:sp>
        <p:nvSpPr>
          <p:cNvPr id="7" name="TextBox 6">
            <a:extLst>
              <a:ext uri="{FF2B5EF4-FFF2-40B4-BE49-F238E27FC236}">
                <a16:creationId xmlns:a16="http://schemas.microsoft.com/office/drawing/2014/main" id="{47697FAF-EFB9-2A9F-F8B8-0DE78B5762D8}"/>
              </a:ext>
            </a:extLst>
          </p:cNvPr>
          <p:cNvSpPr txBox="1"/>
          <p:nvPr/>
        </p:nvSpPr>
        <p:spPr>
          <a:xfrm>
            <a:off x="6537718" y="1536015"/>
            <a:ext cx="4797390" cy="430887"/>
          </a:xfrm>
          <a:prstGeom prst="rect">
            <a:avLst/>
          </a:prstGeom>
          <a:noFill/>
        </p:spPr>
        <p:txBody>
          <a:bodyPr wrap="square" lIns="0" tIns="0" rIns="0" bIns="0" rtlCol="0">
            <a:spAutoFit/>
          </a:bodyPr>
          <a:lstStyle/>
          <a:p>
            <a:pPr eaLnBrk="1" fontAlgn="auto" hangingPunct="1">
              <a:spcBef>
                <a:spcPts val="0"/>
              </a:spcBef>
              <a:spcAft>
                <a:spcPts val="0"/>
              </a:spcAft>
            </a:pPr>
            <a:r>
              <a:rPr lang="en-US" sz="1400" b="1" noProof="0" dirty="0">
                <a:solidFill>
                  <a:srgbClr val="003863"/>
                </a:solidFill>
                <a:latin typeface="Aptos Light" panose="020B0004020202020204" pitchFamily="34" charset="0"/>
              </a:rPr>
              <a:t>Share of conventional generation at 11:00 CET on 28 April, by Autonomous Community (%)</a:t>
            </a:r>
          </a:p>
        </p:txBody>
      </p:sp>
      <p:sp>
        <p:nvSpPr>
          <p:cNvPr id="8" name="TextBox 7">
            <a:extLst>
              <a:ext uri="{FF2B5EF4-FFF2-40B4-BE49-F238E27FC236}">
                <a16:creationId xmlns:a16="http://schemas.microsoft.com/office/drawing/2014/main" id="{BAB43C1C-8906-3EDA-D10C-3F9B5EA5B09D}"/>
              </a:ext>
            </a:extLst>
          </p:cNvPr>
          <p:cNvSpPr txBox="1"/>
          <p:nvPr/>
        </p:nvSpPr>
        <p:spPr>
          <a:xfrm>
            <a:off x="6537718" y="1988434"/>
            <a:ext cx="755822" cy="48470"/>
          </a:xfrm>
          <a:prstGeom prst="rect">
            <a:avLst/>
          </a:prstGeom>
          <a:solidFill>
            <a:srgbClr val="DC3832"/>
          </a:solidFill>
          <a:ln>
            <a:noFill/>
          </a:ln>
        </p:spPr>
        <p:txBody>
          <a:bodyPr wrap="square" lIns="108000" tIns="108000" rIns="108000" bIns="108000" rtlCol="0" anchor="ctr">
            <a:noAutofit/>
          </a:bodyPr>
          <a:lstStyle/>
          <a:p>
            <a:pPr algn="ctr" eaLnBrk="1" fontAlgn="auto" hangingPunct="1">
              <a:spcBef>
                <a:spcPts val="0"/>
              </a:spcBef>
              <a:spcAft>
                <a:spcPts val="600"/>
              </a:spcAft>
              <a:buClr>
                <a:srgbClr val="000000"/>
              </a:buClr>
            </a:pPr>
            <a:endParaRPr lang="en-US" sz="1050" b="1" noProof="0" dirty="0">
              <a:solidFill>
                <a:prstClr val="white"/>
              </a:solidFill>
              <a:latin typeface="Arial"/>
            </a:endParaRPr>
          </a:p>
        </p:txBody>
      </p:sp>
      <p:sp>
        <p:nvSpPr>
          <p:cNvPr id="9" name="Content Placeholder 4">
            <a:extLst>
              <a:ext uri="{FF2B5EF4-FFF2-40B4-BE49-F238E27FC236}">
                <a16:creationId xmlns:a16="http://schemas.microsoft.com/office/drawing/2014/main" id="{6AC49DD1-43E0-45CA-97F9-A3EA9A3B5F2C}"/>
              </a:ext>
            </a:extLst>
          </p:cNvPr>
          <p:cNvSpPr txBox="1">
            <a:spLocks/>
          </p:cNvSpPr>
          <p:nvPr>
            <p:custDataLst>
              <p:tags r:id="rId3"/>
            </p:custDataLst>
          </p:nvPr>
        </p:nvSpPr>
        <p:spPr>
          <a:xfrm>
            <a:off x="750733" y="5411581"/>
            <a:ext cx="10690534" cy="695743"/>
          </a:xfrm>
          <a:prstGeom prst="rect">
            <a:avLst/>
          </a:prstGeom>
        </p:spPr>
        <p:txBody>
          <a:bodyPr vert="horz" lIns="0" tIns="0" rIns="0" bIns="0" rtlCol="0" anchor="ctr">
            <a:noAutofit/>
          </a:bodyPr>
          <a:lstStyle>
            <a:lvl1pPr marL="180975" indent="-180975" algn="l" defTabSz="914400" rtl="0" eaLnBrk="1" latinLnBrk="0" hangingPunct="1">
              <a:lnSpc>
                <a:spcPct val="102000"/>
              </a:lnSpc>
              <a:spcBef>
                <a:spcPts val="300"/>
              </a:spcBef>
              <a:spcAft>
                <a:spcPts val="300"/>
              </a:spcAft>
              <a:buClr>
                <a:schemeClr val="tx1"/>
              </a:buClr>
              <a:buFont typeface="Wingdings" panose="05000000000000000000" pitchFamily="2" charset="2"/>
              <a:buChar char="§"/>
              <a:defRPr sz="1200" b="0" kern="1200">
                <a:solidFill>
                  <a:schemeClr val="tx1"/>
                </a:solidFill>
                <a:latin typeface="+mn-lt"/>
                <a:ea typeface="+mn-ea"/>
                <a:cs typeface="+mn-cs"/>
              </a:defRPr>
            </a:lvl1pPr>
            <a:lvl2pPr marL="180975" indent="-180975" algn="l" defTabSz="914400" rtl="0" eaLnBrk="1" latinLnBrk="0" hangingPunct="1">
              <a:lnSpc>
                <a:spcPct val="102000"/>
              </a:lnSpc>
              <a:spcBef>
                <a:spcPts val="300"/>
              </a:spcBef>
              <a:spcAft>
                <a:spcPts val="300"/>
              </a:spcAft>
              <a:buClr>
                <a:schemeClr val="tx2"/>
              </a:buClr>
              <a:buFont typeface="Wingdings" panose="05000000000000000000" pitchFamily="2" charset="2"/>
              <a:buChar char="§"/>
              <a:defRPr sz="1200" b="0" kern="1200">
                <a:solidFill>
                  <a:schemeClr val="tx1"/>
                </a:solidFill>
                <a:latin typeface="+mn-lt"/>
                <a:ea typeface="+mn-ea"/>
                <a:cs typeface="+mn-cs"/>
              </a:defRPr>
            </a:lvl2pPr>
            <a:lvl3pPr marL="361950" indent="-180975" algn="l" defTabSz="914400" rtl="0" eaLnBrk="1" latinLnBrk="0" hangingPunct="1">
              <a:lnSpc>
                <a:spcPct val="102000"/>
              </a:lnSpc>
              <a:spcBef>
                <a:spcPts val="300"/>
              </a:spcBef>
              <a:spcAft>
                <a:spcPts val="300"/>
              </a:spcAft>
              <a:buFont typeface="Arial" panose="020B0604020202020204" pitchFamily="34" charset="0"/>
              <a:buChar char="–"/>
              <a:defRPr sz="1000" b="0" kern="1200">
                <a:solidFill>
                  <a:schemeClr val="tx1"/>
                </a:solidFill>
                <a:latin typeface="+mn-lt"/>
                <a:ea typeface="+mn-ea"/>
                <a:cs typeface="+mn-cs"/>
              </a:defRPr>
            </a:lvl3pPr>
            <a:lvl4pPr marL="534988" indent="-180975" algn="l" defTabSz="914400" rtl="0" eaLnBrk="1" latinLnBrk="0" hangingPunct="1">
              <a:lnSpc>
                <a:spcPct val="102000"/>
              </a:lnSpc>
              <a:spcBef>
                <a:spcPts val="300"/>
              </a:spcBef>
              <a:spcAft>
                <a:spcPts val="300"/>
              </a:spcAft>
              <a:buFont typeface="Arial" panose="020B0604020202020204" pitchFamily="34" charset="0"/>
              <a:buChar char="•"/>
              <a:tabLst/>
              <a:defRPr sz="1000" kern="1200">
                <a:solidFill>
                  <a:schemeClr val="tx1"/>
                </a:solidFill>
                <a:latin typeface="+mn-lt"/>
                <a:ea typeface="+mn-ea"/>
                <a:cs typeface="+mn-cs"/>
              </a:defRPr>
            </a:lvl4pPr>
            <a:lvl5pPr marL="180975" indent="-180975" algn="l" defTabSz="914400" rtl="0" eaLnBrk="1" latinLnBrk="0" hangingPunct="1">
              <a:lnSpc>
                <a:spcPct val="102000"/>
              </a:lnSpc>
              <a:spcBef>
                <a:spcPts val="300"/>
              </a:spcBef>
              <a:spcAft>
                <a:spcPts val="300"/>
              </a:spcAft>
              <a:buFont typeface="Wingdings" panose="05000000000000000000" pitchFamily="2" charset="2"/>
              <a:buChar char="§"/>
              <a:defRPr sz="1400" b="1" kern="1200">
                <a:solidFill>
                  <a:schemeClr val="tx2"/>
                </a:solidFill>
                <a:latin typeface="+mn-lt"/>
                <a:ea typeface="+mn-ea"/>
                <a:cs typeface="+mn-cs"/>
              </a:defRPr>
            </a:lvl5pPr>
            <a:lvl6pPr marL="180975" indent="-180975" algn="l" defTabSz="914400" rtl="0" eaLnBrk="1" latinLnBrk="0" hangingPunct="1">
              <a:lnSpc>
                <a:spcPct val="102000"/>
              </a:lnSpc>
              <a:spcBef>
                <a:spcPts val="300"/>
              </a:spcBef>
              <a:spcAft>
                <a:spcPts val="300"/>
              </a:spcAft>
              <a:buFont typeface="Wingdings" panose="05000000000000000000" pitchFamily="2" charset="2"/>
              <a:buChar char="§"/>
              <a:defRPr sz="1400" b="1" kern="1200">
                <a:solidFill>
                  <a:schemeClr val="accent2"/>
                </a:solidFill>
                <a:latin typeface="+mn-lt"/>
                <a:ea typeface="+mn-ea"/>
                <a:cs typeface="+mn-cs"/>
              </a:defRPr>
            </a:lvl6pPr>
            <a:lvl7pPr marL="180975" indent="-180975" algn="l" defTabSz="914400" rtl="0" eaLnBrk="1" latinLnBrk="0" hangingPunct="1">
              <a:lnSpc>
                <a:spcPct val="102000"/>
              </a:lnSpc>
              <a:spcBef>
                <a:spcPts val="300"/>
              </a:spcBef>
              <a:spcAft>
                <a:spcPts val="300"/>
              </a:spcAft>
              <a:buFont typeface="Arial" panose="020B0604020202020204" pitchFamily="34" charset="0"/>
              <a:buChar char="•"/>
              <a:defRPr sz="1200" kern="1200">
                <a:solidFill>
                  <a:schemeClr val="accent2"/>
                </a:solidFill>
                <a:latin typeface="+mn-lt"/>
                <a:ea typeface="+mn-ea"/>
                <a:cs typeface="+mn-cs"/>
              </a:defRPr>
            </a:lvl7pPr>
            <a:lvl8pPr marL="180975" indent="-180975" algn="l" defTabSz="914400" rtl="0" eaLnBrk="1" latinLnBrk="0" hangingPunct="1">
              <a:lnSpc>
                <a:spcPct val="102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8pPr>
            <a:lvl9pPr marL="180975" indent="-180975" algn="l" defTabSz="914400" rtl="0" eaLnBrk="1" latinLnBrk="0" hangingPunct="1">
              <a:lnSpc>
                <a:spcPct val="102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9pPr>
          </a:lstStyle>
          <a:p>
            <a:pPr marL="0" indent="0" fontAlgn="auto">
              <a:buClr>
                <a:srgbClr val="000000"/>
              </a:buClr>
              <a:buFont typeface="Wingdings" panose="05000000000000000000" pitchFamily="2" charset="2"/>
              <a:buNone/>
            </a:pPr>
            <a:r>
              <a:rPr lang="en-US" sz="1800" b="1" i="1" noProof="0" dirty="0">
                <a:solidFill>
                  <a:schemeClr val="accent3"/>
                </a:solidFill>
                <a:latin typeface="Aptos Light" panose="020B0004020202020204" pitchFamily="34" charset="0"/>
              </a:rPr>
              <a:t>CCGT scheduled for the 28th in the southern area was declared unavailable on the afternoon of the 27th due to a fire and was not replaced</a:t>
            </a:r>
            <a:endParaRPr lang="en-US" sz="1800" b="1" i="1" baseline="30000" noProof="0" dirty="0">
              <a:solidFill>
                <a:schemeClr val="accent3"/>
              </a:solidFill>
              <a:latin typeface="Aptos Light" panose="020B0004020202020204" pitchFamily="34" charset="0"/>
            </a:endParaRPr>
          </a:p>
        </p:txBody>
      </p:sp>
      <p:sp>
        <p:nvSpPr>
          <p:cNvPr id="10" name="TextBox 9">
            <a:extLst>
              <a:ext uri="{FF2B5EF4-FFF2-40B4-BE49-F238E27FC236}">
                <a16:creationId xmlns:a16="http://schemas.microsoft.com/office/drawing/2014/main" id="{DE35472F-ECE7-26EA-A0B2-CDD6E7E7C5D5}"/>
              </a:ext>
            </a:extLst>
          </p:cNvPr>
          <p:cNvSpPr txBox="1"/>
          <p:nvPr/>
        </p:nvSpPr>
        <p:spPr>
          <a:xfrm>
            <a:off x="-71021" y="6581782"/>
            <a:ext cx="7833783" cy="333375"/>
          </a:xfrm>
          <a:prstGeom prst="rect">
            <a:avLst/>
          </a:prstGeom>
          <a:noFill/>
        </p:spPr>
        <p:txBody>
          <a:bodyPr wrap="square" lIns="108000" tIns="108000" rIns="108000" bIns="108000" rtlCol="0">
            <a:noAutofit/>
          </a:bodyPr>
          <a:lstStyle/>
          <a:p>
            <a:pPr eaLnBrk="1" fontAlgn="auto" hangingPunct="1">
              <a:spcBef>
                <a:spcPts val="0"/>
              </a:spcBef>
              <a:spcAft>
                <a:spcPts val="600"/>
              </a:spcAft>
              <a:buClr>
                <a:srgbClr val="000000"/>
              </a:buClr>
            </a:pPr>
            <a:r>
              <a:rPr lang="en-US" sz="900" noProof="0" dirty="0">
                <a:solidFill>
                  <a:srgbClr val="000000"/>
                </a:solidFill>
                <a:latin typeface="Aptos Light" panose="020B0004020202020204" pitchFamily="34" charset="0"/>
              </a:rPr>
              <a:t>Source: Own elaboration with data from REE and AELEC Members</a:t>
            </a:r>
          </a:p>
        </p:txBody>
      </p:sp>
      <p:sp>
        <p:nvSpPr>
          <p:cNvPr id="11" name="TextBox 10">
            <a:extLst>
              <a:ext uri="{FF2B5EF4-FFF2-40B4-BE49-F238E27FC236}">
                <a16:creationId xmlns:a16="http://schemas.microsoft.com/office/drawing/2014/main" id="{5C842635-756A-8883-7308-443DB075F92B}"/>
              </a:ext>
            </a:extLst>
          </p:cNvPr>
          <p:cNvSpPr txBox="1"/>
          <p:nvPr/>
        </p:nvSpPr>
        <p:spPr>
          <a:xfrm>
            <a:off x="8483486" y="442114"/>
            <a:ext cx="5601292" cy="172542"/>
          </a:xfrm>
          <a:prstGeom prst="rect">
            <a:avLst/>
          </a:prstGeom>
          <a:noFill/>
        </p:spPr>
        <p:txBody>
          <a:bodyPr wrap="square" lIns="108000" tIns="0" rIns="108000" bIns="108000" rtlCol="0">
            <a:noAutofit/>
          </a:bodyPr>
          <a:lstStyle/>
          <a:p>
            <a:pPr eaLnBrk="1" fontAlgn="auto" hangingPunct="1">
              <a:spcBef>
                <a:spcPts val="0"/>
              </a:spcBef>
              <a:spcAft>
                <a:spcPts val="600"/>
              </a:spcAft>
              <a:buClr>
                <a:srgbClr val="000000"/>
              </a:buClr>
            </a:pPr>
            <a:r>
              <a:rPr lang="en-US" b="1" noProof="0" dirty="0">
                <a:solidFill>
                  <a:srgbClr val="273B5E"/>
                </a:solidFill>
                <a:latin typeface="Arial" panose="020B0604020202020204" pitchFamily="34" charset="0"/>
                <a:ea typeface="Times New Roman" panose="02020603050405020304" pitchFamily="18" charset="0"/>
              </a:rPr>
              <a:t>D-1 generation schedule</a:t>
            </a:r>
            <a:endParaRPr lang="en-US" b="1" noProof="0" dirty="0">
              <a:solidFill>
                <a:srgbClr val="273B5E"/>
              </a:solidFill>
              <a:latin typeface="Arial"/>
            </a:endParaRPr>
          </a:p>
        </p:txBody>
      </p:sp>
      <p:sp>
        <p:nvSpPr>
          <p:cNvPr id="20" name="Cancel" descr="{&quot;Key&quot;:&quot;POWER_USER_SHAPE_ICON&quot;,&quot;Value&quot;:&quot;POWER_USER_SHAPE_ICON_STYLE_1&quot;}">
            <a:extLst>
              <a:ext uri="{FF2B5EF4-FFF2-40B4-BE49-F238E27FC236}">
                <a16:creationId xmlns:a16="http://schemas.microsoft.com/office/drawing/2014/main" id="{44C87E6F-872C-467C-1F35-15BC7095CCEE}"/>
              </a:ext>
            </a:extLst>
          </p:cNvPr>
          <p:cNvSpPr>
            <a:spLocks noChangeAspect="1"/>
          </p:cNvSpPr>
          <p:nvPr/>
        </p:nvSpPr>
        <p:spPr>
          <a:xfrm>
            <a:off x="10076689" y="4867081"/>
            <a:ext cx="200658" cy="200658"/>
          </a:xfrm>
          <a:custGeom>
            <a:avLst/>
            <a:gdLst>
              <a:gd name="connsiteX0" fmla="*/ 75278 w 320492"/>
              <a:gd name="connsiteY0" fmla="*/ 75278 h 320492"/>
              <a:gd name="connsiteX1" fmla="*/ 75278 w 320492"/>
              <a:gd name="connsiteY1" fmla="*/ 85027 h 320492"/>
              <a:gd name="connsiteX2" fmla="*/ 150496 w 320492"/>
              <a:gd name="connsiteY2" fmla="*/ 160245 h 320492"/>
              <a:gd name="connsiteX3" fmla="*/ 75278 w 320492"/>
              <a:gd name="connsiteY3" fmla="*/ 235465 h 320492"/>
              <a:gd name="connsiteX4" fmla="*/ 75278 w 320492"/>
              <a:gd name="connsiteY4" fmla="*/ 245215 h 320492"/>
              <a:gd name="connsiteX5" fmla="*/ 85027 w 320492"/>
              <a:gd name="connsiteY5" fmla="*/ 245215 h 320492"/>
              <a:gd name="connsiteX6" fmla="*/ 160244 w 320492"/>
              <a:gd name="connsiteY6" fmla="*/ 169996 h 320492"/>
              <a:gd name="connsiteX7" fmla="*/ 235462 w 320492"/>
              <a:gd name="connsiteY7" fmla="*/ 245215 h 320492"/>
              <a:gd name="connsiteX8" fmla="*/ 245213 w 320492"/>
              <a:gd name="connsiteY8" fmla="*/ 245215 h 320492"/>
              <a:gd name="connsiteX9" fmla="*/ 245213 w 320492"/>
              <a:gd name="connsiteY9" fmla="*/ 235465 h 320492"/>
              <a:gd name="connsiteX10" fmla="*/ 169993 w 320492"/>
              <a:gd name="connsiteY10" fmla="*/ 160245 h 320492"/>
              <a:gd name="connsiteX11" fmla="*/ 245215 w 320492"/>
              <a:gd name="connsiteY11" fmla="*/ 85027 h 320492"/>
              <a:gd name="connsiteX12" fmla="*/ 245215 w 320492"/>
              <a:gd name="connsiteY12" fmla="*/ 75278 h 320492"/>
              <a:gd name="connsiteX13" fmla="*/ 235464 w 320492"/>
              <a:gd name="connsiteY13" fmla="*/ 75278 h 320492"/>
              <a:gd name="connsiteX14" fmla="*/ 160245 w 320492"/>
              <a:gd name="connsiteY14" fmla="*/ 150497 h 320492"/>
              <a:gd name="connsiteX15" fmla="*/ 85027 w 320492"/>
              <a:gd name="connsiteY15" fmla="*/ 75278 h 320492"/>
              <a:gd name="connsiteX16" fmla="*/ 75278 w 320492"/>
              <a:gd name="connsiteY16" fmla="*/ 75278 h 320492"/>
              <a:gd name="connsiteX17" fmla="*/ 160246 w 320492"/>
              <a:gd name="connsiteY17" fmla="*/ 0 h 320492"/>
              <a:gd name="connsiteX18" fmla="*/ 320492 w 320492"/>
              <a:gd name="connsiteY18" fmla="*/ 160246 h 320492"/>
              <a:gd name="connsiteX19" fmla="*/ 160246 w 320492"/>
              <a:gd name="connsiteY19" fmla="*/ 320492 h 320492"/>
              <a:gd name="connsiteX20" fmla="*/ 0 w 320492"/>
              <a:gd name="connsiteY20" fmla="*/ 160246 h 320492"/>
              <a:gd name="connsiteX21" fmla="*/ 160246 w 320492"/>
              <a:gd name="connsiteY21" fmla="*/ 0 h 32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492" h="320492">
                <a:moveTo>
                  <a:pt x="75278" y="75278"/>
                </a:moveTo>
                <a:cubicBezTo>
                  <a:pt x="72586" y="77971"/>
                  <a:pt x="72586" y="82336"/>
                  <a:pt x="75278" y="85027"/>
                </a:cubicBezTo>
                <a:lnTo>
                  <a:pt x="150496" y="160245"/>
                </a:lnTo>
                <a:lnTo>
                  <a:pt x="75278" y="235465"/>
                </a:lnTo>
                <a:cubicBezTo>
                  <a:pt x="72586" y="238158"/>
                  <a:pt x="72586" y="242523"/>
                  <a:pt x="75278" y="245215"/>
                </a:cubicBezTo>
                <a:cubicBezTo>
                  <a:pt x="77971" y="247907"/>
                  <a:pt x="82335" y="247907"/>
                  <a:pt x="85027" y="245215"/>
                </a:cubicBezTo>
                <a:lnTo>
                  <a:pt x="160244" y="169996"/>
                </a:lnTo>
                <a:lnTo>
                  <a:pt x="235462" y="245215"/>
                </a:lnTo>
                <a:cubicBezTo>
                  <a:pt x="238155" y="247907"/>
                  <a:pt x="242520" y="247907"/>
                  <a:pt x="245213" y="245215"/>
                </a:cubicBezTo>
                <a:cubicBezTo>
                  <a:pt x="247905" y="242522"/>
                  <a:pt x="247905" y="238157"/>
                  <a:pt x="245213" y="235465"/>
                </a:cubicBezTo>
                <a:lnTo>
                  <a:pt x="169993" y="160245"/>
                </a:lnTo>
                <a:lnTo>
                  <a:pt x="245215" y="85027"/>
                </a:lnTo>
                <a:cubicBezTo>
                  <a:pt x="247906" y="82336"/>
                  <a:pt x="247906" y="77969"/>
                  <a:pt x="245215" y="75278"/>
                </a:cubicBezTo>
                <a:cubicBezTo>
                  <a:pt x="242520" y="72585"/>
                  <a:pt x="238155" y="72585"/>
                  <a:pt x="235464" y="75278"/>
                </a:cubicBezTo>
                <a:lnTo>
                  <a:pt x="160245" y="150497"/>
                </a:lnTo>
                <a:lnTo>
                  <a:pt x="85027" y="75278"/>
                </a:lnTo>
                <a:cubicBezTo>
                  <a:pt x="82334" y="72585"/>
                  <a:pt x="77969" y="72585"/>
                  <a:pt x="75278" y="75278"/>
                </a:cubicBezTo>
                <a:close/>
                <a:moveTo>
                  <a:pt x="160246" y="0"/>
                </a:moveTo>
                <a:cubicBezTo>
                  <a:pt x="248747" y="0"/>
                  <a:pt x="320492" y="71745"/>
                  <a:pt x="320492" y="160246"/>
                </a:cubicBezTo>
                <a:cubicBezTo>
                  <a:pt x="320492" y="248747"/>
                  <a:pt x="248747" y="320492"/>
                  <a:pt x="160246" y="320492"/>
                </a:cubicBezTo>
                <a:cubicBezTo>
                  <a:pt x="71745" y="320492"/>
                  <a:pt x="0" y="248747"/>
                  <a:pt x="0" y="160246"/>
                </a:cubicBezTo>
                <a:cubicBezTo>
                  <a:pt x="0" y="71745"/>
                  <a:pt x="71745" y="0"/>
                  <a:pt x="160246" y="0"/>
                </a:cubicBezTo>
                <a:close/>
              </a:path>
            </a:pathLst>
          </a:custGeom>
          <a:solidFill>
            <a:srgbClr val="DC3731"/>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7DB2AD56-116A-D4D5-E07F-3A1131619AE2}"/>
              </a:ext>
            </a:extLst>
          </p:cNvPr>
          <p:cNvSpPr txBox="1"/>
          <p:nvPr/>
        </p:nvSpPr>
        <p:spPr>
          <a:xfrm>
            <a:off x="10370906" y="4798134"/>
            <a:ext cx="1642960" cy="338554"/>
          </a:xfrm>
          <a:prstGeom prst="rect">
            <a:avLst/>
          </a:prstGeom>
          <a:noFill/>
        </p:spPr>
        <p:txBody>
          <a:bodyPr wrap="square" lIns="0" tIns="0" rIns="0" bIns="0" rtlCol="0">
            <a:spAutoFit/>
          </a:bodyPr>
          <a:lstStyle/>
          <a:p>
            <a:pPr eaLnBrk="1" fontAlgn="auto" hangingPunct="1">
              <a:spcBef>
                <a:spcPts val="0"/>
              </a:spcBef>
              <a:spcAft>
                <a:spcPts val="0"/>
              </a:spcAft>
            </a:pPr>
            <a:r>
              <a:rPr lang="en-US" sz="1100" b="1" noProof="0" dirty="0">
                <a:solidFill>
                  <a:srgbClr val="003863"/>
                </a:solidFill>
                <a:latin typeface="Arial"/>
              </a:rPr>
              <a:t>Location of the first generation trips</a:t>
            </a:r>
          </a:p>
        </p:txBody>
      </p:sp>
      <p:sp>
        <p:nvSpPr>
          <p:cNvPr id="22" name="Rectangle 21">
            <a:extLst>
              <a:ext uri="{FF2B5EF4-FFF2-40B4-BE49-F238E27FC236}">
                <a16:creationId xmlns:a16="http://schemas.microsoft.com/office/drawing/2014/main" id="{77AECD96-5377-514C-8FD2-3BC4089A06CA}"/>
              </a:ext>
            </a:extLst>
          </p:cNvPr>
          <p:cNvSpPr/>
          <p:nvPr/>
        </p:nvSpPr>
        <p:spPr>
          <a:xfrm>
            <a:off x="9989820" y="4782894"/>
            <a:ext cx="2024046" cy="383282"/>
          </a:xfrm>
          <a:prstGeom prst="rect">
            <a:avLst/>
          </a:prstGeom>
          <a:noFill/>
          <a:ln w="12700" cap="flat" cmpd="sng" algn="ctr">
            <a:solidFill>
              <a:srgbClr val="DD3D37"/>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23" name="TextBox 22">
            <a:extLst>
              <a:ext uri="{FF2B5EF4-FFF2-40B4-BE49-F238E27FC236}">
                <a16:creationId xmlns:a16="http://schemas.microsoft.com/office/drawing/2014/main" id="{AEBC7342-36D0-30FC-9E17-379802F0936F}"/>
              </a:ext>
            </a:extLst>
          </p:cNvPr>
          <p:cNvSpPr txBox="1"/>
          <p:nvPr/>
        </p:nvSpPr>
        <p:spPr>
          <a:xfrm>
            <a:off x="1105947" y="1681019"/>
            <a:ext cx="4729444" cy="215444"/>
          </a:xfrm>
          <a:prstGeom prst="rect">
            <a:avLst/>
          </a:prstGeom>
          <a:noFill/>
        </p:spPr>
        <p:txBody>
          <a:bodyPr wrap="square" lIns="0" tIns="0" rIns="0" bIns="0" rtlCol="0">
            <a:spAutoFit/>
          </a:bodyPr>
          <a:lstStyle/>
          <a:p>
            <a:pPr eaLnBrk="1" fontAlgn="auto" hangingPunct="1">
              <a:spcBef>
                <a:spcPts val="0"/>
              </a:spcBef>
              <a:spcAft>
                <a:spcPts val="0"/>
              </a:spcAft>
            </a:pPr>
            <a:r>
              <a:rPr lang="en-US" sz="1400" b="1" noProof="0" dirty="0">
                <a:solidFill>
                  <a:srgbClr val="003863"/>
                </a:solidFill>
                <a:latin typeface="Aptos Light" panose="020B0004020202020204" pitchFamily="34" charset="0"/>
              </a:rPr>
              <a:t>Hourly generation on 28 April 2025 </a:t>
            </a:r>
          </a:p>
        </p:txBody>
      </p:sp>
      <p:sp>
        <p:nvSpPr>
          <p:cNvPr id="24" name="TextBox 23">
            <a:extLst>
              <a:ext uri="{FF2B5EF4-FFF2-40B4-BE49-F238E27FC236}">
                <a16:creationId xmlns:a16="http://schemas.microsoft.com/office/drawing/2014/main" id="{F81FDE51-E42E-D75D-31B7-C58222D44491}"/>
              </a:ext>
            </a:extLst>
          </p:cNvPr>
          <p:cNvSpPr txBox="1"/>
          <p:nvPr/>
        </p:nvSpPr>
        <p:spPr>
          <a:xfrm>
            <a:off x="1093284" y="1918632"/>
            <a:ext cx="755822" cy="48470"/>
          </a:xfrm>
          <a:prstGeom prst="rect">
            <a:avLst/>
          </a:prstGeom>
          <a:solidFill>
            <a:srgbClr val="DC3832"/>
          </a:solidFill>
          <a:ln>
            <a:noFill/>
          </a:ln>
        </p:spPr>
        <p:txBody>
          <a:bodyPr wrap="square" lIns="108000" tIns="108000" rIns="108000" bIns="108000" rtlCol="0" anchor="ctr">
            <a:noAutofit/>
          </a:bodyPr>
          <a:lstStyle/>
          <a:p>
            <a:pPr algn="ctr" eaLnBrk="1" fontAlgn="auto" hangingPunct="1">
              <a:spcBef>
                <a:spcPts val="0"/>
              </a:spcBef>
              <a:spcAft>
                <a:spcPts val="600"/>
              </a:spcAft>
              <a:buClr>
                <a:srgbClr val="000000"/>
              </a:buClr>
            </a:pPr>
            <a:endParaRPr lang="en-US" sz="1050" b="1" noProof="0" dirty="0">
              <a:solidFill>
                <a:prstClr val="white"/>
              </a:solidFill>
              <a:latin typeface="Arial"/>
            </a:endParaRPr>
          </a:p>
        </p:txBody>
      </p:sp>
      <p:pic>
        <p:nvPicPr>
          <p:cNvPr id="25" name="Picture 26">
            <a:extLst>
              <a:ext uri="{FF2B5EF4-FFF2-40B4-BE49-F238E27FC236}">
                <a16:creationId xmlns:a16="http://schemas.microsoft.com/office/drawing/2014/main" id="{9CCB4B4A-4AEA-63EE-5FCC-2D5312A42A6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72000" y="1979687"/>
            <a:ext cx="4860849" cy="3065853"/>
          </a:xfrm>
          <a:prstGeom prst="rect">
            <a:avLst/>
          </a:prstGeom>
        </p:spPr>
      </p:pic>
      <p:cxnSp>
        <p:nvCxnSpPr>
          <p:cNvPr id="26" name="Straight Arrow Connector 25">
            <a:extLst>
              <a:ext uri="{FF2B5EF4-FFF2-40B4-BE49-F238E27FC236}">
                <a16:creationId xmlns:a16="http://schemas.microsoft.com/office/drawing/2014/main" id="{7C031509-A5D3-A74B-B7D5-465DA15E63A2}"/>
              </a:ext>
            </a:extLst>
          </p:cNvPr>
          <p:cNvCxnSpPr>
            <a:cxnSpLocks/>
          </p:cNvCxnSpPr>
          <p:nvPr/>
        </p:nvCxnSpPr>
        <p:spPr>
          <a:xfrm>
            <a:off x="4060921" y="2972485"/>
            <a:ext cx="566737" cy="304800"/>
          </a:xfrm>
          <a:prstGeom prst="straightConnector1">
            <a:avLst/>
          </a:prstGeom>
          <a:noFill/>
          <a:ln w="31750" cap="flat" cmpd="sng" algn="ctr">
            <a:solidFill>
              <a:srgbClr val="273B5E"/>
            </a:solidFill>
            <a:prstDash val="sysDash"/>
            <a:miter lim="800000"/>
            <a:tailEnd type="triangle"/>
          </a:ln>
          <a:effectLst/>
        </p:spPr>
      </p:cxnSp>
      <p:sp>
        <p:nvSpPr>
          <p:cNvPr id="27" name="TextBox 26">
            <a:extLst>
              <a:ext uri="{FF2B5EF4-FFF2-40B4-BE49-F238E27FC236}">
                <a16:creationId xmlns:a16="http://schemas.microsoft.com/office/drawing/2014/main" id="{13E78603-587D-1352-C5F5-01FCA683ECC2}"/>
              </a:ext>
            </a:extLst>
          </p:cNvPr>
          <p:cNvSpPr txBox="1"/>
          <p:nvPr/>
        </p:nvSpPr>
        <p:spPr>
          <a:xfrm rot="1729966">
            <a:off x="4005678" y="2880302"/>
            <a:ext cx="866775" cy="215444"/>
          </a:xfrm>
          <a:prstGeom prst="rect">
            <a:avLst/>
          </a:prstGeom>
          <a:noFill/>
        </p:spPr>
        <p:txBody>
          <a:bodyPr wrap="square" lIns="0" tIns="0" rIns="0" bIns="0" rtlCol="0">
            <a:spAutoFit/>
          </a:bodyPr>
          <a:lstStyle/>
          <a:p>
            <a:pPr eaLnBrk="1" fontAlgn="auto" hangingPunct="1">
              <a:spcBef>
                <a:spcPts val="0"/>
              </a:spcBef>
              <a:spcAft>
                <a:spcPts val="0"/>
              </a:spcAft>
            </a:pPr>
            <a:r>
              <a:rPr lang="en-US" sz="1400" b="1" noProof="0" dirty="0">
                <a:solidFill>
                  <a:srgbClr val="273B5E"/>
                </a:solidFill>
                <a:latin typeface="Arial"/>
              </a:rPr>
              <a:t>- 15 CCGT</a:t>
            </a:r>
          </a:p>
        </p:txBody>
      </p:sp>
      <p:sp>
        <p:nvSpPr>
          <p:cNvPr id="28" name="TextBox 27">
            <a:extLst>
              <a:ext uri="{FF2B5EF4-FFF2-40B4-BE49-F238E27FC236}">
                <a16:creationId xmlns:a16="http://schemas.microsoft.com/office/drawing/2014/main" id="{7CF73181-7F3D-511E-C9C2-46963D5711D8}"/>
              </a:ext>
            </a:extLst>
          </p:cNvPr>
          <p:cNvSpPr txBox="1"/>
          <p:nvPr/>
        </p:nvSpPr>
        <p:spPr>
          <a:xfrm>
            <a:off x="5009437" y="1666663"/>
            <a:ext cx="436499" cy="215444"/>
          </a:xfrm>
          <a:prstGeom prst="rect">
            <a:avLst/>
          </a:prstGeom>
          <a:noFill/>
          <a:ln>
            <a:noFill/>
          </a:ln>
        </p:spPr>
        <p:txBody>
          <a:bodyPr wrap="square" lIns="0" tIns="0" rIns="0" bIns="0" rtlCol="0">
            <a:spAutoFit/>
          </a:bodyPr>
          <a:lstStyle/>
          <a:p>
            <a:pPr eaLnBrk="1" fontAlgn="auto" hangingPunct="1">
              <a:spcBef>
                <a:spcPts val="0"/>
              </a:spcBef>
              <a:spcAft>
                <a:spcPts val="0"/>
              </a:spcAft>
            </a:pPr>
            <a:r>
              <a:rPr lang="en-US" sz="1400" b="1" noProof="0" dirty="0">
                <a:solidFill>
                  <a:srgbClr val="273B5E"/>
                </a:solidFill>
                <a:latin typeface="Arial"/>
              </a:rPr>
              <a:t>76 %</a:t>
            </a:r>
          </a:p>
        </p:txBody>
      </p:sp>
      <p:sp>
        <p:nvSpPr>
          <p:cNvPr id="29" name="Solar_panel2" descr="{&quot;Key&quot;:&quot;POWER_USER_SHAPE_ICON&quot;,&quot;Value&quot;:&quot;POWER_USER_SHAPE_ICON_STYLE_1&quot;}">
            <a:extLst>
              <a:ext uri="{FF2B5EF4-FFF2-40B4-BE49-F238E27FC236}">
                <a16:creationId xmlns:a16="http://schemas.microsoft.com/office/drawing/2014/main" id="{133F9811-E8D3-3E39-2DF1-20A6BA15E1EF}"/>
              </a:ext>
            </a:extLst>
          </p:cNvPr>
          <p:cNvSpPr>
            <a:spLocks noChangeAspect="1" noEditPoints="1"/>
          </p:cNvSpPr>
          <p:nvPr>
            <p:custDataLst>
              <p:tags r:id="rId4"/>
            </p:custDataLst>
          </p:nvPr>
        </p:nvSpPr>
        <p:spPr bwMode="auto">
          <a:xfrm>
            <a:off x="5441823" y="1534356"/>
            <a:ext cx="391026" cy="3716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273B5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cxnSp>
        <p:nvCxnSpPr>
          <p:cNvPr id="30" name="Straight Arrow Connector 29">
            <a:extLst>
              <a:ext uri="{FF2B5EF4-FFF2-40B4-BE49-F238E27FC236}">
                <a16:creationId xmlns:a16="http://schemas.microsoft.com/office/drawing/2014/main" id="{166A5125-F6D9-6069-3EF9-01887A3DDB8E}"/>
              </a:ext>
            </a:extLst>
          </p:cNvPr>
          <p:cNvCxnSpPr>
            <a:cxnSpLocks/>
          </p:cNvCxnSpPr>
          <p:nvPr/>
        </p:nvCxnSpPr>
        <p:spPr>
          <a:xfrm flipV="1">
            <a:off x="5128958" y="1996398"/>
            <a:ext cx="0" cy="851715"/>
          </a:xfrm>
          <a:prstGeom prst="straightConnector1">
            <a:avLst/>
          </a:prstGeom>
          <a:noFill/>
          <a:ln w="31750" cap="flat" cmpd="sng" algn="ctr">
            <a:solidFill>
              <a:srgbClr val="273B5E"/>
            </a:solidFill>
            <a:prstDash val="sysDash"/>
            <a:miter lim="800000"/>
            <a:tailEnd type="triangle"/>
          </a:ln>
          <a:effectLst/>
        </p:spPr>
      </p:cxnSp>
    </p:spTree>
    <p:extLst>
      <p:ext uri="{BB962C8B-B14F-4D97-AF65-F5344CB8AC3E}">
        <p14:creationId xmlns:p14="http://schemas.microsoft.com/office/powerpoint/2010/main" val="2760188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E72BC-2C9F-05F2-8DE8-9548D9614285}"/>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C23D52-5DAE-0C82-EFFA-6459B70E52A7}"/>
              </a:ext>
            </a:extLst>
          </p:cNvPr>
          <p:cNvSpPr>
            <a:spLocks noGrp="1"/>
          </p:cNvSpPr>
          <p:nvPr>
            <p:ph type="sldNum" sz="quarter" idx="12"/>
          </p:nvPr>
        </p:nvSpPr>
        <p:spPr/>
        <p:txBody>
          <a:bodyPr/>
          <a:lstStyle/>
          <a:p>
            <a:fld id="{393ADBA8-77A2-4533-9BC5-08370409A084}" type="slidenum">
              <a:rPr lang="en-US" noProof="0" smtClean="0"/>
              <a:pPr/>
              <a:t>8</a:t>
            </a:fld>
            <a:endParaRPr lang="en-US" noProof="0" dirty="0"/>
          </a:p>
        </p:txBody>
      </p:sp>
      <p:sp>
        <p:nvSpPr>
          <p:cNvPr id="4" name="Title 3">
            <a:extLst>
              <a:ext uri="{FF2B5EF4-FFF2-40B4-BE49-F238E27FC236}">
                <a16:creationId xmlns:a16="http://schemas.microsoft.com/office/drawing/2014/main" id="{9B41E4B5-663C-F54E-CEE7-DD1D56495BC9}"/>
              </a:ext>
            </a:extLst>
          </p:cNvPr>
          <p:cNvSpPr>
            <a:spLocks noGrp="1"/>
          </p:cNvSpPr>
          <p:nvPr>
            <p:ph type="title"/>
          </p:nvPr>
        </p:nvSpPr>
        <p:spPr/>
        <p:txBody>
          <a:bodyPr/>
          <a:lstStyle/>
          <a:p>
            <a:r>
              <a:rPr lang="en-US" noProof="0" dirty="0"/>
              <a:t>System Inertia</a:t>
            </a:r>
          </a:p>
        </p:txBody>
      </p:sp>
      <p:pic>
        <p:nvPicPr>
          <p:cNvPr id="5" name="Picture 4">
            <a:extLst>
              <a:ext uri="{FF2B5EF4-FFF2-40B4-BE49-F238E27FC236}">
                <a16:creationId xmlns:a16="http://schemas.microsoft.com/office/drawing/2014/main" id="{E7D92EE4-867F-C4EB-215B-C4771C075C1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50218" y="1969235"/>
            <a:ext cx="9140128" cy="4602300"/>
          </a:xfrm>
          <a:prstGeom prst="rect">
            <a:avLst/>
          </a:prstGeom>
        </p:spPr>
      </p:pic>
      <p:sp>
        <p:nvSpPr>
          <p:cNvPr id="13" name="TextBox 12">
            <a:extLst>
              <a:ext uri="{FF2B5EF4-FFF2-40B4-BE49-F238E27FC236}">
                <a16:creationId xmlns:a16="http://schemas.microsoft.com/office/drawing/2014/main" id="{C6D21A66-C49B-45AE-58CB-0B9E152959FD}"/>
              </a:ext>
            </a:extLst>
          </p:cNvPr>
          <p:cNvSpPr txBox="1"/>
          <p:nvPr/>
        </p:nvSpPr>
        <p:spPr>
          <a:xfrm>
            <a:off x="1004119" y="977198"/>
            <a:ext cx="10349681" cy="2308324"/>
          </a:xfrm>
          <a:prstGeom prst="rect">
            <a:avLst/>
          </a:prstGeom>
          <a:noFill/>
        </p:spPr>
        <p:txBody>
          <a:bodyPr wrap="square" rtlCol="0">
            <a:spAutoFit/>
          </a:bodyPr>
          <a:lstStyle/>
          <a:p>
            <a:r>
              <a:rPr lang="en-US" sz="1600" noProof="0" dirty="0">
                <a:latin typeface="Aptos Light" panose="020B0004020202020204" pitchFamily="34" charset="0"/>
              </a:rPr>
              <a:t>The System’s generation inertia is estimated using:</a:t>
            </a:r>
          </a:p>
          <a:p>
            <a:endParaRPr lang="en-US" sz="1600" noProof="0" dirty="0">
              <a:latin typeface="Aptos Light" panose="020B0004020202020204" pitchFamily="34" charset="0"/>
            </a:endParaRPr>
          </a:p>
          <a:p>
            <a:pPr marL="285750" indent="-285750">
              <a:buFont typeface="Arial" panose="020B0604020202020204" pitchFamily="34" charset="0"/>
              <a:buChar char="•"/>
            </a:pPr>
            <a:r>
              <a:rPr lang="en-US" sz="1600" noProof="0" dirty="0">
                <a:latin typeface="Aptos Light" panose="020B0004020202020204" pitchFamily="34" charset="0"/>
              </a:rPr>
              <a:t>The data of the ENTSO-E transparency platform on the dispatched units for  each hour interval;</a:t>
            </a:r>
          </a:p>
          <a:p>
            <a:pPr marL="285750" indent="-285750">
              <a:buFont typeface="Arial" panose="020B0604020202020204" pitchFamily="34" charset="0"/>
              <a:buChar char="•"/>
            </a:pPr>
            <a:r>
              <a:rPr lang="en-US" sz="1600" noProof="0" dirty="0">
                <a:latin typeface="Aptos Light" panose="020B0004020202020204" pitchFamily="34" charset="0"/>
              </a:rPr>
              <a:t>The data of the ENTSO-E transparency platform  on the nominal power of these units;</a:t>
            </a:r>
          </a:p>
          <a:p>
            <a:pPr marL="285750" indent="-285750">
              <a:buFont typeface="Arial" panose="020B0604020202020204" pitchFamily="34" charset="0"/>
              <a:buChar char="•"/>
            </a:pPr>
            <a:r>
              <a:rPr lang="en-US" sz="1600" noProof="0" dirty="0">
                <a:latin typeface="Aptos Light" panose="020B0004020202020204" pitchFamily="34" charset="0"/>
              </a:rPr>
              <a:t>Typical inertia values (provided by ENTSO-E) on the typical inertia of each generation technology;</a:t>
            </a:r>
          </a:p>
          <a:p>
            <a:pPr marL="285750" indent="-285750">
              <a:buFont typeface="Arial" panose="020B0604020202020204" pitchFamily="34" charset="0"/>
              <a:buChar char="•"/>
            </a:pPr>
            <a:endParaRPr lang="en-US" sz="1600" noProof="0" dirty="0">
              <a:latin typeface="Aptos Light" panose="020B0004020202020204" pitchFamily="34" charset="0"/>
            </a:endParaRPr>
          </a:p>
          <a:p>
            <a:endParaRPr lang="en-US" sz="1600" noProof="0" dirty="0">
              <a:latin typeface="Aptos Light" panose="020B0004020202020204" pitchFamily="34" charset="0"/>
            </a:endParaRPr>
          </a:p>
          <a:p>
            <a:pPr marL="285750" indent="-285750">
              <a:buFont typeface="Arial" panose="020B0604020202020204" pitchFamily="34" charset="0"/>
              <a:buChar char="•"/>
            </a:pPr>
            <a:endParaRPr lang="en-US" sz="1600" noProof="0" dirty="0">
              <a:latin typeface="Aptos Light" panose="020B0004020202020204" pitchFamily="34" charset="0"/>
            </a:endParaRPr>
          </a:p>
          <a:p>
            <a:endParaRPr lang="en-US" sz="1600" noProof="0" dirty="0">
              <a:latin typeface="Aptos Light" panose="020B0004020202020204" pitchFamily="34" charset="0"/>
            </a:endParaRPr>
          </a:p>
        </p:txBody>
      </p:sp>
      <p:sp>
        <p:nvSpPr>
          <p:cNvPr id="15" name="TextBox 14">
            <a:extLst>
              <a:ext uri="{FF2B5EF4-FFF2-40B4-BE49-F238E27FC236}">
                <a16:creationId xmlns:a16="http://schemas.microsoft.com/office/drawing/2014/main" id="{247755CF-01FB-838C-DBBC-8CFA390D7486}"/>
              </a:ext>
            </a:extLst>
          </p:cNvPr>
          <p:cNvSpPr txBox="1"/>
          <p:nvPr/>
        </p:nvSpPr>
        <p:spPr>
          <a:xfrm>
            <a:off x="8933568" y="3867935"/>
            <a:ext cx="1537600" cy="523220"/>
          </a:xfrm>
          <a:prstGeom prst="rect">
            <a:avLst/>
          </a:prstGeom>
          <a:noFill/>
        </p:spPr>
        <p:txBody>
          <a:bodyPr wrap="none" rtlCol="0">
            <a:spAutoFit/>
          </a:bodyPr>
          <a:lstStyle/>
          <a:p>
            <a:r>
              <a:rPr lang="en-US" sz="2800" b="1" noProof="0" dirty="0">
                <a:solidFill>
                  <a:schemeClr val="tx2"/>
                </a:solidFill>
              </a:rPr>
              <a:t>H &gt; 2,5 s</a:t>
            </a:r>
          </a:p>
        </p:txBody>
      </p:sp>
      <p:sp>
        <p:nvSpPr>
          <p:cNvPr id="16" name="TextBox 15">
            <a:extLst>
              <a:ext uri="{FF2B5EF4-FFF2-40B4-BE49-F238E27FC236}">
                <a16:creationId xmlns:a16="http://schemas.microsoft.com/office/drawing/2014/main" id="{F49B4B0B-7545-5C57-A7E6-10B4E80B02F3}"/>
              </a:ext>
            </a:extLst>
          </p:cNvPr>
          <p:cNvSpPr txBox="1"/>
          <p:nvPr/>
        </p:nvSpPr>
        <p:spPr>
          <a:xfrm>
            <a:off x="8937769" y="4270385"/>
            <a:ext cx="3018710" cy="1754326"/>
          </a:xfrm>
          <a:prstGeom prst="rect">
            <a:avLst/>
          </a:prstGeom>
          <a:noFill/>
        </p:spPr>
        <p:txBody>
          <a:bodyPr wrap="square" rtlCol="0">
            <a:spAutoFit/>
          </a:bodyPr>
          <a:lstStyle/>
          <a:p>
            <a:r>
              <a:rPr lang="en-US" noProof="0" dirty="0">
                <a:latin typeface="Aptos Light" panose="020B0004020202020204" pitchFamily="34" charset="0"/>
              </a:rPr>
              <a:t>Both the Government of Spain and ENTSO-E estimate similar system inertia values. Red </a:t>
            </a:r>
            <a:r>
              <a:rPr lang="en-US" noProof="0" dirty="0" err="1">
                <a:latin typeface="Aptos Light" panose="020B0004020202020204" pitchFamily="34" charset="0"/>
              </a:rPr>
              <a:t>Elétrica</a:t>
            </a:r>
            <a:r>
              <a:rPr lang="en-US" noProof="0" dirty="0">
                <a:latin typeface="Aptos Light" panose="020B0004020202020204" pitchFamily="34" charset="0"/>
              </a:rPr>
              <a:t> states that inertia was higher than ENTSO-E recommendation.</a:t>
            </a:r>
          </a:p>
        </p:txBody>
      </p:sp>
    </p:spTree>
    <p:extLst>
      <p:ext uri="{BB962C8B-B14F-4D97-AF65-F5344CB8AC3E}">
        <p14:creationId xmlns:p14="http://schemas.microsoft.com/office/powerpoint/2010/main" val="39977968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A482E-9E97-D76A-2566-0A12D857B22F}"/>
              </a:ext>
            </a:extLst>
          </p:cNvPr>
          <p:cNvSpPr>
            <a:spLocks noGrp="1"/>
          </p:cNvSpPr>
          <p:nvPr>
            <p:ph type="title"/>
          </p:nvPr>
        </p:nvSpPr>
        <p:spPr/>
        <p:txBody>
          <a:bodyPr/>
          <a:lstStyle/>
          <a:p>
            <a:r>
              <a:rPr lang="en-US" noProof="0" dirty="0"/>
              <a:t>Voltage Fluctuation</a:t>
            </a:r>
          </a:p>
        </p:txBody>
      </p:sp>
      <p:sp>
        <p:nvSpPr>
          <p:cNvPr id="5" name="Title 1">
            <a:extLst>
              <a:ext uri="{FF2B5EF4-FFF2-40B4-BE49-F238E27FC236}">
                <a16:creationId xmlns:a16="http://schemas.microsoft.com/office/drawing/2014/main" id="{90C5FE25-9CA9-BBAC-C287-3CFA5BAB9520}"/>
              </a:ext>
            </a:extLst>
          </p:cNvPr>
          <p:cNvSpPr txBox="1">
            <a:spLocks/>
          </p:cNvSpPr>
          <p:nvPr>
            <p:custDataLst>
              <p:tags r:id="rId1"/>
            </p:custDataLst>
          </p:nvPr>
        </p:nvSpPr>
        <p:spPr>
          <a:xfrm>
            <a:off x="991511" y="1354033"/>
            <a:ext cx="10973389" cy="346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b="0" noProof="0" dirty="0">
                <a:latin typeface="Aptos Light" panose="020B0004020202020204" pitchFamily="34" charset="0"/>
              </a:rPr>
              <a:t>T</a:t>
            </a:r>
            <a:r>
              <a:rPr kumimoji="0" lang="en-US" sz="2400" b="0" i="0" u="none" strike="noStrike" kern="1200" cap="none" spc="0" normalizeH="0" baseline="0" noProof="0" dirty="0">
                <a:ln>
                  <a:noFill/>
                </a:ln>
                <a:effectLst/>
                <a:uLnTx/>
                <a:uFillTx/>
                <a:latin typeface="Aptos Light" panose="020B0004020202020204" pitchFamily="34" charset="0"/>
              </a:rPr>
              <a:t>here </a:t>
            </a:r>
            <a:r>
              <a:rPr lang="en-US" b="0" noProof="0" dirty="0">
                <a:latin typeface="Aptos Light" panose="020B0004020202020204" pitchFamily="34" charset="0"/>
              </a:rPr>
              <a:t>we</a:t>
            </a:r>
            <a:r>
              <a:rPr kumimoji="0" lang="en-US" sz="2400" b="0" i="0" u="none" strike="noStrike" kern="1200" cap="none" spc="0" normalizeH="0" baseline="0" noProof="0" dirty="0">
                <a:ln>
                  <a:noFill/>
                </a:ln>
                <a:effectLst/>
                <a:uLnTx/>
                <a:uFillTx/>
                <a:latin typeface="Aptos Light" panose="020B0004020202020204" pitchFamily="34" charset="0"/>
              </a:rPr>
              <a:t>re strong voltage fluctuations that repeatedly exceed the limits of normal operating conditions</a:t>
            </a:r>
          </a:p>
        </p:txBody>
      </p:sp>
      <p:sp>
        <p:nvSpPr>
          <p:cNvPr id="6" name="Slide Number Placeholder 2">
            <a:extLst>
              <a:ext uri="{FF2B5EF4-FFF2-40B4-BE49-F238E27FC236}">
                <a16:creationId xmlns:a16="http://schemas.microsoft.com/office/drawing/2014/main" id="{1AE0385A-F8E7-75FC-30B1-5CB912287FFD}"/>
              </a:ext>
            </a:extLst>
          </p:cNvPr>
          <p:cNvSpPr txBox="1">
            <a:spLocks/>
          </p:cNvSpPr>
          <p:nvPr>
            <p:custDataLst>
              <p:tags r:id="rId2"/>
            </p:custDataLst>
          </p:nvPr>
        </p:nvSpPr>
        <p:spPr>
          <a:xfrm>
            <a:off x="11277541" y="6933599"/>
            <a:ext cx="496891" cy="248462"/>
          </a:xfrm>
          <a:prstGeom prst="rect">
            <a:avLst/>
          </a:prstGeom>
        </p:spPr>
        <p:txBody>
          <a:bodyPr vert="horz" lIns="0" tIns="0" rIns="0" bIns="0" rtlCol="0" anchor="b" anchorCtr="0"/>
          <a:lstStyle>
            <a:defPPr>
              <a:defRPr lang="en-US"/>
            </a:defPPr>
            <a:lvl1pPr marL="0" algn="r" defTabSz="914400" rtl="0" eaLnBrk="1" latinLnBrk="0" hangingPunct="1">
              <a:defRPr sz="12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noProof="0" dirty="0">
              <a:solidFill>
                <a:srgbClr val="037CBA"/>
              </a:solidFill>
              <a:latin typeface="Arial"/>
            </a:endParaRPr>
          </a:p>
        </p:txBody>
      </p:sp>
      <p:grpSp>
        <p:nvGrpSpPr>
          <p:cNvPr id="17" name="Group 16">
            <a:extLst>
              <a:ext uri="{FF2B5EF4-FFF2-40B4-BE49-F238E27FC236}">
                <a16:creationId xmlns:a16="http://schemas.microsoft.com/office/drawing/2014/main" id="{13A97481-E80F-D0D2-54BC-56FD1AFB29E1}"/>
              </a:ext>
            </a:extLst>
          </p:cNvPr>
          <p:cNvGrpSpPr/>
          <p:nvPr/>
        </p:nvGrpSpPr>
        <p:grpSpPr>
          <a:xfrm>
            <a:off x="666809" y="2214198"/>
            <a:ext cx="10363082" cy="3636226"/>
            <a:chOff x="676334" y="2412610"/>
            <a:chExt cx="10363082" cy="3636226"/>
          </a:xfrm>
        </p:grpSpPr>
        <p:pic>
          <p:nvPicPr>
            <p:cNvPr id="4" name="Picture 3">
              <a:extLst>
                <a:ext uri="{FF2B5EF4-FFF2-40B4-BE49-F238E27FC236}">
                  <a16:creationId xmlns:a16="http://schemas.microsoft.com/office/drawing/2014/main" id="{107990F9-8125-4A49-AF12-8F053F1FEB3F}"/>
                </a:ext>
              </a:extLst>
            </p:cNvPr>
            <p:cNvPicPr>
              <a:picLocks noChangeAspect="1"/>
            </p:cNvPicPr>
            <p:nvPr/>
          </p:nvPicPr>
          <p:blipFill>
            <a:blip r:embed="rId4"/>
            <a:stretch>
              <a:fillRect/>
            </a:stretch>
          </p:blipFill>
          <p:spPr>
            <a:xfrm>
              <a:off x="676334" y="2412610"/>
              <a:ext cx="10363082" cy="3636226"/>
            </a:xfrm>
            <a:prstGeom prst="rect">
              <a:avLst/>
            </a:prstGeom>
          </p:spPr>
        </p:pic>
        <p:sp>
          <p:nvSpPr>
            <p:cNvPr id="7" name="Oval 6">
              <a:extLst>
                <a:ext uri="{FF2B5EF4-FFF2-40B4-BE49-F238E27FC236}">
                  <a16:creationId xmlns:a16="http://schemas.microsoft.com/office/drawing/2014/main" id="{D1AF4288-76F9-9B2C-9EF9-6F5300C11DE0}"/>
                </a:ext>
              </a:extLst>
            </p:cNvPr>
            <p:cNvSpPr/>
            <p:nvPr/>
          </p:nvSpPr>
          <p:spPr>
            <a:xfrm>
              <a:off x="3540213" y="2842958"/>
              <a:ext cx="1418234" cy="1066771"/>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8" name="Oval 7">
              <a:extLst>
                <a:ext uri="{FF2B5EF4-FFF2-40B4-BE49-F238E27FC236}">
                  <a16:creationId xmlns:a16="http://schemas.microsoft.com/office/drawing/2014/main" id="{C245EE8B-B7B4-0422-EE5E-85585617F567}"/>
                </a:ext>
              </a:extLst>
            </p:cNvPr>
            <p:cNvSpPr/>
            <p:nvPr/>
          </p:nvSpPr>
          <p:spPr>
            <a:xfrm>
              <a:off x="5438432" y="3031428"/>
              <a:ext cx="743107" cy="592342"/>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 name="Oval 8">
              <a:extLst>
                <a:ext uri="{FF2B5EF4-FFF2-40B4-BE49-F238E27FC236}">
                  <a16:creationId xmlns:a16="http://schemas.microsoft.com/office/drawing/2014/main" id="{12B17531-8320-10BA-6105-9FB821FABBDE}"/>
                </a:ext>
              </a:extLst>
            </p:cNvPr>
            <p:cNvSpPr/>
            <p:nvPr/>
          </p:nvSpPr>
          <p:spPr>
            <a:xfrm>
              <a:off x="7401747" y="2933321"/>
              <a:ext cx="1243129" cy="886043"/>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 name="Oval 9">
              <a:extLst>
                <a:ext uri="{FF2B5EF4-FFF2-40B4-BE49-F238E27FC236}">
                  <a16:creationId xmlns:a16="http://schemas.microsoft.com/office/drawing/2014/main" id="{167ACE4B-4E6C-5B79-1760-464F5B3732F4}"/>
                </a:ext>
              </a:extLst>
            </p:cNvPr>
            <p:cNvSpPr/>
            <p:nvPr/>
          </p:nvSpPr>
          <p:spPr>
            <a:xfrm>
              <a:off x="8785521" y="4639088"/>
              <a:ext cx="659523" cy="605178"/>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1" name="Oval 10">
              <a:extLst>
                <a:ext uri="{FF2B5EF4-FFF2-40B4-BE49-F238E27FC236}">
                  <a16:creationId xmlns:a16="http://schemas.microsoft.com/office/drawing/2014/main" id="{C02B09F6-7C35-59DA-44DF-356CF547FC0E}"/>
                </a:ext>
              </a:extLst>
            </p:cNvPr>
            <p:cNvSpPr/>
            <p:nvPr/>
          </p:nvSpPr>
          <p:spPr>
            <a:xfrm>
              <a:off x="9801411" y="4556476"/>
              <a:ext cx="653989" cy="557278"/>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2" name="Oval 11">
              <a:extLst>
                <a:ext uri="{FF2B5EF4-FFF2-40B4-BE49-F238E27FC236}">
                  <a16:creationId xmlns:a16="http://schemas.microsoft.com/office/drawing/2014/main" id="{0ADF184B-1994-7FB1-7B58-C6F29EC1716D}"/>
                </a:ext>
              </a:extLst>
            </p:cNvPr>
            <p:cNvSpPr/>
            <p:nvPr/>
          </p:nvSpPr>
          <p:spPr>
            <a:xfrm>
              <a:off x="10200327" y="3008389"/>
              <a:ext cx="719388" cy="613005"/>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3" name="Oval 12">
              <a:extLst>
                <a:ext uri="{FF2B5EF4-FFF2-40B4-BE49-F238E27FC236}">
                  <a16:creationId xmlns:a16="http://schemas.microsoft.com/office/drawing/2014/main" id="{A18D9E18-13BA-4453-D5F2-35ECC4044715}"/>
                </a:ext>
              </a:extLst>
            </p:cNvPr>
            <p:cNvSpPr/>
            <p:nvPr/>
          </p:nvSpPr>
          <p:spPr>
            <a:xfrm>
              <a:off x="3185358" y="4474316"/>
              <a:ext cx="540486" cy="460560"/>
            </a:xfrm>
            <a:prstGeom prst="ellipse">
              <a:avLst/>
            </a:prstGeom>
            <a:noFill/>
            <a:ln w="19050" cap="flat" cmpd="sng" algn="ctr">
              <a:solidFill>
                <a:srgbClr val="DC38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pSp>
      <p:sp>
        <p:nvSpPr>
          <p:cNvPr id="16" name="TextBox 15">
            <a:extLst>
              <a:ext uri="{FF2B5EF4-FFF2-40B4-BE49-F238E27FC236}">
                <a16:creationId xmlns:a16="http://schemas.microsoft.com/office/drawing/2014/main" id="{918D4545-C44C-898D-2ECD-4F9293B98683}"/>
              </a:ext>
            </a:extLst>
          </p:cNvPr>
          <p:cNvSpPr txBox="1"/>
          <p:nvPr/>
        </p:nvSpPr>
        <p:spPr>
          <a:xfrm>
            <a:off x="865414" y="811379"/>
            <a:ext cx="5601292" cy="172542"/>
          </a:xfrm>
          <a:prstGeom prst="rect">
            <a:avLst/>
          </a:prstGeom>
          <a:noFill/>
        </p:spPr>
        <p:txBody>
          <a:bodyPr wrap="square" lIns="108000" tIns="0" rIns="108000" bIns="108000" rtlCol="0">
            <a:noAutofit/>
          </a:bodyPr>
          <a:lstStyle/>
          <a:p>
            <a:pPr eaLnBrk="1" fontAlgn="auto" hangingPunct="1">
              <a:spcBef>
                <a:spcPts val="0"/>
              </a:spcBef>
              <a:spcAft>
                <a:spcPts val="600"/>
              </a:spcAft>
              <a:buClr>
                <a:srgbClr val="000000"/>
              </a:buClr>
            </a:pPr>
            <a:r>
              <a:rPr lang="en-US" b="1" noProof="0" dirty="0">
                <a:solidFill>
                  <a:srgbClr val="273B5E"/>
                </a:solidFill>
                <a:latin typeface="Aptos Light" panose="020B0004020202020204" pitchFamily="34" charset="0"/>
                <a:ea typeface="Times New Roman" panose="02020603050405020304" pitchFamily="18" charset="0"/>
              </a:rPr>
              <a:t>between 10:00-12:00 </a:t>
            </a:r>
            <a:endParaRPr lang="en-US" b="1" noProof="0" dirty="0">
              <a:solidFill>
                <a:srgbClr val="273B5E"/>
              </a:solidFill>
              <a:latin typeface="Aptos Light" panose="020B0004020202020204" pitchFamily="34" charset="0"/>
            </a:endParaRPr>
          </a:p>
        </p:txBody>
      </p:sp>
      <p:sp>
        <p:nvSpPr>
          <p:cNvPr id="3" name="TextBox 2">
            <a:extLst>
              <a:ext uri="{FF2B5EF4-FFF2-40B4-BE49-F238E27FC236}">
                <a16:creationId xmlns:a16="http://schemas.microsoft.com/office/drawing/2014/main" id="{48693C50-F41D-C061-F653-D02DE9FA3D00}"/>
              </a:ext>
            </a:extLst>
          </p:cNvPr>
          <p:cNvSpPr txBox="1"/>
          <p:nvPr/>
        </p:nvSpPr>
        <p:spPr>
          <a:xfrm>
            <a:off x="-71021" y="6581782"/>
            <a:ext cx="7833783" cy="333375"/>
          </a:xfrm>
          <a:prstGeom prst="rect">
            <a:avLst/>
          </a:prstGeom>
          <a:noFill/>
        </p:spPr>
        <p:txBody>
          <a:bodyPr wrap="square" lIns="108000" tIns="108000" rIns="108000" bIns="108000" rtlCol="0">
            <a:noAutofit/>
          </a:bodyPr>
          <a:lstStyle/>
          <a:p>
            <a:pPr eaLnBrk="1" fontAlgn="auto" hangingPunct="1">
              <a:spcBef>
                <a:spcPts val="0"/>
              </a:spcBef>
              <a:spcAft>
                <a:spcPts val="600"/>
              </a:spcAft>
              <a:buClr>
                <a:srgbClr val="000000"/>
              </a:buClr>
            </a:pPr>
            <a:r>
              <a:rPr lang="en-US" sz="900" noProof="0" dirty="0">
                <a:solidFill>
                  <a:srgbClr val="000000"/>
                </a:solidFill>
                <a:latin typeface="Aptos Light" panose="020B0004020202020204" pitchFamily="34" charset="0"/>
              </a:rPr>
              <a:t>Source: Own elaboration with data from REE and AELEC Members</a:t>
            </a:r>
          </a:p>
        </p:txBody>
      </p:sp>
    </p:spTree>
    <p:extLst>
      <p:ext uri="{BB962C8B-B14F-4D97-AF65-F5344CB8AC3E}">
        <p14:creationId xmlns:p14="http://schemas.microsoft.com/office/powerpoint/2010/main" val="3460610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S_PLACEHOLDERID" val="PlaceholderID44398.4528935185076711"/>
</p:tagLst>
</file>

<file path=ppt/tags/tag2.xml><?xml version="1.0" encoding="utf-8"?>
<p:tagLst xmlns:a="http://schemas.openxmlformats.org/drawingml/2006/main" xmlns:r="http://schemas.openxmlformats.org/officeDocument/2006/relationships" xmlns:p="http://schemas.openxmlformats.org/presentationml/2006/main">
  <p:tag name="MS_PLACEHOLDERID" val="PlaceholderID44398.4528935185046870"/>
</p:tagLst>
</file>

<file path=ppt/tags/tag3.xml><?xml version="1.0" encoding="utf-8"?>
<p:tagLst xmlns:a="http://schemas.openxmlformats.org/drawingml/2006/main" xmlns:r="http://schemas.openxmlformats.org/officeDocument/2006/relationships" xmlns:p="http://schemas.openxmlformats.org/presentationml/2006/main">
  <p:tag name="STYLEXMLFILE" val="Default Style List"/>
  <p:tag name="MS_PLACEHOLDERID" val="PlaceholderID44398.4528935185064782"/>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5.xml><?xml version="1.0" encoding="utf-8"?>
<p:tagLst xmlns:a="http://schemas.openxmlformats.org/drawingml/2006/main" xmlns:r="http://schemas.openxmlformats.org/officeDocument/2006/relationships" xmlns:p="http://schemas.openxmlformats.org/presentationml/2006/main">
  <p:tag name="MS_PLACEHOLDERID" val="PlaceholderID44398.4528935185076711"/>
</p:tagLst>
</file>

<file path=ppt/tags/tag6.xml><?xml version="1.0" encoding="utf-8"?>
<p:tagLst xmlns:a="http://schemas.openxmlformats.org/drawingml/2006/main" xmlns:r="http://schemas.openxmlformats.org/officeDocument/2006/relationships" xmlns:p="http://schemas.openxmlformats.org/presentationml/2006/main">
  <p:tag name="MS_PLACEHOLDERID" val="PlaceholderID44398.4528935185046870"/>
</p:tagLst>
</file>

<file path=ppt/tags/tag7.xml><?xml version="1.0" encoding="utf-8"?>
<p:tagLst xmlns:a="http://schemas.openxmlformats.org/drawingml/2006/main" xmlns:r="http://schemas.openxmlformats.org/officeDocument/2006/relationships" xmlns:p="http://schemas.openxmlformats.org/presentationml/2006/main">
  <p:tag name="MS_PLACEHOLDERID" val="PlaceholderID44398.4528935185046870"/>
</p:tagLst>
</file>

<file path=ppt/tags/tag8.xml><?xml version="1.0" encoding="utf-8"?>
<p:tagLst xmlns:a="http://schemas.openxmlformats.org/drawingml/2006/main" xmlns:r="http://schemas.openxmlformats.org/officeDocument/2006/relationships" xmlns:p="http://schemas.openxmlformats.org/presentationml/2006/main">
  <p:tag name="STYLEXMLFILE" val="Default Style List"/>
  <p:tag name="MS_PLACEHOLDERID" val="PlaceholderID44398.4528935185064782"/>
</p:tagLst>
</file>

<file path=ppt/theme/theme1.xml><?xml version="1.0" encoding="utf-8"?>
<a:theme xmlns:a="http://schemas.openxmlformats.org/drawingml/2006/main" name="Office Theme">
  <a:themeElements>
    <a:clrScheme name="Inesc Tec">
      <a:dk1>
        <a:srgbClr val="000000"/>
      </a:dk1>
      <a:lt1>
        <a:srgbClr val="FFFFFF"/>
      </a:lt1>
      <a:dk2>
        <a:srgbClr val="006493"/>
      </a:dk2>
      <a:lt2>
        <a:srgbClr val="FEFFFF"/>
      </a:lt2>
      <a:accent1>
        <a:srgbClr val="002540"/>
      </a:accent1>
      <a:accent2>
        <a:srgbClr val="006493"/>
      </a:accent2>
      <a:accent3>
        <a:srgbClr val="008CBF"/>
      </a:accent3>
      <a:accent4>
        <a:srgbClr val="33B0DD"/>
      </a:accent4>
      <a:accent5>
        <a:srgbClr val="64CDED"/>
      </a:accent5>
      <a:accent6>
        <a:srgbClr val="B2EAFF"/>
      </a:accent6>
      <a:hlink>
        <a:srgbClr val="B2EAFF"/>
      </a:hlink>
      <a:folHlink>
        <a:srgbClr val="33B0D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  Compatibility Mode" id="{B36472C2-D613-1A45-843C-3D8666A60A7E}" vid="{7E5A98B2-9BA0-604F-8899-D4CD64CA81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9c2b11d-9272-4eed-95ac-95725493c81f" xsi:nil="true"/>
    <lcf76f155ced4ddcb4097134ff3c332f xmlns="c67c0ac7-78b5-4864-aca3-db9996adcf6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FC0EDCDBA201B409A2395B9861151A1" ma:contentTypeVersion="15" ma:contentTypeDescription="Create a new document." ma:contentTypeScope="" ma:versionID="8a190a8075a7e57a51c7bf8a9427a6e5">
  <xsd:schema xmlns:xsd="http://www.w3.org/2001/XMLSchema" xmlns:xs="http://www.w3.org/2001/XMLSchema" xmlns:p="http://schemas.microsoft.com/office/2006/metadata/properties" xmlns:ns2="c67c0ac7-78b5-4864-aca3-db9996adcf66" xmlns:ns3="59c2b11d-9272-4eed-95ac-95725493c81f" targetNamespace="http://schemas.microsoft.com/office/2006/metadata/properties" ma:root="true" ma:fieldsID="153f8d28b4a274a8e8397b8061ce14e3" ns2:_="" ns3:_="">
    <xsd:import namespace="c67c0ac7-78b5-4864-aca3-db9996adcf66"/>
    <xsd:import namespace="59c2b11d-9272-4eed-95ac-95725493c81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7c0ac7-78b5-4864-aca3-db9996adcf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9249fec-8619-4602-8705-1823ced1ad95"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9c2b11d-9272-4eed-95ac-95725493c8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08e361e-f706-48d1-9f52-00535f2db59c}" ma:internalName="TaxCatchAll" ma:showField="CatchAllData" ma:web="59c2b11d-9272-4eed-95ac-95725493c81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AF78A9-9328-4FCA-946F-10210C9D4F59}">
  <ds:schemaRefs>
    <ds:schemaRef ds:uri="http://schemas.microsoft.com/sharepoint/v3/contenttype/forms"/>
  </ds:schemaRefs>
</ds:datastoreItem>
</file>

<file path=customXml/itemProps2.xml><?xml version="1.0" encoding="utf-8"?>
<ds:datastoreItem xmlns:ds="http://schemas.openxmlformats.org/officeDocument/2006/customXml" ds:itemID="{2E1B3F9B-3B6C-4300-BEE3-B0B24A71FD05}">
  <ds:schemaRefs>
    <ds:schemaRef ds:uri="http://purl.org/dc/dcmitype/"/>
    <ds:schemaRef ds:uri="http://schemas.microsoft.com/office/2006/metadata/properties"/>
    <ds:schemaRef ds:uri="http://schemas.microsoft.com/office/2006/documentManagement/types"/>
    <ds:schemaRef ds:uri="http://purl.org/dc/terms/"/>
    <ds:schemaRef ds:uri="9e934fc4-74a4-4b60-b002-ec9458a65ddd"/>
    <ds:schemaRef ds:uri="http://purl.org/dc/elements/1.1/"/>
    <ds:schemaRef ds:uri="http://schemas.microsoft.com/office/infopath/2007/PartnerControls"/>
    <ds:schemaRef ds:uri="http://www.w3.org/XML/1998/namespace"/>
    <ds:schemaRef ds:uri="http://schemas.openxmlformats.org/package/2006/metadata/core-properties"/>
    <ds:schemaRef ds:uri="f75eee50-f147-4805-bd45-bd991ce58e04"/>
  </ds:schemaRefs>
</ds:datastoreItem>
</file>

<file path=customXml/itemProps3.xml><?xml version="1.0" encoding="utf-8"?>
<ds:datastoreItem xmlns:ds="http://schemas.openxmlformats.org/officeDocument/2006/customXml" ds:itemID="{4E6CF4C5-0FBD-4F0C-BFD9-3C27339F3CCB}"/>
</file>

<file path=docProps/app.xml><?xml version="1.0" encoding="utf-8"?>
<Properties xmlns="http://schemas.openxmlformats.org/officeDocument/2006/extended-properties" xmlns:vt="http://schemas.openxmlformats.org/officeDocument/2006/docPropsVTypes">
  <Template/>
  <TotalTime>14253</TotalTime>
  <Words>1708</Words>
  <Application>Microsoft Office PowerPoint</Application>
  <PresentationFormat>Widescreen</PresentationFormat>
  <Paragraphs>245</Paragraphs>
  <Slides>29</Slides>
  <Notes>9</Notes>
  <HiddenSlides>0</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29</vt:i4>
      </vt:variant>
    </vt:vector>
  </HeadingPairs>
  <TitlesOfParts>
    <vt:vector size="47" baseType="lpstr">
      <vt:lpstr>Calibri</vt:lpstr>
      <vt:lpstr>Aptos Black</vt:lpstr>
      <vt:lpstr>Poppins Light</vt:lpstr>
      <vt:lpstr>Red Hat Display Black</vt:lpstr>
      <vt:lpstr>JetBrains Mono ExtraLight</vt:lpstr>
      <vt:lpstr>Aptos</vt:lpstr>
      <vt:lpstr>Red Hat Text</vt:lpstr>
      <vt:lpstr>Century Gothic</vt:lpstr>
      <vt:lpstr>Arial</vt:lpstr>
      <vt:lpstr>Aptos Regular</vt:lpstr>
      <vt:lpstr>JetBrains Mono</vt:lpstr>
      <vt:lpstr>Aptos SemiBold</vt:lpstr>
      <vt:lpstr>Wingdings</vt:lpstr>
      <vt:lpstr>Aptos Light3</vt:lpstr>
      <vt:lpstr>Aptos Light</vt:lpstr>
      <vt:lpstr>Aptos ExtraBold</vt:lpstr>
      <vt:lpstr>Aptos Light </vt:lpstr>
      <vt:lpstr>Office Theme</vt:lpstr>
      <vt:lpstr>The Iberian Blackout 28/04/2025 What lessons for the future</vt:lpstr>
      <vt:lpstr>PowerPoint Presentation</vt:lpstr>
      <vt:lpstr>PowerPoint Presentation</vt:lpstr>
      <vt:lpstr>PowerPoint Presentation</vt:lpstr>
      <vt:lpstr>System Conditions before the Blackout</vt:lpstr>
      <vt:lpstr>Generation Mix Before the Blackout</vt:lpstr>
      <vt:lpstr>Conventional Generation on the Grid</vt:lpstr>
      <vt:lpstr>System Inertia</vt:lpstr>
      <vt:lpstr>Voltage Fluctuation</vt:lpstr>
      <vt:lpstr>System Oscillatory Behavior </vt:lpstr>
      <vt:lpstr>Maneuvers on transmission lines</vt:lpstr>
      <vt:lpstr>Sequence of events leading to the blackout </vt:lpstr>
      <vt:lpstr>The main events</vt:lpstr>
      <vt:lpstr>Geographic distribution of voltage in the transmission grid</vt:lpstr>
      <vt:lpstr>What could have caused the large generation loss? </vt:lpstr>
      <vt:lpstr>What lessons for the future</vt:lpstr>
      <vt:lpstr>What lessons for the future</vt:lpstr>
      <vt:lpstr>Replicating the Event: A Digital Twin of the Iberian System</vt:lpstr>
      <vt:lpstr>Equivalent dynamic model of Iberia interconnected with Central European System</vt:lpstr>
      <vt:lpstr>Replicating the event in INESCTEC’s physics based  inter-area model</vt:lpstr>
      <vt:lpstr>Replicating the event in INESCTEC’s physics based  inter-area model</vt:lpstr>
      <vt:lpstr>Opportunities for Foundational Models</vt:lpstr>
      <vt:lpstr>What information could have helped the operator during this day?</vt:lpstr>
      <vt:lpstr>What are Foundational Models?</vt:lpstr>
      <vt:lpstr>Forecast the effect of the measures taken to damp the system oscillations on the system N-k security </vt:lpstr>
      <vt:lpstr>Provide a first report on the blackout based on the PMU and alarm data.</vt:lpstr>
      <vt:lpstr>Other opportunities for AI  </vt:lpstr>
      <vt:lpstr>PowerPoint Presentation</vt:lpstr>
      <vt:lpstr>O que acha?  Envie-nos o seu 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ackout 28/04/2025</dc:title>
  <dc:creator>Renata Mota</dc:creator>
  <cp:lastModifiedBy>Sofia Salgado</cp:lastModifiedBy>
  <cp:revision>183</cp:revision>
  <cp:lastPrinted>2025-05-23T16:30:48Z</cp:lastPrinted>
  <dcterms:created xsi:type="dcterms:W3CDTF">2025-01-27T18:32:37Z</dcterms:created>
  <dcterms:modified xsi:type="dcterms:W3CDTF">2025-12-17T09: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C0EDCDBA201B409A2395B9861151A1</vt:lpwstr>
  </property>
</Properties>
</file>